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webextensions/webextension2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9" r:id="rId1"/>
  </p:sldMasterIdLst>
  <p:notesMasterIdLst>
    <p:notesMasterId r:id="rId8"/>
  </p:notesMasterIdLst>
  <p:handoutMasterIdLst>
    <p:handoutMasterId r:id="rId9"/>
  </p:handoutMasterIdLst>
  <p:sldIdLst>
    <p:sldId id="4052" r:id="rId2"/>
    <p:sldId id="30549" r:id="rId3"/>
    <p:sldId id="30571" r:id="rId4"/>
    <p:sldId id="4051" r:id="rId5"/>
    <p:sldId id="4050" r:id="rId6"/>
    <p:sldId id="4047" r:id="rId7"/>
  </p:sldIdLst>
  <p:sldSz cx="12192000" cy="6858000"/>
  <p:notesSz cx="6797675" cy="9928225"/>
  <p:custDataLst>
    <p:tags r:id="rId10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ardsectie" id="{E6171B1C-7AC4-44C7-BCCC-DC3C129F7446}">
          <p14:sldIdLst>
            <p14:sldId id="4052"/>
            <p14:sldId id="30549"/>
            <p14:sldId id="30571"/>
            <p14:sldId id="4051"/>
            <p14:sldId id="4050"/>
            <p14:sldId id="4047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nouk Piening" initials="" lastIdx="3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EDBE6"/>
    <a:srgbClr val="DA1C5C"/>
    <a:srgbClr val="8098AA"/>
    <a:srgbClr val="60B3BB"/>
    <a:srgbClr val="3494BA"/>
    <a:srgbClr val="30BACC"/>
    <a:srgbClr val="F0F3F4"/>
    <a:srgbClr val="98733A"/>
    <a:srgbClr val="5FB3BC"/>
    <a:srgbClr val="40779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Stijl, thema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D5ABB26-0587-4C30-8999-92F81FD0307C}" styleName="Geen stijl, gee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761" autoAdjust="0"/>
    <p:restoredTop sz="95308" autoAdjust="0"/>
  </p:normalViewPr>
  <p:slideViewPr>
    <p:cSldViewPr snapToGrid="0">
      <p:cViewPr varScale="1">
        <p:scale>
          <a:sx n="148" d="100"/>
          <a:sy n="148" d="100"/>
        </p:scale>
        <p:origin x="720" y="10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46" d="100"/>
        <a:sy n="146" d="100"/>
      </p:scale>
      <p:origin x="0" y="-3792"/>
    </p:cViewPr>
  </p:sorterViewPr>
  <p:notesViewPr>
    <p:cSldViewPr snapToGrid="0">
      <p:cViewPr varScale="1">
        <p:scale>
          <a:sx n="80" d="100"/>
          <a:sy n="80" d="100"/>
        </p:scale>
        <p:origin x="2826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Relationship Id="rId14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>
            <a:extLst>
              <a:ext uri="{FF2B5EF4-FFF2-40B4-BE49-F238E27FC236}">
                <a16:creationId xmlns:a16="http://schemas.microsoft.com/office/drawing/2014/main" id="{EEAAA108-FC25-4AED-AE40-B4E2E9E78B5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6503F751-5D05-47C5-891A-80C08ADD124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E43A4E-4784-491C-AB69-74B2F24E35CE}" type="datetimeFigureOut">
              <a:rPr lang="nl-NL" smtClean="0"/>
              <a:t>5-9-2024</a:t>
            </a:fld>
            <a:endParaRPr lang="nl-NL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C12ABC50-DBF6-4068-B72B-A0DAC714899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F78B720E-1795-4DBB-BE93-8CB3C2FC76A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C67036-D372-4623-94C0-635F8BE78D1C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61192922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DC596BC-FA37-459B-A0D2-0B7FE8790135}" type="datetimeFigureOut">
              <a:rPr lang="nl-NL" smtClean="0"/>
              <a:t>5-9-2024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44D7F65-5299-4383-99A9-3EF851E1080D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6313124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 1">
            <a:extLst>
              <a:ext uri="{FF2B5EF4-FFF2-40B4-BE49-F238E27FC236}">
                <a16:creationId xmlns:a16="http://schemas.microsoft.com/office/drawing/2014/main" id="{68921A36-070C-C6D6-49E9-CCB214B41F8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06320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4D7F65-5299-4383-99A9-3EF851E1080D}" type="slidenum">
              <a:rPr lang="nl-NL" smtClean="0"/>
              <a:t>5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2993557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Klik om stijl te bewerk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75366" y="6356350"/>
            <a:ext cx="662834" cy="365125"/>
          </a:xfrm>
          <a:prstGeom prst="rect">
            <a:avLst/>
          </a:prstGeom>
        </p:spPr>
        <p:txBody>
          <a:bodyPr/>
          <a:lstStyle/>
          <a:p>
            <a:pPr algn="r">
              <a:buSzPct val="25000"/>
            </a:pPr>
            <a:fld id="{00000000-1234-1234-1234-123412341234}" type="slidenum">
              <a:rPr lang="nl-NL" sz="900" smtClean="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rPr>
              <a:pPr algn="r">
                <a:buSzPct val="25000"/>
              </a:pPr>
              <a:t>‹nr.›</a:t>
            </a:fld>
            <a:endParaRPr lang="nl-NL" sz="900">
              <a:solidFill>
                <a:srgbClr val="88888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7461941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757398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ussenpagi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F2B197E-796B-05FC-DEDA-B54E932E91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75366" y="6356350"/>
            <a:ext cx="662834" cy="365125"/>
          </a:xfrm>
          <a:prstGeom prst="rect">
            <a:avLst/>
          </a:prstGeom>
        </p:spPr>
        <p:txBody>
          <a:bodyPr/>
          <a:lstStyle/>
          <a:p>
            <a:pPr algn="l"/>
            <a:fld id="{0E7476D2-0896-4839-9387-ABF8745D58E4}" type="slidenum">
              <a:rPr lang="nl-NL" smtClean="0"/>
              <a:pPr algn="l"/>
              <a:t>‹nr.›</a:t>
            </a:fld>
            <a:endParaRPr lang="nl-NL" dirty="0"/>
          </a:p>
        </p:txBody>
      </p:sp>
      <p:sp>
        <p:nvSpPr>
          <p:cNvPr id="7" name="Rechthoek 6">
            <a:extLst>
              <a:ext uri="{FF2B5EF4-FFF2-40B4-BE49-F238E27FC236}">
                <a16:creationId xmlns:a16="http://schemas.microsoft.com/office/drawing/2014/main" id="{D0CDA570-CF64-6533-8D09-100E196FFE94}"/>
              </a:ext>
            </a:extLst>
          </p:cNvPr>
          <p:cNvSpPr/>
          <p:nvPr userDrawn="1"/>
        </p:nvSpPr>
        <p:spPr>
          <a:xfrm>
            <a:off x="0" y="1"/>
            <a:ext cx="12186785" cy="6858000"/>
          </a:xfrm>
          <a:prstGeom prst="rect">
            <a:avLst/>
          </a:prstGeom>
          <a:solidFill>
            <a:srgbClr val="60B3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pic>
        <p:nvPicPr>
          <p:cNvPr id="17" name="Afbeelding 16">
            <a:extLst>
              <a:ext uri="{FF2B5EF4-FFF2-40B4-BE49-F238E27FC236}">
                <a16:creationId xmlns:a16="http://schemas.microsoft.com/office/drawing/2014/main" id="{0B607C6E-CA5E-70D1-6324-BDE694679B8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1681" y="-382509"/>
            <a:ext cx="7240509" cy="7240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44216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4" y="217073"/>
            <a:ext cx="10515596" cy="873654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nl-NL" dirty="0"/>
              <a:t>Klik om stijl te bewerk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273183"/>
            <a:ext cx="10515600" cy="49037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 dirty="0"/>
              <a:t>Klikken om de tekststijl van het model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en-US" dirty="0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28DAEA1-D689-4FD8-9ACB-1B716F64A8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969496516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85EFBC2E-2B4C-44F5-8C88-E092536EB2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C3591B68-3865-404B-B247-04C1D3E50CFA}"/>
              </a:ext>
            </a:extLst>
          </p:cNvPr>
          <p:cNvGrpSpPr/>
          <p:nvPr userDrawn="1"/>
        </p:nvGrpSpPr>
        <p:grpSpPr>
          <a:xfrm>
            <a:off x="-325599" y="-551330"/>
            <a:ext cx="12843197" cy="7960659"/>
            <a:chOff x="-244199" y="-551330"/>
            <a:chExt cx="9632398" cy="7960659"/>
          </a:xfrm>
        </p:grpSpPr>
        <p:grpSp>
          <p:nvGrpSpPr>
            <p:cNvPr id="10" name="Groep 9">
              <a:extLst>
                <a:ext uri="{FF2B5EF4-FFF2-40B4-BE49-F238E27FC236}">
                  <a16:creationId xmlns:a16="http://schemas.microsoft.com/office/drawing/2014/main" id="{94DBAAEA-95F5-4AAF-81FD-CE1CFFE94E1D}"/>
                </a:ext>
              </a:extLst>
            </p:cNvPr>
            <p:cNvGrpSpPr/>
            <p:nvPr userDrawn="1"/>
          </p:nvGrpSpPr>
          <p:grpSpPr>
            <a:xfrm>
              <a:off x="0" y="-551330"/>
              <a:ext cx="462248" cy="7960659"/>
              <a:chOff x="0" y="-551330"/>
              <a:chExt cx="462248" cy="7960659"/>
            </a:xfrm>
          </p:grpSpPr>
          <p:cxnSp>
            <p:nvCxnSpPr>
              <p:cNvPr id="26" name="Rechte verbindingslijn 25">
                <a:extLst>
                  <a:ext uri="{FF2B5EF4-FFF2-40B4-BE49-F238E27FC236}">
                    <a16:creationId xmlns:a16="http://schemas.microsoft.com/office/drawing/2014/main" id="{53E8362E-3A5D-4FD4-ACD3-7F91916F20E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462248" y="-551330"/>
                <a:ext cx="0" cy="7960659"/>
              </a:xfrm>
              <a:prstGeom prst="line">
                <a:avLst/>
              </a:prstGeom>
              <a:ln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Rechte verbindingslijn 26">
                <a:extLst>
                  <a:ext uri="{FF2B5EF4-FFF2-40B4-BE49-F238E27FC236}">
                    <a16:creationId xmlns:a16="http://schemas.microsoft.com/office/drawing/2014/main" id="{68F034DB-FE7E-44FD-81AA-F2F158A84C2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0" y="-551330"/>
                <a:ext cx="0" cy="7960659"/>
              </a:xfrm>
              <a:prstGeom prst="line">
                <a:avLst/>
              </a:prstGeom>
              <a:ln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ep 10">
              <a:extLst>
                <a:ext uri="{FF2B5EF4-FFF2-40B4-BE49-F238E27FC236}">
                  <a16:creationId xmlns:a16="http://schemas.microsoft.com/office/drawing/2014/main" id="{CB1819D2-0285-495F-8F1C-835D6735C847}"/>
                </a:ext>
              </a:extLst>
            </p:cNvPr>
            <p:cNvGrpSpPr/>
            <p:nvPr userDrawn="1"/>
          </p:nvGrpSpPr>
          <p:grpSpPr>
            <a:xfrm>
              <a:off x="8681752" y="-551330"/>
              <a:ext cx="462248" cy="7960659"/>
              <a:chOff x="0" y="-551330"/>
              <a:chExt cx="462248" cy="7960659"/>
            </a:xfrm>
          </p:grpSpPr>
          <p:cxnSp>
            <p:nvCxnSpPr>
              <p:cNvPr id="24" name="Rechte verbindingslijn 23">
                <a:extLst>
                  <a:ext uri="{FF2B5EF4-FFF2-40B4-BE49-F238E27FC236}">
                    <a16:creationId xmlns:a16="http://schemas.microsoft.com/office/drawing/2014/main" id="{D8CD285F-DA7C-4900-9390-AD8255825D8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462248" y="-551330"/>
                <a:ext cx="0" cy="7960659"/>
              </a:xfrm>
              <a:prstGeom prst="line">
                <a:avLst/>
              </a:prstGeom>
              <a:ln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Rechte verbindingslijn 24">
                <a:extLst>
                  <a:ext uri="{FF2B5EF4-FFF2-40B4-BE49-F238E27FC236}">
                    <a16:creationId xmlns:a16="http://schemas.microsoft.com/office/drawing/2014/main" id="{1D2F6912-7641-42FF-810E-988DDB71EED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0" y="-551330"/>
                <a:ext cx="0" cy="7960659"/>
              </a:xfrm>
              <a:prstGeom prst="line">
                <a:avLst/>
              </a:prstGeom>
              <a:ln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" name="Groep 11">
              <a:extLst>
                <a:ext uri="{FF2B5EF4-FFF2-40B4-BE49-F238E27FC236}">
                  <a16:creationId xmlns:a16="http://schemas.microsoft.com/office/drawing/2014/main" id="{30FE04AC-8458-47BB-B77B-BB685BB7C5C7}"/>
                </a:ext>
              </a:extLst>
            </p:cNvPr>
            <p:cNvGrpSpPr/>
            <p:nvPr userDrawn="1"/>
          </p:nvGrpSpPr>
          <p:grpSpPr>
            <a:xfrm rot="5400000">
              <a:off x="4340876" y="-4585075"/>
              <a:ext cx="462248" cy="9632398"/>
              <a:chOff x="0" y="-551330"/>
              <a:chExt cx="462248" cy="7960659"/>
            </a:xfrm>
          </p:grpSpPr>
          <p:cxnSp>
            <p:nvCxnSpPr>
              <p:cNvPr id="22" name="Rechte verbindingslijn 21">
                <a:extLst>
                  <a:ext uri="{FF2B5EF4-FFF2-40B4-BE49-F238E27FC236}">
                    <a16:creationId xmlns:a16="http://schemas.microsoft.com/office/drawing/2014/main" id="{8F565E57-0462-47C4-B66C-69A7877B2BC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462248" y="-551330"/>
                <a:ext cx="0" cy="7960659"/>
              </a:xfrm>
              <a:prstGeom prst="line">
                <a:avLst/>
              </a:prstGeom>
              <a:ln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Rechte verbindingslijn 22">
                <a:extLst>
                  <a:ext uri="{FF2B5EF4-FFF2-40B4-BE49-F238E27FC236}">
                    <a16:creationId xmlns:a16="http://schemas.microsoft.com/office/drawing/2014/main" id="{58FABA63-D0FD-44EC-A587-A1E24CE2937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0" y="-551330"/>
                <a:ext cx="0" cy="7960659"/>
              </a:xfrm>
              <a:prstGeom prst="line">
                <a:avLst/>
              </a:prstGeom>
              <a:ln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3" name="Groep 12">
              <a:extLst>
                <a:ext uri="{FF2B5EF4-FFF2-40B4-BE49-F238E27FC236}">
                  <a16:creationId xmlns:a16="http://schemas.microsoft.com/office/drawing/2014/main" id="{C1F6589C-1795-4657-8D2B-664F61725DF7}"/>
                </a:ext>
              </a:extLst>
            </p:cNvPr>
            <p:cNvGrpSpPr/>
            <p:nvPr userDrawn="1"/>
          </p:nvGrpSpPr>
          <p:grpSpPr>
            <a:xfrm rot="5400000">
              <a:off x="4340876" y="1810676"/>
              <a:ext cx="462248" cy="9632398"/>
              <a:chOff x="0" y="-551330"/>
              <a:chExt cx="462248" cy="7960659"/>
            </a:xfrm>
          </p:grpSpPr>
          <p:cxnSp>
            <p:nvCxnSpPr>
              <p:cNvPr id="20" name="Rechte verbindingslijn 19">
                <a:extLst>
                  <a:ext uri="{FF2B5EF4-FFF2-40B4-BE49-F238E27FC236}">
                    <a16:creationId xmlns:a16="http://schemas.microsoft.com/office/drawing/2014/main" id="{6D211033-38ED-4893-917F-B091B5A4575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462248" y="-551330"/>
                <a:ext cx="0" cy="7960659"/>
              </a:xfrm>
              <a:prstGeom prst="line">
                <a:avLst/>
              </a:prstGeom>
              <a:ln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Rechte verbindingslijn 20">
                <a:extLst>
                  <a:ext uri="{FF2B5EF4-FFF2-40B4-BE49-F238E27FC236}">
                    <a16:creationId xmlns:a16="http://schemas.microsoft.com/office/drawing/2014/main" id="{0E1F1A80-5C21-4340-A56C-4ABFCE6F545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0" y="-551330"/>
                <a:ext cx="0" cy="7960659"/>
              </a:xfrm>
              <a:prstGeom prst="line">
                <a:avLst/>
              </a:prstGeom>
              <a:ln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ep 13">
              <a:extLst>
                <a:ext uri="{FF2B5EF4-FFF2-40B4-BE49-F238E27FC236}">
                  <a16:creationId xmlns:a16="http://schemas.microsoft.com/office/drawing/2014/main" id="{BC8455EE-A786-4B80-96E1-CA9B3AD04B03}"/>
                </a:ext>
              </a:extLst>
            </p:cNvPr>
            <p:cNvGrpSpPr/>
            <p:nvPr userDrawn="1"/>
          </p:nvGrpSpPr>
          <p:grpSpPr>
            <a:xfrm rot="5400000">
              <a:off x="4340876" y="1582076"/>
              <a:ext cx="462248" cy="9632398"/>
              <a:chOff x="0" y="-551330"/>
              <a:chExt cx="462248" cy="7960659"/>
            </a:xfrm>
          </p:grpSpPr>
          <p:cxnSp>
            <p:nvCxnSpPr>
              <p:cNvPr id="18" name="Rechte verbindingslijn 17">
                <a:extLst>
                  <a:ext uri="{FF2B5EF4-FFF2-40B4-BE49-F238E27FC236}">
                    <a16:creationId xmlns:a16="http://schemas.microsoft.com/office/drawing/2014/main" id="{34ED09F4-5789-46BE-B680-A1F34F84799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462248" y="-551330"/>
                <a:ext cx="0" cy="7960659"/>
              </a:xfrm>
              <a:prstGeom prst="line">
                <a:avLst/>
              </a:prstGeom>
              <a:ln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Rechte verbindingslijn 18">
                <a:extLst>
                  <a:ext uri="{FF2B5EF4-FFF2-40B4-BE49-F238E27FC236}">
                    <a16:creationId xmlns:a16="http://schemas.microsoft.com/office/drawing/2014/main" id="{A0151EDC-69BE-46A9-BB65-A79CF540C56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0" y="-551330"/>
                <a:ext cx="0" cy="7960659"/>
              </a:xfrm>
              <a:prstGeom prst="line">
                <a:avLst/>
              </a:prstGeom>
              <a:ln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" name="Groep 14">
              <a:extLst>
                <a:ext uri="{FF2B5EF4-FFF2-40B4-BE49-F238E27FC236}">
                  <a16:creationId xmlns:a16="http://schemas.microsoft.com/office/drawing/2014/main" id="{4A7503AA-A783-42ED-94EC-0EFBE2868290}"/>
                </a:ext>
              </a:extLst>
            </p:cNvPr>
            <p:cNvGrpSpPr/>
            <p:nvPr userDrawn="1"/>
          </p:nvGrpSpPr>
          <p:grpSpPr>
            <a:xfrm rot="5400000">
              <a:off x="4340876" y="-3795434"/>
              <a:ext cx="462248" cy="9632398"/>
              <a:chOff x="-165100" y="-551330"/>
              <a:chExt cx="462248" cy="7960659"/>
            </a:xfrm>
          </p:grpSpPr>
          <p:cxnSp>
            <p:nvCxnSpPr>
              <p:cNvPr id="16" name="Rechte verbindingslijn 15">
                <a:extLst>
                  <a:ext uri="{FF2B5EF4-FFF2-40B4-BE49-F238E27FC236}">
                    <a16:creationId xmlns:a16="http://schemas.microsoft.com/office/drawing/2014/main" id="{8F91A31E-6BC0-4DB3-9447-5E9FE3F151C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297148" y="-551330"/>
                <a:ext cx="0" cy="7960659"/>
              </a:xfrm>
              <a:prstGeom prst="line">
                <a:avLst/>
              </a:prstGeom>
              <a:ln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Rechte verbindingslijn 16">
                <a:extLst>
                  <a:ext uri="{FF2B5EF4-FFF2-40B4-BE49-F238E27FC236}">
                    <a16:creationId xmlns:a16="http://schemas.microsoft.com/office/drawing/2014/main" id="{29796BF5-6CAB-4C82-BF63-0D58FD23A6E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165100" y="-551330"/>
                <a:ext cx="0" cy="7960659"/>
              </a:xfrm>
              <a:prstGeom prst="line">
                <a:avLst/>
              </a:prstGeom>
              <a:ln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28" name="Afbeelding 27" descr="Afbeelding met tekst, Lettertype, ontwerp&#10;&#10;Automatisch gegenereerde beschrijving">
            <a:extLst>
              <a:ext uri="{FF2B5EF4-FFF2-40B4-BE49-F238E27FC236}">
                <a16:creationId xmlns:a16="http://schemas.microsoft.com/office/drawing/2014/main" id="{02A24BDF-2508-276D-BA75-368942B31ECB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324600"/>
            <a:ext cx="2133600" cy="533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2497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39" r:id="rId2"/>
    <p:sldLayoutId id="2147483736" r:id="rId3"/>
  </p:sldLayoutIdLst>
  <p:hf hdr="0" ft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accent5">
              <a:lumMod val="75000"/>
            </a:schemeClr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accent5">
              <a:lumMod val="75000"/>
            </a:schemeClr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2400" kern="1200">
          <a:solidFill>
            <a:schemeClr val="accent5">
              <a:lumMod val="75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accent5">
              <a:lumMod val="75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accent5">
              <a:lumMod val="75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kern="1200">
          <a:solidFill>
            <a:schemeClr val="accent5">
              <a:lumMod val="7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svg"/><Relationship Id="rId3" Type="http://schemas.openxmlformats.org/officeDocument/2006/relationships/image" Target="../media/image5.svg"/><Relationship Id="rId7" Type="http://schemas.openxmlformats.org/officeDocument/2006/relationships/image" Target="../media/image9.svg"/><Relationship Id="rId12" Type="http://schemas.openxmlformats.org/officeDocument/2006/relationships/image" Target="../media/image14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11" Type="http://schemas.openxmlformats.org/officeDocument/2006/relationships/image" Target="../media/image13.svg"/><Relationship Id="rId5" Type="http://schemas.openxmlformats.org/officeDocument/2006/relationships/image" Target="../media/image7.svg"/><Relationship Id="rId10" Type="http://schemas.openxmlformats.org/officeDocument/2006/relationships/image" Target="../media/image12.png"/><Relationship Id="rId4" Type="http://schemas.openxmlformats.org/officeDocument/2006/relationships/image" Target="../media/image6.png"/><Relationship Id="rId9" Type="http://schemas.openxmlformats.org/officeDocument/2006/relationships/image" Target="../media/image11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calendly.com/anoukpiening" TargetMode="External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svg"/><Relationship Id="rId3" Type="http://schemas.openxmlformats.org/officeDocument/2006/relationships/image" Target="../media/image5.svg"/><Relationship Id="rId7" Type="http://schemas.openxmlformats.org/officeDocument/2006/relationships/image" Target="../media/image9.svg"/><Relationship Id="rId12" Type="http://schemas.openxmlformats.org/officeDocument/2006/relationships/image" Target="../media/image14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11" Type="http://schemas.openxmlformats.org/officeDocument/2006/relationships/image" Target="../media/image13.svg"/><Relationship Id="rId5" Type="http://schemas.openxmlformats.org/officeDocument/2006/relationships/image" Target="../media/image7.svg"/><Relationship Id="rId10" Type="http://schemas.openxmlformats.org/officeDocument/2006/relationships/image" Target="../media/image12.png"/><Relationship Id="rId4" Type="http://schemas.openxmlformats.org/officeDocument/2006/relationships/image" Target="../media/image6.png"/><Relationship Id="rId9" Type="http://schemas.openxmlformats.org/officeDocument/2006/relationships/image" Target="../media/image11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svg"/><Relationship Id="rId5" Type="http://schemas.openxmlformats.org/officeDocument/2006/relationships/image" Target="../media/image6.png"/><Relationship Id="rId4" Type="http://schemas.openxmlformats.org/officeDocument/2006/relationships/image" Target="../media/image17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svg"/><Relationship Id="rId5" Type="http://schemas.openxmlformats.org/officeDocument/2006/relationships/image" Target="../media/image22.png"/><Relationship Id="rId4" Type="http://schemas.openxmlformats.org/officeDocument/2006/relationships/image" Target="../media/image21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hyperlink" Target="mailto:anouk@studiocix.com" TargetMode="External"/><Relationship Id="rId1" Type="http://schemas.openxmlformats.org/officeDocument/2006/relationships/slideLayout" Target="../slideLayouts/slideLayout3.xml"/><Relationship Id="rId5" Type="http://schemas.openxmlformats.org/officeDocument/2006/relationships/hyperlink" Target="http://www.studiocix.com/" TargetMode="External"/><Relationship Id="rId4" Type="http://schemas.openxmlformats.org/officeDocument/2006/relationships/hyperlink" Target="https://calendly.com/anoukpiening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66" name="Group 1165">
            <a:extLst>
              <a:ext uri="{FF2B5EF4-FFF2-40B4-BE49-F238E27FC236}">
                <a16:creationId xmlns:a16="http://schemas.microsoft.com/office/drawing/2014/main" id="{21683534-76B6-21EE-843F-93B08C08EF26}"/>
              </a:ext>
            </a:extLst>
          </p:cNvPr>
          <p:cNvGrpSpPr>
            <a:grpSpLocks noChangeAspect="1"/>
          </p:cNvGrpSpPr>
          <p:nvPr/>
        </p:nvGrpSpPr>
        <p:grpSpPr>
          <a:xfrm>
            <a:off x="1355915" y="555590"/>
            <a:ext cx="1647268" cy="592066"/>
            <a:chOff x="515508" y="1450725"/>
            <a:chExt cx="1362269" cy="233999"/>
          </a:xfrm>
        </p:grpSpPr>
        <p:sp>
          <p:nvSpPr>
            <p:cNvPr id="1167" name="Freeform 9">
              <a:extLst>
                <a:ext uri="{FF2B5EF4-FFF2-40B4-BE49-F238E27FC236}">
                  <a16:creationId xmlns:a16="http://schemas.microsoft.com/office/drawing/2014/main" id="{2EAC20DC-F73F-0F98-2C34-3866ACBC1F4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15508" y="1450725"/>
              <a:ext cx="1362269" cy="233999"/>
            </a:xfrm>
            <a:custGeom>
              <a:avLst/>
              <a:gdLst>
                <a:gd name="connsiteX0" fmla="*/ 0 w 1362269"/>
                <a:gd name="connsiteY0" fmla="*/ 0 h 233999"/>
                <a:gd name="connsiteX1" fmla="*/ 1362269 w 1362269"/>
                <a:gd name="connsiteY1" fmla="*/ 0 h 233999"/>
                <a:gd name="connsiteX2" fmla="*/ 1362269 w 1362269"/>
                <a:gd name="connsiteY2" fmla="*/ 233999 h 233999"/>
                <a:gd name="connsiteX3" fmla="*/ 0 w 1362269"/>
                <a:gd name="connsiteY3" fmla="*/ 233999 h 233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2269" h="233999">
                  <a:moveTo>
                    <a:pt x="0" y="0"/>
                  </a:moveTo>
                  <a:lnTo>
                    <a:pt x="1362269" y="0"/>
                  </a:lnTo>
                  <a:lnTo>
                    <a:pt x="1362269" y="233999"/>
                  </a:lnTo>
                  <a:lnTo>
                    <a:pt x="0" y="233999"/>
                  </a:lnTo>
                  <a:close/>
                </a:path>
              </a:pathLst>
            </a:custGeom>
            <a:solidFill>
              <a:srgbClr val="60B3BB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207112">
                <a:defRPr/>
              </a:pPr>
              <a:endParaRPr lang="nl-NL" sz="1359" kern="0" dirty="0">
                <a:solidFill>
                  <a:srgbClr val="7C7C7C"/>
                </a:solidFill>
                <a:latin typeface="Roboto Condensed"/>
              </a:endParaRPr>
            </a:p>
          </p:txBody>
        </p:sp>
        <p:sp>
          <p:nvSpPr>
            <p:cNvPr id="1168" name="Freeform 10">
              <a:extLst>
                <a:ext uri="{FF2B5EF4-FFF2-40B4-BE49-F238E27FC236}">
                  <a16:creationId xmlns:a16="http://schemas.microsoft.com/office/drawing/2014/main" id="{AE61A5AA-7BAB-82EA-FC9D-3DA64C5E1C6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53801" y="1563761"/>
              <a:ext cx="613152" cy="7995"/>
            </a:xfrm>
            <a:custGeom>
              <a:avLst/>
              <a:gdLst>
                <a:gd name="connsiteX0" fmla="*/ 559649 w 613152"/>
                <a:gd name="connsiteY0" fmla="*/ 0 h 7995"/>
                <a:gd name="connsiteX1" fmla="*/ 559649 w 613152"/>
                <a:gd name="connsiteY1" fmla="*/ 7995 h 7995"/>
                <a:gd name="connsiteX2" fmla="*/ 613152 w 613152"/>
                <a:gd name="connsiteY2" fmla="*/ 7995 h 7995"/>
                <a:gd name="connsiteX3" fmla="*/ 613152 w 613152"/>
                <a:gd name="connsiteY3" fmla="*/ 0 h 7995"/>
                <a:gd name="connsiteX4" fmla="*/ 559649 w 613152"/>
                <a:gd name="connsiteY4" fmla="*/ 0 h 7995"/>
                <a:gd name="connsiteX5" fmla="*/ 479049 w 613152"/>
                <a:gd name="connsiteY5" fmla="*/ 0 h 7995"/>
                <a:gd name="connsiteX6" fmla="*/ 479049 w 613152"/>
                <a:gd name="connsiteY6" fmla="*/ 7995 h 7995"/>
                <a:gd name="connsiteX7" fmla="*/ 532552 w 613152"/>
                <a:gd name="connsiteY7" fmla="*/ 7995 h 7995"/>
                <a:gd name="connsiteX8" fmla="*/ 532552 w 613152"/>
                <a:gd name="connsiteY8" fmla="*/ 0 h 7995"/>
                <a:gd name="connsiteX9" fmla="*/ 479049 w 613152"/>
                <a:gd name="connsiteY9" fmla="*/ 0 h 7995"/>
                <a:gd name="connsiteX10" fmla="*/ 398449 w 613152"/>
                <a:gd name="connsiteY10" fmla="*/ 0 h 7995"/>
                <a:gd name="connsiteX11" fmla="*/ 398449 w 613152"/>
                <a:gd name="connsiteY11" fmla="*/ 7995 h 7995"/>
                <a:gd name="connsiteX12" fmla="*/ 451952 w 613152"/>
                <a:gd name="connsiteY12" fmla="*/ 7995 h 7995"/>
                <a:gd name="connsiteX13" fmla="*/ 451952 w 613152"/>
                <a:gd name="connsiteY13" fmla="*/ 0 h 7995"/>
                <a:gd name="connsiteX14" fmla="*/ 398449 w 613152"/>
                <a:gd name="connsiteY14" fmla="*/ 0 h 7995"/>
                <a:gd name="connsiteX15" fmla="*/ 317918 w 613152"/>
                <a:gd name="connsiteY15" fmla="*/ 0 h 7995"/>
                <a:gd name="connsiteX16" fmla="*/ 317918 w 613152"/>
                <a:gd name="connsiteY16" fmla="*/ 7995 h 7995"/>
                <a:gd name="connsiteX17" fmla="*/ 371421 w 613152"/>
                <a:gd name="connsiteY17" fmla="*/ 7995 h 7995"/>
                <a:gd name="connsiteX18" fmla="*/ 371421 w 613152"/>
                <a:gd name="connsiteY18" fmla="*/ 0 h 7995"/>
                <a:gd name="connsiteX19" fmla="*/ 317918 w 613152"/>
                <a:gd name="connsiteY19" fmla="*/ 0 h 7995"/>
                <a:gd name="connsiteX20" fmla="*/ 237318 w 613152"/>
                <a:gd name="connsiteY20" fmla="*/ 0 h 7995"/>
                <a:gd name="connsiteX21" fmla="*/ 237318 w 613152"/>
                <a:gd name="connsiteY21" fmla="*/ 7995 h 7995"/>
                <a:gd name="connsiteX22" fmla="*/ 290822 w 613152"/>
                <a:gd name="connsiteY22" fmla="*/ 7995 h 7995"/>
                <a:gd name="connsiteX23" fmla="*/ 290822 w 613152"/>
                <a:gd name="connsiteY23" fmla="*/ 0 h 7995"/>
                <a:gd name="connsiteX24" fmla="*/ 237318 w 613152"/>
                <a:gd name="connsiteY24" fmla="*/ 0 h 7995"/>
                <a:gd name="connsiteX25" fmla="*/ 156787 w 613152"/>
                <a:gd name="connsiteY25" fmla="*/ 0 h 7995"/>
                <a:gd name="connsiteX26" fmla="*/ 156787 w 613152"/>
                <a:gd name="connsiteY26" fmla="*/ 7995 h 7995"/>
                <a:gd name="connsiteX27" fmla="*/ 210291 w 613152"/>
                <a:gd name="connsiteY27" fmla="*/ 7995 h 7995"/>
                <a:gd name="connsiteX28" fmla="*/ 210291 w 613152"/>
                <a:gd name="connsiteY28" fmla="*/ 0 h 7995"/>
                <a:gd name="connsiteX29" fmla="*/ 156787 w 613152"/>
                <a:gd name="connsiteY29" fmla="*/ 0 h 7995"/>
                <a:gd name="connsiteX30" fmla="*/ 76187 w 613152"/>
                <a:gd name="connsiteY30" fmla="*/ 0 h 7995"/>
                <a:gd name="connsiteX31" fmla="*/ 76187 w 613152"/>
                <a:gd name="connsiteY31" fmla="*/ 7995 h 7995"/>
                <a:gd name="connsiteX32" fmla="*/ 129691 w 613152"/>
                <a:gd name="connsiteY32" fmla="*/ 7995 h 7995"/>
                <a:gd name="connsiteX33" fmla="*/ 129691 w 613152"/>
                <a:gd name="connsiteY33" fmla="*/ 0 h 7995"/>
                <a:gd name="connsiteX34" fmla="*/ 76187 w 613152"/>
                <a:gd name="connsiteY34" fmla="*/ 0 h 7995"/>
                <a:gd name="connsiteX35" fmla="*/ 0 w 613152"/>
                <a:gd name="connsiteY35" fmla="*/ 0 h 7995"/>
                <a:gd name="connsiteX36" fmla="*/ 0 w 613152"/>
                <a:gd name="connsiteY36" fmla="*/ 7995 h 7995"/>
                <a:gd name="connsiteX37" fmla="*/ 49091 w 613152"/>
                <a:gd name="connsiteY37" fmla="*/ 7995 h 7995"/>
                <a:gd name="connsiteX38" fmla="*/ 49091 w 613152"/>
                <a:gd name="connsiteY38" fmla="*/ 0 h 7995"/>
                <a:gd name="connsiteX39" fmla="*/ 0 w 613152"/>
                <a:gd name="connsiteY39" fmla="*/ 0 h 7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613152" h="7995">
                  <a:moveTo>
                    <a:pt x="559649" y="0"/>
                  </a:moveTo>
                  <a:cubicBezTo>
                    <a:pt x="559649" y="1792"/>
                    <a:pt x="559649" y="6203"/>
                    <a:pt x="559649" y="7995"/>
                  </a:cubicBezTo>
                  <a:cubicBezTo>
                    <a:pt x="562200" y="7995"/>
                    <a:pt x="610601" y="7995"/>
                    <a:pt x="613152" y="7995"/>
                  </a:cubicBezTo>
                  <a:cubicBezTo>
                    <a:pt x="613152" y="6203"/>
                    <a:pt x="613152" y="1792"/>
                    <a:pt x="613152" y="0"/>
                  </a:cubicBezTo>
                  <a:cubicBezTo>
                    <a:pt x="610532" y="0"/>
                    <a:pt x="562200" y="0"/>
                    <a:pt x="559649" y="0"/>
                  </a:cubicBezTo>
                  <a:close/>
                  <a:moveTo>
                    <a:pt x="479049" y="0"/>
                  </a:moveTo>
                  <a:cubicBezTo>
                    <a:pt x="479049" y="1792"/>
                    <a:pt x="479049" y="6203"/>
                    <a:pt x="479049" y="7995"/>
                  </a:cubicBezTo>
                  <a:cubicBezTo>
                    <a:pt x="481600" y="7995"/>
                    <a:pt x="530001" y="7995"/>
                    <a:pt x="532552" y="7995"/>
                  </a:cubicBezTo>
                  <a:cubicBezTo>
                    <a:pt x="532552" y="6203"/>
                    <a:pt x="532552" y="1792"/>
                    <a:pt x="532552" y="0"/>
                  </a:cubicBezTo>
                  <a:cubicBezTo>
                    <a:pt x="530001" y="0"/>
                    <a:pt x="481600" y="0"/>
                    <a:pt x="479049" y="0"/>
                  </a:cubicBezTo>
                  <a:close/>
                  <a:moveTo>
                    <a:pt x="398449" y="0"/>
                  </a:moveTo>
                  <a:cubicBezTo>
                    <a:pt x="398449" y="1792"/>
                    <a:pt x="398449" y="6203"/>
                    <a:pt x="398449" y="7995"/>
                  </a:cubicBezTo>
                  <a:cubicBezTo>
                    <a:pt x="401000" y="7995"/>
                    <a:pt x="449401" y="7995"/>
                    <a:pt x="451952" y="7995"/>
                  </a:cubicBezTo>
                  <a:cubicBezTo>
                    <a:pt x="451952" y="6203"/>
                    <a:pt x="451952" y="1792"/>
                    <a:pt x="451952" y="0"/>
                  </a:cubicBezTo>
                  <a:cubicBezTo>
                    <a:pt x="449401" y="0"/>
                    <a:pt x="401069" y="0"/>
                    <a:pt x="398449" y="0"/>
                  </a:cubicBezTo>
                  <a:close/>
                  <a:moveTo>
                    <a:pt x="317918" y="0"/>
                  </a:moveTo>
                  <a:cubicBezTo>
                    <a:pt x="317918" y="1792"/>
                    <a:pt x="317918" y="6203"/>
                    <a:pt x="317918" y="7995"/>
                  </a:cubicBezTo>
                  <a:cubicBezTo>
                    <a:pt x="320469" y="7995"/>
                    <a:pt x="368870" y="7995"/>
                    <a:pt x="371421" y="7995"/>
                  </a:cubicBezTo>
                  <a:cubicBezTo>
                    <a:pt x="371421" y="6203"/>
                    <a:pt x="371421" y="1792"/>
                    <a:pt x="371421" y="0"/>
                  </a:cubicBezTo>
                  <a:cubicBezTo>
                    <a:pt x="368801" y="0"/>
                    <a:pt x="320469" y="0"/>
                    <a:pt x="317918" y="0"/>
                  </a:cubicBezTo>
                  <a:close/>
                  <a:moveTo>
                    <a:pt x="237318" y="0"/>
                  </a:moveTo>
                  <a:cubicBezTo>
                    <a:pt x="237318" y="1792"/>
                    <a:pt x="237318" y="6203"/>
                    <a:pt x="237318" y="7995"/>
                  </a:cubicBezTo>
                  <a:cubicBezTo>
                    <a:pt x="239869" y="7995"/>
                    <a:pt x="288270" y="7995"/>
                    <a:pt x="290822" y="7995"/>
                  </a:cubicBezTo>
                  <a:cubicBezTo>
                    <a:pt x="290822" y="6203"/>
                    <a:pt x="290822" y="1792"/>
                    <a:pt x="290822" y="0"/>
                  </a:cubicBezTo>
                  <a:cubicBezTo>
                    <a:pt x="288270" y="0"/>
                    <a:pt x="239869" y="0"/>
                    <a:pt x="237318" y="0"/>
                  </a:cubicBezTo>
                  <a:close/>
                  <a:moveTo>
                    <a:pt x="156787" y="0"/>
                  </a:moveTo>
                  <a:cubicBezTo>
                    <a:pt x="156787" y="1792"/>
                    <a:pt x="156787" y="6203"/>
                    <a:pt x="156787" y="7995"/>
                  </a:cubicBezTo>
                  <a:cubicBezTo>
                    <a:pt x="159338" y="7995"/>
                    <a:pt x="207740" y="7995"/>
                    <a:pt x="210291" y="7995"/>
                  </a:cubicBezTo>
                  <a:cubicBezTo>
                    <a:pt x="210291" y="6203"/>
                    <a:pt x="210291" y="1792"/>
                    <a:pt x="210291" y="0"/>
                  </a:cubicBezTo>
                  <a:cubicBezTo>
                    <a:pt x="207671" y="0"/>
                    <a:pt x="159338" y="0"/>
                    <a:pt x="156787" y="0"/>
                  </a:cubicBezTo>
                  <a:close/>
                  <a:moveTo>
                    <a:pt x="76187" y="0"/>
                  </a:moveTo>
                  <a:cubicBezTo>
                    <a:pt x="76187" y="1792"/>
                    <a:pt x="76187" y="6203"/>
                    <a:pt x="76187" y="7995"/>
                  </a:cubicBezTo>
                  <a:cubicBezTo>
                    <a:pt x="78738" y="7995"/>
                    <a:pt x="127140" y="7995"/>
                    <a:pt x="129691" y="7995"/>
                  </a:cubicBezTo>
                  <a:cubicBezTo>
                    <a:pt x="129691" y="6203"/>
                    <a:pt x="129691" y="1792"/>
                    <a:pt x="129691" y="0"/>
                  </a:cubicBezTo>
                  <a:cubicBezTo>
                    <a:pt x="127071" y="0"/>
                    <a:pt x="78738" y="0"/>
                    <a:pt x="76187" y="0"/>
                  </a:cubicBezTo>
                  <a:close/>
                  <a:moveTo>
                    <a:pt x="0" y="0"/>
                  </a:moveTo>
                  <a:cubicBezTo>
                    <a:pt x="0" y="1792"/>
                    <a:pt x="0" y="6203"/>
                    <a:pt x="0" y="7995"/>
                  </a:cubicBezTo>
                  <a:cubicBezTo>
                    <a:pt x="2551" y="7995"/>
                    <a:pt x="46540" y="7995"/>
                    <a:pt x="49091" y="7995"/>
                  </a:cubicBezTo>
                  <a:cubicBezTo>
                    <a:pt x="49091" y="6203"/>
                    <a:pt x="49091" y="1792"/>
                    <a:pt x="49091" y="0"/>
                  </a:cubicBezTo>
                  <a:cubicBezTo>
                    <a:pt x="46540" y="0"/>
                    <a:pt x="2551" y="0"/>
                    <a:pt x="0" y="0"/>
                  </a:cubicBezTo>
                  <a:close/>
                </a:path>
              </a:pathLst>
            </a:custGeom>
            <a:solidFill>
              <a:srgbClr val="E4E4E4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207112">
                <a:defRPr/>
              </a:pPr>
              <a:endParaRPr lang="nl-NL" sz="1359" kern="0" dirty="0">
                <a:solidFill>
                  <a:srgbClr val="7C7C7C"/>
                </a:solidFill>
                <a:latin typeface="Roboto Condensed"/>
              </a:endParaRPr>
            </a:p>
          </p:txBody>
        </p:sp>
        <p:sp>
          <p:nvSpPr>
            <p:cNvPr id="1169" name="Freeform 11">
              <a:extLst>
                <a:ext uri="{FF2B5EF4-FFF2-40B4-BE49-F238E27FC236}">
                  <a16:creationId xmlns:a16="http://schemas.microsoft.com/office/drawing/2014/main" id="{45363F34-E036-524B-7446-389D157B1F4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13207" y="1563761"/>
              <a:ext cx="613083" cy="7995"/>
            </a:xfrm>
            <a:custGeom>
              <a:avLst/>
              <a:gdLst>
                <a:gd name="connsiteX0" fmla="*/ 559580 w 613083"/>
                <a:gd name="connsiteY0" fmla="*/ 0 h 7995"/>
                <a:gd name="connsiteX1" fmla="*/ 559580 w 613083"/>
                <a:gd name="connsiteY1" fmla="*/ 7995 h 7995"/>
                <a:gd name="connsiteX2" fmla="*/ 613083 w 613083"/>
                <a:gd name="connsiteY2" fmla="*/ 7995 h 7995"/>
                <a:gd name="connsiteX3" fmla="*/ 613083 w 613083"/>
                <a:gd name="connsiteY3" fmla="*/ 0 h 7995"/>
                <a:gd name="connsiteX4" fmla="*/ 559580 w 613083"/>
                <a:gd name="connsiteY4" fmla="*/ 0 h 7995"/>
                <a:gd name="connsiteX5" fmla="*/ 478980 w 613083"/>
                <a:gd name="connsiteY5" fmla="*/ 0 h 7995"/>
                <a:gd name="connsiteX6" fmla="*/ 478980 w 613083"/>
                <a:gd name="connsiteY6" fmla="*/ 7995 h 7995"/>
                <a:gd name="connsiteX7" fmla="*/ 532483 w 613083"/>
                <a:gd name="connsiteY7" fmla="*/ 7995 h 7995"/>
                <a:gd name="connsiteX8" fmla="*/ 532483 w 613083"/>
                <a:gd name="connsiteY8" fmla="*/ 0 h 7995"/>
                <a:gd name="connsiteX9" fmla="*/ 478980 w 613083"/>
                <a:gd name="connsiteY9" fmla="*/ 0 h 7995"/>
                <a:gd name="connsiteX10" fmla="*/ 398449 w 613083"/>
                <a:gd name="connsiteY10" fmla="*/ 0 h 7995"/>
                <a:gd name="connsiteX11" fmla="*/ 398449 w 613083"/>
                <a:gd name="connsiteY11" fmla="*/ 7995 h 7995"/>
                <a:gd name="connsiteX12" fmla="*/ 451952 w 613083"/>
                <a:gd name="connsiteY12" fmla="*/ 7995 h 7995"/>
                <a:gd name="connsiteX13" fmla="*/ 451952 w 613083"/>
                <a:gd name="connsiteY13" fmla="*/ 0 h 7995"/>
                <a:gd name="connsiteX14" fmla="*/ 398449 w 613083"/>
                <a:gd name="connsiteY14" fmla="*/ 0 h 7995"/>
                <a:gd name="connsiteX15" fmla="*/ 317849 w 613083"/>
                <a:gd name="connsiteY15" fmla="*/ 0 h 7995"/>
                <a:gd name="connsiteX16" fmla="*/ 317849 w 613083"/>
                <a:gd name="connsiteY16" fmla="*/ 7995 h 7995"/>
                <a:gd name="connsiteX17" fmla="*/ 371352 w 613083"/>
                <a:gd name="connsiteY17" fmla="*/ 7995 h 7995"/>
                <a:gd name="connsiteX18" fmla="*/ 371352 w 613083"/>
                <a:gd name="connsiteY18" fmla="*/ 0 h 7995"/>
                <a:gd name="connsiteX19" fmla="*/ 317849 w 613083"/>
                <a:gd name="connsiteY19" fmla="*/ 0 h 7995"/>
                <a:gd name="connsiteX20" fmla="*/ 237249 w 613083"/>
                <a:gd name="connsiteY20" fmla="*/ 0 h 7995"/>
                <a:gd name="connsiteX21" fmla="*/ 237249 w 613083"/>
                <a:gd name="connsiteY21" fmla="*/ 7995 h 7995"/>
                <a:gd name="connsiteX22" fmla="*/ 290753 w 613083"/>
                <a:gd name="connsiteY22" fmla="*/ 7995 h 7995"/>
                <a:gd name="connsiteX23" fmla="*/ 290753 w 613083"/>
                <a:gd name="connsiteY23" fmla="*/ 0 h 7995"/>
                <a:gd name="connsiteX24" fmla="*/ 237249 w 613083"/>
                <a:gd name="connsiteY24" fmla="*/ 0 h 7995"/>
                <a:gd name="connsiteX25" fmla="*/ 156718 w 613083"/>
                <a:gd name="connsiteY25" fmla="*/ 0 h 7995"/>
                <a:gd name="connsiteX26" fmla="*/ 156718 w 613083"/>
                <a:gd name="connsiteY26" fmla="*/ 7995 h 7995"/>
                <a:gd name="connsiteX27" fmla="*/ 210222 w 613083"/>
                <a:gd name="connsiteY27" fmla="*/ 7995 h 7995"/>
                <a:gd name="connsiteX28" fmla="*/ 210222 w 613083"/>
                <a:gd name="connsiteY28" fmla="*/ 0 h 7995"/>
                <a:gd name="connsiteX29" fmla="*/ 156718 w 613083"/>
                <a:gd name="connsiteY29" fmla="*/ 0 h 7995"/>
                <a:gd name="connsiteX30" fmla="*/ 76118 w 613083"/>
                <a:gd name="connsiteY30" fmla="*/ 0 h 7995"/>
                <a:gd name="connsiteX31" fmla="*/ 76118 w 613083"/>
                <a:gd name="connsiteY31" fmla="*/ 7995 h 7995"/>
                <a:gd name="connsiteX32" fmla="*/ 129622 w 613083"/>
                <a:gd name="connsiteY32" fmla="*/ 7995 h 7995"/>
                <a:gd name="connsiteX33" fmla="*/ 129622 w 613083"/>
                <a:gd name="connsiteY33" fmla="*/ 0 h 7995"/>
                <a:gd name="connsiteX34" fmla="*/ 76118 w 613083"/>
                <a:gd name="connsiteY34" fmla="*/ 0 h 7995"/>
                <a:gd name="connsiteX35" fmla="*/ 0 w 613083"/>
                <a:gd name="connsiteY35" fmla="*/ 0 h 7995"/>
                <a:gd name="connsiteX36" fmla="*/ 0 w 613083"/>
                <a:gd name="connsiteY36" fmla="*/ 7995 h 7995"/>
                <a:gd name="connsiteX37" fmla="*/ 49091 w 613083"/>
                <a:gd name="connsiteY37" fmla="*/ 7995 h 7995"/>
                <a:gd name="connsiteX38" fmla="*/ 49091 w 613083"/>
                <a:gd name="connsiteY38" fmla="*/ 0 h 7995"/>
                <a:gd name="connsiteX39" fmla="*/ 0 w 613083"/>
                <a:gd name="connsiteY39" fmla="*/ 0 h 7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613083" h="7995">
                  <a:moveTo>
                    <a:pt x="559580" y="0"/>
                  </a:moveTo>
                  <a:cubicBezTo>
                    <a:pt x="559580" y="1792"/>
                    <a:pt x="559580" y="6203"/>
                    <a:pt x="559580" y="7995"/>
                  </a:cubicBezTo>
                  <a:cubicBezTo>
                    <a:pt x="562131" y="7995"/>
                    <a:pt x="610532" y="7995"/>
                    <a:pt x="613083" y="7995"/>
                  </a:cubicBezTo>
                  <a:cubicBezTo>
                    <a:pt x="613083" y="6203"/>
                    <a:pt x="613083" y="1792"/>
                    <a:pt x="613083" y="0"/>
                  </a:cubicBezTo>
                  <a:cubicBezTo>
                    <a:pt x="610532" y="0"/>
                    <a:pt x="562131" y="0"/>
                    <a:pt x="559580" y="0"/>
                  </a:cubicBezTo>
                  <a:close/>
                  <a:moveTo>
                    <a:pt x="478980" y="0"/>
                  </a:moveTo>
                  <a:cubicBezTo>
                    <a:pt x="478980" y="1792"/>
                    <a:pt x="478980" y="6203"/>
                    <a:pt x="478980" y="7995"/>
                  </a:cubicBezTo>
                  <a:cubicBezTo>
                    <a:pt x="481531" y="7995"/>
                    <a:pt x="529932" y="7995"/>
                    <a:pt x="532483" y="7995"/>
                  </a:cubicBezTo>
                  <a:cubicBezTo>
                    <a:pt x="532483" y="6203"/>
                    <a:pt x="532483" y="1792"/>
                    <a:pt x="532483" y="0"/>
                  </a:cubicBezTo>
                  <a:cubicBezTo>
                    <a:pt x="529932" y="0"/>
                    <a:pt x="481531" y="0"/>
                    <a:pt x="478980" y="0"/>
                  </a:cubicBezTo>
                  <a:close/>
                  <a:moveTo>
                    <a:pt x="398449" y="0"/>
                  </a:moveTo>
                  <a:cubicBezTo>
                    <a:pt x="398449" y="1792"/>
                    <a:pt x="398449" y="6203"/>
                    <a:pt x="398449" y="7995"/>
                  </a:cubicBezTo>
                  <a:cubicBezTo>
                    <a:pt x="401000" y="7995"/>
                    <a:pt x="449401" y="7995"/>
                    <a:pt x="451952" y="7995"/>
                  </a:cubicBezTo>
                  <a:cubicBezTo>
                    <a:pt x="451952" y="6203"/>
                    <a:pt x="451952" y="1792"/>
                    <a:pt x="451952" y="0"/>
                  </a:cubicBezTo>
                  <a:cubicBezTo>
                    <a:pt x="449332" y="0"/>
                    <a:pt x="401000" y="0"/>
                    <a:pt x="398449" y="0"/>
                  </a:cubicBezTo>
                  <a:close/>
                  <a:moveTo>
                    <a:pt x="317849" y="0"/>
                  </a:moveTo>
                  <a:cubicBezTo>
                    <a:pt x="317849" y="1792"/>
                    <a:pt x="317849" y="6203"/>
                    <a:pt x="317849" y="7995"/>
                  </a:cubicBezTo>
                  <a:cubicBezTo>
                    <a:pt x="320400" y="7995"/>
                    <a:pt x="368801" y="7995"/>
                    <a:pt x="371352" y="7995"/>
                  </a:cubicBezTo>
                  <a:cubicBezTo>
                    <a:pt x="371352" y="6203"/>
                    <a:pt x="371352" y="1792"/>
                    <a:pt x="371352" y="0"/>
                  </a:cubicBezTo>
                  <a:cubicBezTo>
                    <a:pt x="368801" y="0"/>
                    <a:pt x="320400" y="0"/>
                    <a:pt x="317849" y="0"/>
                  </a:cubicBezTo>
                  <a:close/>
                  <a:moveTo>
                    <a:pt x="237249" y="0"/>
                  </a:moveTo>
                  <a:cubicBezTo>
                    <a:pt x="237249" y="1792"/>
                    <a:pt x="237249" y="6203"/>
                    <a:pt x="237249" y="7995"/>
                  </a:cubicBezTo>
                  <a:cubicBezTo>
                    <a:pt x="239800" y="7995"/>
                    <a:pt x="288201" y="7995"/>
                    <a:pt x="290753" y="7995"/>
                  </a:cubicBezTo>
                  <a:cubicBezTo>
                    <a:pt x="290753" y="6203"/>
                    <a:pt x="290753" y="1792"/>
                    <a:pt x="290753" y="0"/>
                  </a:cubicBezTo>
                  <a:cubicBezTo>
                    <a:pt x="288201" y="0"/>
                    <a:pt x="239869" y="0"/>
                    <a:pt x="237249" y="0"/>
                  </a:cubicBezTo>
                  <a:close/>
                  <a:moveTo>
                    <a:pt x="156718" y="0"/>
                  </a:moveTo>
                  <a:cubicBezTo>
                    <a:pt x="156718" y="1792"/>
                    <a:pt x="156718" y="6203"/>
                    <a:pt x="156718" y="7995"/>
                  </a:cubicBezTo>
                  <a:cubicBezTo>
                    <a:pt x="159269" y="7995"/>
                    <a:pt x="207671" y="7995"/>
                    <a:pt x="210222" y="7995"/>
                  </a:cubicBezTo>
                  <a:cubicBezTo>
                    <a:pt x="210222" y="6203"/>
                    <a:pt x="210222" y="1792"/>
                    <a:pt x="210222" y="0"/>
                  </a:cubicBezTo>
                  <a:cubicBezTo>
                    <a:pt x="207602" y="0"/>
                    <a:pt x="159269" y="0"/>
                    <a:pt x="156718" y="0"/>
                  </a:cubicBezTo>
                  <a:close/>
                  <a:moveTo>
                    <a:pt x="76118" y="0"/>
                  </a:moveTo>
                  <a:cubicBezTo>
                    <a:pt x="76118" y="1792"/>
                    <a:pt x="76118" y="6203"/>
                    <a:pt x="76118" y="7995"/>
                  </a:cubicBezTo>
                  <a:cubicBezTo>
                    <a:pt x="78669" y="7995"/>
                    <a:pt x="127071" y="7995"/>
                    <a:pt x="129622" y="7995"/>
                  </a:cubicBezTo>
                  <a:cubicBezTo>
                    <a:pt x="129622" y="6203"/>
                    <a:pt x="129622" y="1792"/>
                    <a:pt x="129622" y="0"/>
                  </a:cubicBezTo>
                  <a:cubicBezTo>
                    <a:pt x="127071" y="0"/>
                    <a:pt x="78669" y="0"/>
                    <a:pt x="76118" y="0"/>
                  </a:cubicBezTo>
                  <a:close/>
                  <a:moveTo>
                    <a:pt x="0" y="0"/>
                  </a:moveTo>
                  <a:cubicBezTo>
                    <a:pt x="0" y="1792"/>
                    <a:pt x="0" y="6203"/>
                    <a:pt x="0" y="7995"/>
                  </a:cubicBezTo>
                  <a:cubicBezTo>
                    <a:pt x="2551" y="7995"/>
                    <a:pt x="46540" y="7995"/>
                    <a:pt x="49091" y="7995"/>
                  </a:cubicBezTo>
                  <a:cubicBezTo>
                    <a:pt x="49091" y="6203"/>
                    <a:pt x="49091" y="1792"/>
                    <a:pt x="49091" y="0"/>
                  </a:cubicBezTo>
                  <a:cubicBezTo>
                    <a:pt x="46540" y="0"/>
                    <a:pt x="2551" y="0"/>
                    <a:pt x="0" y="0"/>
                  </a:cubicBezTo>
                  <a:close/>
                </a:path>
              </a:pathLst>
            </a:custGeom>
            <a:solidFill>
              <a:srgbClr val="E4E4E4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207112">
                <a:defRPr/>
              </a:pPr>
              <a:endParaRPr lang="nl-NL" sz="1359" kern="0" dirty="0">
                <a:solidFill>
                  <a:srgbClr val="7C7C7C"/>
                </a:solidFill>
                <a:latin typeface="Roboto Condensed"/>
              </a:endParaRPr>
            </a:p>
          </p:txBody>
        </p:sp>
        <p:sp>
          <p:nvSpPr>
            <p:cNvPr id="1170" name="Freeform 12">
              <a:extLst>
                <a:ext uri="{FF2B5EF4-FFF2-40B4-BE49-F238E27FC236}">
                  <a16:creationId xmlns:a16="http://schemas.microsoft.com/office/drawing/2014/main" id="{0C869ABC-1D7A-4344-4623-0F3D04187F8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28264" y="1563761"/>
              <a:ext cx="53503" cy="7995"/>
            </a:xfrm>
            <a:custGeom>
              <a:avLst/>
              <a:gdLst>
                <a:gd name="connsiteX0" fmla="*/ 0 w 53503"/>
                <a:gd name="connsiteY0" fmla="*/ 0 h 7995"/>
                <a:gd name="connsiteX1" fmla="*/ 0 w 53503"/>
                <a:gd name="connsiteY1" fmla="*/ 7995 h 7995"/>
                <a:gd name="connsiteX2" fmla="*/ 53503 w 53503"/>
                <a:gd name="connsiteY2" fmla="*/ 7995 h 7995"/>
                <a:gd name="connsiteX3" fmla="*/ 53503 w 53503"/>
                <a:gd name="connsiteY3" fmla="*/ 0 h 7995"/>
                <a:gd name="connsiteX4" fmla="*/ 0 w 53503"/>
                <a:gd name="connsiteY4" fmla="*/ 0 h 7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503" h="7995">
                  <a:moveTo>
                    <a:pt x="0" y="0"/>
                  </a:moveTo>
                  <a:cubicBezTo>
                    <a:pt x="0" y="1792"/>
                    <a:pt x="0" y="6203"/>
                    <a:pt x="0" y="7995"/>
                  </a:cubicBezTo>
                  <a:cubicBezTo>
                    <a:pt x="2551" y="7995"/>
                    <a:pt x="50952" y="7995"/>
                    <a:pt x="53503" y="7995"/>
                  </a:cubicBezTo>
                  <a:cubicBezTo>
                    <a:pt x="53503" y="6203"/>
                    <a:pt x="53503" y="1792"/>
                    <a:pt x="53503" y="0"/>
                  </a:cubicBezTo>
                  <a:cubicBezTo>
                    <a:pt x="50952" y="0"/>
                    <a:pt x="2551" y="0"/>
                    <a:pt x="0" y="0"/>
                  </a:cubicBezTo>
                  <a:close/>
                </a:path>
              </a:pathLst>
            </a:custGeom>
            <a:solidFill>
              <a:srgbClr val="E4E4E4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207112">
                <a:defRPr/>
              </a:pPr>
              <a:endParaRPr lang="nl-NL" sz="1359" kern="0" dirty="0">
                <a:solidFill>
                  <a:srgbClr val="7C7C7C"/>
                </a:solidFill>
                <a:latin typeface="Roboto Condensed"/>
              </a:endParaRPr>
            </a:p>
          </p:txBody>
        </p:sp>
        <p:grpSp>
          <p:nvGrpSpPr>
            <p:cNvPr id="1171" name="Graphic 4">
              <a:extLst>
                <a:ext uri="{FF2B5EF4-FFF2-40B4-BE49-F238E27FC236}">
                  <a16:creationId xmlns:a16="http://schemas.microsoft.com/office/drawing/2014/main" id="{80C3D40A-0D48-57A8-7BA5-C04DC42F9771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15508" y="1463821"/>
              <a:ext cx="1362269" cy="207807"/>
              <a:chOff x="515508" y="1463821"/>
              <a:chExt cx="1362269" cy="207807"/>
            </a:xfrm>
            <a:solidFill>
              <a:srgbClr val="E4E4E4"/>
            </a:solidFill>
          </p:grpSpPr>
          <p:sp>
            <p:nvSpPr>
              <p:cNvPr id="1172" name="Freeform 14">
                <a:extLst>
                  <a:ext uri="{FF2B5EF4-FFF2-40B4-BE49-F238E27FC236}">
                    <a16:creationId xmlns:a16="http://schemas.microsoft.com/office/drawing/2014/main" id="{37A5A93A-C6A3-BBB1-5B1C-7F1983E4FB18}"/>
                  </a:ext>
                </a:extLst>
              </p:cNvPr>
              <p:cNvSpPr/>
              <p:nvPr/>
            </p:nvSpPr>
            <p:spPr>
              <a:xfrm>
                <a:off x="515508" y="1663357"/>
                <a:ext cx="1362269" cy="8270"/>
              </a:xfrm>
              <a:custGeom>
                <a:avLst/>
                <a:gdLst>
                  <a:gd name="connsiteX0" fmla="*/ 0 w 1362269"/>
                  <a:gd name="connsiteY0" fmla="*/ 0 h 8270"/>
                  <a:gd name="connsiteX1" fmla="*/ 1362269 w 1362269"/>
                  <a:gd name="connsiteY1" fmla="*/ 0 h 8270"/>
                  <a:gd name="connsiteX2" fmla="*/ 1362269 w 1362269"/>
                  <a:gd name="connsiteY2" fmla="*/ 8271 h 8270"/>
                  <a:gd name="connsiteX3" fmla="*/ 0 w 1362269"/>
                  <a:gd name="connsiteY3" fmla="*/ 8271 h 8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62269" h="8270">
                    <a:moveTo>
                      <a:pt x="0" y="0"/>
                    </a:moveTo>
                    <a:lnTo>
                      <a:pt x="1362269" y="0"/>
                    </a:lnTo>
                    <a:lnTo>
                      <a:pt x="1362269" y="8271"/>
                    </a:lnTo>
                    <a:lnTo>
                      <a:pt x="0" y="8271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207112">
                  <a:defRPr/>
                </a:pPr>
                <a:endParaRPr lang="nl-NL" sz="1359" kern="0" dirty="0">
                  <a:solidFill>
                    <a:srgbClr val="7C7C7C"/>
                  </a:solidFill>
                  <a:latin typeface="Roboto Condensed"/>
                </a:endParaRPr>
              </a:p>
            </p:txBody>
          </p:sp>
          <p:sp>
            <p:nvSpPr>
              <p:cNvPr id="1173" name="Freeform 15">
                <a:extLst>
                  <a:ext uri="{FF2B5EF4-FFF2-40B4-BE49-F238E27FC236}">
                    <a16:creationId xmlns:a16="http://schemas.microsoft.com/office/drawing/2014/main" id="{B9AA78C7-2D0B-B8E8-95E7-88227E18DCC4}"/>
                  </a:ext>
                </a:extLst>
              </p:cNvPr>
              <p:cNvSpPr/>
              <p:nvPr/>
            </p:nvSpPr>
            <p:spPr>
              <a:xfrm>
                <a:off x="515508" y="1463821"/>
                <a:ext cx="1362269" cy="8270"/>
              </a:xfrm>
              <a:custGeom>
                <a:avLst/>
                <a:gdLst>
                  <a:gd name="connsiteX0" fmla="*/ 0 w 1362269"/>
                  <a:gd name="connsiteY0" fmla="*/ 0 h 8270"/>
                  <a:gd name="connsiteX1" fmla="*/ 1362269 w 1362269"/>
                  <a:gd name="connsiteY1" fmla="*/ 0 h 8270"/>
                  <a:gd name="connsiteX2" fmla="*/ 1362269 w 1362269"/>
                  <a:gd name="connsiteY2" fmla="*/ 8271 h 8270"/>
                  <a:gd name="connsiteX3" fmla="*/ 0 w 1362269"/>
                  <a:gd name="connsiteY3" fmla="*/ 8271 h 8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62269" h="8270">
                    <a:moveTo>
                      <a:pt x="0" y="0"/>
                    </a:moveTo>
                    <a:lnTo>
                      <a:pt x="1362269" y="0"/>
                    </a:lnTo>
                    <a:lnTo>
                      <a:pt x="1362269" y="8271"/>
                    </a:lnTo>
                    <a:lnTo>
                      <a:pt x="0" y="8271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207112">
                  <a:defRPr/>
                </a:pPr>
                <a:endParaRPr lang="nl-NL" sz="1359" kern="0" dirty="0">
                  <a:solidFill>
                    <a:srgbClr val="7C7C7C"/>
                  </a:solidFill>
                  <a:latin typeface="Roboto Condensed"/>
                </a:endParaRPr>
              </a:p>
            </p:txBody>
          </p:sp>
        </p:grpSp>
      </p:grpSp>
      <p:grpSp>
        <p:nvGrpSpPr>
          <p:cNvPr id="1174" name="Group 1173">
            <a:extLst>
              <a:ext uri="{FF2B5EF4-FFF2-40B4-BE49-F238E27FC236}">
                <a16:creationId xmlns:a16="http://schemas.microsoft.com/office/drawing/2014/main" id="{91DF4E34-5178-BF89-40CE-C04A70B7595C}"/>
              </a:ext>
            </a:extLst>
          </p:cNvPr>
          <p:cNvGrpSpPr>
            <a:grpSpLocks noChangeAspect="1"/>
          </p:cNvGrpSpPr>
          <p:nvPr/>
        </p:nvGrpSpPr>
        <p:grpSpPr>
          <a:xfrm>
            <a:off x="2915017" y="555590"/>
            <a:ext cx="1647268" cy="592066"/>
            <a:chOff x="515508" y="1450725"/>
            <a:chExt cx="1362269" cy="233999"/>
          </a:xfrm>
        </p:grpSpPr>
        <p:sp>
          <p:nvSpPr>
            <p:cNvPr id="1175" name="Freeform 9">
              <a:extLst>
                <a:ext uri="{FF2B5EF4-FFF2-40B4-BE49-F238E27FC236}">
                  <a16:creationId xmlns:a16="http://schemas.microsoft.com/office/drawing/2014/main" id="{0BE0A505-98DA-6376-91F9-BAC68EBD947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15508" y="1450725"/>
              <a:ext cx="1362269" cy="233999"/>
            </a:xfrm>
            <a:custGeom>
              <a:avLst/>
              <a:gdLst>
                <a:gd name="connsiteX0" fmla="*/ 0 w 1362269"/>
                <a:gd name="connsiteY0" fmla="*/ 0 h 233999"/>
                <a:gd name="connsiteX1" fmla="*/ 1362269 w 1362269"/>
                <a:gd name="connsiteY1" fmla="*/ 0 h 233999"/>
                <a:gd name="connsiteX2" fmla="*/ 1362269 w 1362269"/>
                <a:gd name="connsiteY2" fmla="*/ 233999 h 233999"/>
                <a:gd name="connsiteX3" fmla="*/ 0 w 1362269"/>
                <a:gd name="connsiteY3" fmla="*/ 233999 h 233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2269" h="233999">
                  <a:moveTo>
                    <a:pt x="0" y="0"/>
                  </a:moveTo>
                  <a:lnTo>
                    <a:pt x="1362269" y="0"/>
                  </a:lnTo>
                  <a:lnTo>
                    <a:pt x="1362269" y="233999"/>
                  </a:lnTo>
                  <a:lnTo>
                    <a:pt x="0" y="233999"/>
                  </a:lnTo>
                  <a:close/>
                </a:path>
              </a:pathLst>
            </a:custGeom>
            <a:solidFill>
              <a:srgbClr val="60B3BB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207112">
                <a:defRPr/>
              </a:pPr>
              <a:endParaRPr lang="nl-NL" sz="1359" kern="0" dirty="0">
                <a:solidFill>
                  <a:srgbClr val="7C7C7C"/>
                </a:solidFill>
                <a:latin typeface="Roboto Condensed"/>
              </a:endParaRPr>
            </a:p>
          </p:txBody>
        </p:sp>
        <p:sp>
          <p:nvSpPr>
            <p:cNvPr id="1176" name="Freeform 10">
              <a:extLst>
                <a:ext uri="{FF2B5EF4-FFF2-40B4-BE49-F238E27FC236}">
                  <a16:creationId xmlns:a16="http://schemas.microsoft.com/office/drawing/2014/main" id="{ABF84BE8-4622-CBA0-EA55-D201C6B8D8B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53801" y="1563761"/>
              <a:ext cx="613152" cy="7995"/>
            </a:xfrm>
            <a:custGeom>
              <a:avLst/>
              <a:gdLst>
                <a:gd name="connsiteX0" fmla="*/ 559649 w 613152"/>
                <a:gd name="connsiteY0" fmla="*/ 0 h 7995"/>
                <a:gd name="connsiteX1" fmla="*/ 559649 w 613152"/>
                <a:gd name="connsiteY1" fmla="*/ 7995 h 7995"/>
                <a:gd name="connsiteX2" fmla="*/ 613152 w 613152"/>
                <a:gd name="connsiteY2" fmla="*/ 7995 h 7995"/>
                <a:gd name="connsiteX3" fmla="*/ 613152 w 613152"/>
                <a:gd name="connsiteY3" fmla="*/ 0 h 7995"/>
                <a:gd name="connsiteX4" fmla="*/ 559649 w 613152"/>
                <a:gd name="connsiteY4" fmla="*/ 0 h 7995"/>
                <a:gd name="connsiteX5" fmla="*/ 479049 w 613152"/>
                <a:gd name="connsiteY5" fmla="*/ 0 h 7995"/>
                <a:gd name="connsiteX6" fmla="*/ 479049 w 613152"/>
                <a:gd name="connsiteY6" fmla="*/ 7995 h 7995"/>
                <a:gd name="connsiteX7" fmla="*/ 532552 w 613152"/>
                <a:gd name="connsiteY7" fmla="*/ 7995 h 7995"/>
                <a:gd name="connsiteX8" fmla="*/ 532552 w 613152"/>
                <a:gd name="connsiteY8" fmla="*/ 0 h 7995"/>
                <a:gd name="connsiteX9" fmla="*/ 479049 w 613152"/>
                <a:gd name="connsiteY9" fmla="*/ 0 h 7995"/>
                <a:gd name="connsiteX10" fmla="*/ 398449 w 613152"/>
                <a:gd name="connsiteY10" fmla="*/ 0 h 7995"/>
                <a:gd name="connsiteX11" fmla="*/ 398449 w 613152"/>
                <a:gd name="connsiteY11" fmla="*/ 7995 h 7995"/>
                <a:gd name="connsiteX12" fmla="*/ 451952 w 613152"/>
                <a:gd name="connsiteY12" fmla="*/ 7995 h 7995"/>
                <a:gd name="connsiteX13" fmla="*/ 451952 w 613152"/>
                <a:gd name="connsiteY13" fmla="*/ 0 h 7995"/>
                <a:gd name="connsiteX14" fmla="*/ 398449 w 613152"/>
                <a:gd name="connsiteY14" fmla="*/ 0 h 7995"/>
                <a:gd name="connsiteX15" fmla="*/ 317918 w 613152"/>
                <a:gd name="connsiteY15" fmla="*/ 0 h 7995"/>
                <a:gd name="connsiteX16" fmla="*/ 317918 w 613152"/>
                <a:gd name="connsiteY16" fmla="*/ 7995 h 7995"/>
                <a:gd name="connsiteX17" fmla="*/ 371421 w 613152"/>
                <a:gd name="connsiteY17" fmla="*/ 7995 h 7995"/>
                <a:gd name="connsiteX18" fmla="*/ 371421 w 613152"/>
                <a:gd name="connsiteY18" fmla="*/ 0 h 7995"/>
                <a:gd name="connsiteX19" fmla="*/ 317918 w 613152"/>
                <a:gd name="connsiteY19" fmla="*/ 0 h 7995"/>
                <a:gd name="connsiteX20" fmla="*/ 237318 w 613152"/>
                <a:gd name="connsiteY20" fmla="*/ 0 h 7995"/>
                <a:gd name="connsiteX21" fmla="*/ 237318 w 613152"/>
                <a:gd name="connsiteY21" fmla="*/ 7995 h 7995"/>
                <a:gd name="connsiteX22" fmla="*/ 290822 w 613152"/>
                <a:gd name="connsiteY22" fmla="*/ 7995 h 7995"/>
                <a:gd name="connsiteX23" fmla="*/ 290822 w 613152"/>
                <a:gd name="connsiteY23" fmla="*/ 0 h 7995"/>
                <a:gd name="connsiteX24" fmla="*/ 237318 w 613152"/>
                <a:gd name="connsiteY24" fmla="*/ 0 h 7995"/>
                <a:gd name="connsiteX25" fmla="*/ 156787 w 613152"/>
                <a:gd name="connsiteY25" fmla="*/ 0 h 7995"/>
                <a:gd name="connsiteX26" fmla="*/ 156787 w 613152"/>
                <a:gd name="connsiteY26" fmla="*/ 7995 h 7995"/>
                <a:gd name="connsiteX27" fmla="*/ 210291 w 613152"/>
                <a:gd name="connsiteY27" fmla="*/ 7995 h 7995"/>
                <a:gd name="connsiteX28" fmla="*/ 210291 w 613152"/>
                <a:gd name="connsiteY28" fmla="*/ 0 h 7995"/>
                <a:gd name="connsiteX29" fmla="*/ 156787 w 613152"/>
                <a:gd name="connsiteY29" fmla="*/ 0 h 7995"/>
                <a:gd name="connsiteX30" fmla="*/ 76187 w 613152"/>
                <a:gd name="connsiteY30" fmla="*/ 0 h 7995"/>
                <a:gd name="connsiteX31" fmla="*/ 76187 w 613152"/>
                <a:gd name="connsiteY31" fmla="*/ 7995 h 7995"/>
                <a:gd name="connsiteX32" fmla="*/ 129691 w 613152"/>
                <a:gd name="connsiteY32" fmla="*/ 7995 h 7995"/>
                <a:gd name="connsiteX33" fmla="*/ 129691 w 613152"/>
                <a:gd name="connsiteY33" fmla="*/ 0 h 7995"/>
                <a:gd name="connsiteX34" fmla="*/ 76187 w 613152"/>
                <a:gd name="connsiteY34" fmla="*/ 0 h 7995"/>
                <a:gd name="connsiteX35" fmla="*/ 0 w 613152"/>
                <a:gd name="connsiteY35" fmla="*/ 0 h 7995"/>
                <a:gd name="connsiteX36" fmla="*/ 0 w 613152"/>
                <a:gd name="connsiteY36" fmla="*/ 7995 h 7995"/>
                <a:gd name="connsiteX37" fmla="*/ 49091 w 613152"/>
                <a:gd name="connsiteY37" fmla="*/ 7995 h 7995"/>
                <a:gd name="connsiteX38" fmla="*/ 49091 w 613152"/>
                <a:gd name="connsiteY38" fmla="*/ 0 h 7995"/>
                <a:gd name="connsiteX39" fmla="*/ 0 w 613152"/>
                <a:gd name="connsiteY39" fmla="*/ 0 h 7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613152" h="7995">
                  <a:moveTo>
                    <a:pt x="559649" y="0"/>
                  </a:moveTo>
                  <a:cubicBezTo>
                    <a:pt x="559649" y="1792"/>
                    <a:pt x="559649" y="6203"/>
                    <a:pt x="559649" y="7995"/>
                  </a:cubicBezTo>
                  <a:cubicBezTo>
                    <a:pt x="562200" y="7995"/>
                    <a:pt x="610601" y="7995"/>
                    <a:pt x="613152" y="7995"/>
                  </a:cubicBezTo>
                  <a:cubicBezTo>
                    <a:pt x="613152" y="6203"/>
                    <a:pt x="613152" y="1792"/>
                    <a:pt x="613152" y="0"/>
                  </a:cubicBezTo>
                  <a:cubicBezTo>
                    <a:pt x="610532" y="0"/>
                    <a:pt x="562200" y="0"/>
                    <a:pt x="559649" y="0"/>
                  </a:cubicBezTo>
                  <a:close/>
                  <a:moveTo>
                    <a:pt x="479049" y="0"/>
                  </a:moveTo>
                  <a:cubicBezTo>
                    <a:pt x="479049" y="1792"/>
                    <a:pt x="479049" y="6203"/>
                    <a:pt x="479049" y="7995"/>
                  </a:cubicBezTo>
                  <a:cubicBezTo>
                    <a:pt x="481600" y="7995"/>
                    <a:pt x="530001" y="7995"/>
                    <a:pt x="532552" y="7995"/>
                  </a:cubicBezTo>
                  <a:cubicBezTo>
                    <a:pt x="532552" y="6203"/>
                    <a:pt x="532552" y="1792"/>
                    <a:pt x="532552" y="0"/>
                  </a:cubicBezTo>
                  <a:cubicBezTo>
                    <a:pt x="530001" y="0"/>
                    <a:pt x="481600" y="0"/>
                    <a:pt x="479049" y="0"/>
                  </a:cubicBezTo>
                  <a:close/>
                  <a:moveTo>
                    <a:pt x="398449" y="0"/>
                  </a:moveTo>
                  <a:cubicBezTo>
                    <a:pt x="398449" y="1792"/>
                    <a:pt x="398449" y="6203"/>
                    <a:pt x="398449" y="7995"/>
                  </a:cubicBezTo>
                  <a:cubicBezTo>
                    <a:pt x="401000" y="7995"/>
                    <a:pt x="449401" y="7995"/>
                    <a:pt x="451952" y="7995"/>
                  </a:cubicBezTo>
                  <a:cubicBezTo>
                    <a:pt x="451952" y="6203"/>
                    <a:pt x="451952" y="1792"/>
                    <a:pt x="451952" y="0"/>
                  </a:cubicBezTo>
                  <a:cubicBezTo>
                    <a:pt x="449401" y="0"/>
                    <a:pt x="401069" y="0"/>
                    <a:pt x="398449" y="0"/>
                  </a:cubicBezTo>
                  <a:close/>
                  <a:moveTo>
                    <a:pt x="317918" y="0"/>
                  </a:moveTo>
                  <a:cubicBezTo>
                    <a:pt x="317918" y="1792"/>
                    <a:pt x="317918" y="6203"/>
                    <a:pt x="317918" y="7995"/>
                  </a:cubicBezTo>
                  <a:cubicBezTo>
                    <a:pt x="320469" y="7995"/>
                    <a:pt x="368870" y="7995"/>
                    <a:pt x="371421" y="7995"/>
                  </a:cubicBezTo>
                  <a:cubicBezTo>
                    <a:pt x="371421" y="6203"/>
                    <a:pt x="371421" y="1792"/>
                    <a:pt x="371421" y="0"/>
                  </a:cubicBezTo>
                  <a:cubicBezTo>
                    <a:pt x="368801" y="0"/>
                    <a:pt x="320469" y="0"/>
                    <a:pt x="317918" y="0"/>
                  </a:cubicBezTo>
                  <a:close/>
                  <a:moveTo>
                    <a:pt x="237318" y="0"/>
                  </a:moveTo>
                  <a:cubicBezTo>
                    <a:pt x="237318" y="1792"/>
                    <a:pt x="237318" y="6203"/>
                    <a:pt x="237318" y="7995"/>
                  </a:cubicBezTo>
                  <a:cubicBezTo>
                    <a:pt x="239869" y="7995"/>
                    <a:pt x="288270" y="7995"/>
                    <a:pt x="290822" y="7995"/>
                  </a:cubicBezTo>
                  <a:cubicBezTo>
                    <a:pt x="290822" y="6203"/>
                    <a:pt x="290822" y="1792"/>
                    <a:pt x="290822" y="0"/>
                  </a:cubicBezTo>
                  <a:cubicBezTo>
                    <a:pt x="288270" y="0"/>
                    <a:pt x="239869" y="0"/>
                    <a:pt x="237318" y="0"/>
                  </a:cubicBezTo>
                  <a:close/>
                  <a:moveTo>
                    <a:pt x="156787" y="0"/>
                  </a:moveTo>
                  <a:cubicBezTo>
                    <a:pt x="156787" y="1792"/>
                    <a:pt x="156787" y="6203"/>
                    <a:pt x="156787" y="7995"/>
                  </a:cubicBezTo>
                  <a:cubicBezTo>
                    <a:pt x="159338" y="7995"/>
                    <a:pt x="207740" y="7995"/>
                    <a:pt x="210291" y="7995"/>
                  </a:cubicBezTo>
                  <a:cubicBezTo>
                    <a:pt x="210291" y="6203"/>
                    <a:pt x="210291" y="1792"/>
                    <a:pt x="210291" y="0"/>
                  </a:cubicBezTo>
                  <a:cubicBezTo>
                    <a:pt x="207671" y="0"/>
                    <a:pt x="159338" y="0"/>
                    <a:pt x="156787" y="0"/>
                  </a:cubicBezTo>
                  <a:close/>
                  <a:moveTo>
                    <a:pt x="76187" y="0"/>
                  </a:moveTo>
                  <a:cubicBezTo>
                    <a:pt x="76187" y="1792"/>
                    <a:pt x="76187" y="6203"/>
                    <a:pt x="76187" y="7995"/>
                  </a:cubicBezTo>
                  <a:cubicBezTo>
                    <a:pt x="78738" y="7995"/>
                    <a:pt x="127140" y="7995"/>
                    <a:pt x="129691" y="7995"/>
                  </a:cubicBezTo>
                  <a:cubicBezTo>
                    <a:pt x="129691" y="6203"/>
                    <a:pt x="129691" y="1792"/>
                    <a:pt x="129691" y="0"/>
                  </a:cubicBezTo>
                  <a:cubicBezTo>
                    <a:pt x="127071" y="0"/>
                    <a:pt x="78738" y="0"/>
                    <a:pt x="76187" y="0"/>
                  </a:cubicBezTo>
                  <a:close/>
                  <a:moveTo>
                    <a:pt x="0" y="0"/>
                  </a:moveTo>
                  <a:cubicBezTo>
                    <a:pt x="0" y="1792"/>
                    <a:pt x="0" y="6203"/>
                    <a:pt x="0" y="7995"/>
                  </a:cubicBezTo>
                  <a:cubicBezTo>
                    <a:pt x="2551" y="7995"/>
                    <a:pt x="46540" y="7995"/>
                    <a:pt x="49091" y="7995"/>
                  </a:cubicBezTo>
                  <a:cubicBezTo>
                    <a:pt x="49091" y="6203"/>
                    <a:pt x="49091" y="1792"/>
                    <a:pt x="49091" y="0"/>
                  </a:cubicBezTo>
                  <a:cubicBezTo>
                    <a:pt x="46540" y="0"/>
                    <a:pt x="2551" y="0"/>
                    <a:pt x="0" y="0"/>
                  </a:cubicBezTo>
                  <a:close/>
                </a:path>
              </a:pathLst>
            </a:custGeom>
            <a:solidFill>
              <a:srgbClr val="E4E4E4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207112">
                <a:defRPr/>
              </a:pPr>
              <a:endParaRPr lang="nl-NL" sz="1359" kern="0" dirty="0">
                <a:solidFill>
                  <a:srgbClr val="7C7C7C"/>
                </a:solidFill>
                <a:latin typeface="Roboto Condensed"/>
              </a:endParaRPr>
            </a:p>
          </p:txBody>
        </p:sp>
        <p:sp>
          <p:nvSpPr>
            <p:cNvPr id="1177" name="Freeform 11">
              <a:extLst>
                <a:ext uri="{FF2B5EF4-FFF2-40B4-BE49-F238E27FC236}">
                  <a16:creationId xmlns:a16="http://schemas.microsoft.com/office/drawing/2014/main" id="{9E3619F4-2798-A957-21B6-E03D6472E15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13207" y="1563761"/>
              <a:ext cx="613083" cy="7995"/>
            </a:xfrm>
            <a:custGeom>
              <a:avLst/>
              <a:gdLst>
                <a:gd name="connsiteX0" fmla="*/ 559580 w 613083"/>
                <a:gd name="connsiteY0" fmla="*/ 0 h 7995"/>
                <a:gd name="connsiteX1" fmla="*/ 559580 w 613083"/>
                <a:gd name="connsiteY1" fmla="*/ 7995 h 7995"/>
                <a:gd name="connsiteX2" fmla="*/ 613083 w 613083"/>
                <a:gd name="connsiteY2" fmla="*/ 7995 h 7995"/>
                <a:gd name="connsiteX3" fmla="*/ 613083 w 613083"/>
                <a:gd name="connsiteY3" fmla="*/ 0 h 7995"/>
                <a:gd name="connsiteX4" fmla="*/ 559580 w 613083"/>
                <a:gd name="connsiteY4" fmla="*/ 0 h 7995"/>
                <a:gd name="connsiteX5" fmla="*/ 478980 w 613083"/>
                <a:gd name="connsiteY5" fmla="*/ 0 h 7995"/>
                <a:gd name="connsiteX6" fmla="*/ 478980 w 613083"/>
                <a:gd name="connsiteY6" fmla="*/ 7995 h 7995"/>
                <a:gd name="connsiteX7" fmla="*/ 532483 w 613083"/>
                <a:gd name="connsiteY7" fmla="*/ 7995 h 7995"/>
                <a:gd name="connsiteX8" fmla="*/ 532483 w 613083"/>
                <a:gd name="connsiteY8" fmla="*/ 0 h 7995"/>
                <a:gd name="connsiteX9" fmla="*/ 478980 w 613083"/>
                <a:gd name="connsiteY9" fmla="*/ 0 h 7995"/>
                <a:gd name="connsiteX10" fmla="*/ 398449 w 613083"/>
                <a:gd name="connsiteY10" fmla="*/ 0 h 7995"/>
                <a:gd name="connsiteX11" fmla="*/ 398449 w 613083"/>
                <a:gd name="connsiteY11" fmla="*/ 7995 h 7995"/>
                <a:gd name="connsiteX12" fmla="*/ 451952 w 613083"/>
                <a:gd name="connsiteY12" fmla="*/ 7995 h 7995"/>
                <a:gd name="connsiteX13" fmla="*/ 451952 w 613083"/>
                <a:gd name="connsiteY13" fmla="*/ 0 h 7995"/>
                <a:gd name="connsiteX14" fmla="*/ 398449 w 613083"/>
                <a:gd name="connsiteY14" fmla="*/ 0 h 7995"/>
                <a:gd name="connsiteX15" fmla="*/ 317849 w 613083"/>
                <a:gd name="connsiteY15" fmla="*/ 0 h 7995"/>
                <a:gd name="connsiteX16" fmla="*/ 317849 w 613083"/>
                <a:gd name="connsiteY16" fmla="*/ 7995 h 7995"/>
                <a:gd name="connsiteX17" fmla="*/ 371352 w 613083"/>
                <a:gd name="connsiteY17" fmla="*/ 7995 h 7995"/>
                <a:gd name="connsiteX18" fmla="*/ 371352 w 613083"/>
                <a:gd name="connsiteY18" fmla="*/ 0 h 7995"/>
                <a:gd name="connsiteX19" fmla="*/ 317849 w 613083"/>
                <a:gd name="connsiteY19" fmla="*/ 0 h 7995"/>
                <a:gd name="connsiteX20" fmla="*/ 237249 w 613083"/>
                <a:gd name="connsiteY20" fmla="*/ 0 h 7995"/>
                <a:gd name="connsiteX21" fmla="*/ 237249 w 613083"/>
                <a:gd name="connsiteY21" fmla="*/ 7995 h 7995"/>
                <a:gd name="connsiteX22" fmla="*/ 290753 w 613083"/>
                <a:gd name="connsiteY22" fmla="*/ 7995 h 7995"/>
                <a:gd name="connsiteX23" fmla="*/ 290753 w 613083"/>
                <a:gd name="connsiteY23" fmla="*/ 0 h 7995"/>
                <a:gd name="connsiteX24" fmla="*/ 237249 w 613083"/>
                <a:gd name="connsiteY24" fmla="*/ 0 h 7995"/>
                <a:gd name="connsiteX25" fmla="*/ 156718 w 613083"/>
                <a:gd name="connsiteY25" fmla="*/ 0 h 7995"/>
                <a:gd name="connsiteX26" fmla="*/ 156718 w 613083"/>
                <a:gd name="connsiteY26" fmla="*/ 7995 h 7995"/>
                <a:gd name="connsiteX27" fmla="*/ 210222 w 613083"/>
                <a:gd name="connsiteY27" fmla="*/ 7995 h 7995"/>
                <a:gd name="connsiteX28" fmla="*/ 210222 w 613083"/>
                <a:gd name="connsiteY28" fmla="*/ 0 h 7995"/>
                <a:gd name="connsiteX29" fmla="*/ 156718 w 613083"/>
                <a:gd name="connsiteY29" fmla="*/ 0 h 7995"/>
                <a:gd name="connsiteX30" fmla="*/ 76118 w 613083"/>
                <a:gd name="connsiteY30" fmla="*/ 0 h 7995"/>
                <a:gd name="connsiteX31" fmla="*/ 76118 w 613083"/>
                <a:gd name="connsiteY31" fmla="*/ 7995 h 7995"/>
                <a:gd name="connsiteX32" fmla="*/ 129622 w 613083"/>
                <a:gd name="connsiteY32" fmla="*/ 7995 h 7995"/>
                <a:gd name="connsiteX33" fmla="*/ 129622 w 613083"/>
                <a:gd name="connsiteY33" fmla="*/ 0 h 7995"/>
                <a:gd name="connsiteX34" fmla="*/ 76118 w 613083"/>
                <a:gd name="connsiteY34" fmla="*/ 0 h 7995"/>
                <a:gd name="connsiteX35" fmla="*/ 0 w 613083"/>
                <a:gd name="connsiteY35" fmla="*/ 0 h 7995"/>
                <a:gd name="connsiteX36" fmla="*/ 0 w 613083"/>
                <a:gd name="connsiteY36" fmla="*/ 7995 h 7995"/>
                <a:gd name="connsiteX37" fmla="*/ 49091 w 613083"/>
                <a:gd name="connsiteY37" fmla="*/ 7995 h 7995"/>
                <a:gd name="connsiteX38" fmla="*/ 49091 w 613083"/>
                <a:gd name="connsiteY38" fmla="*/ 0 h 7995"/>
                <a:gd name="connsiteX39" fmla="*/ 0 w 613083"/>
                <a:gd name="connsiteY39" fmla="*/ 0 h 7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613083" h="7995">
                  <a:moveTo>
                    <a:pt x="559580" y="0"/>
                  </a:moveTo>
                  <a:cubicBezTo>
                    <a:pt x="559580" y="1792"/>
                    <a:pt x="559580" y="6203"/>
                    <a:pt x="559580" y="7995"/>
                  </a:cubicBezTo>
                  <a:cubicBezTo>
                    <a:pt x="562131" y="7995"/>
                    <a:pt x="610532" y="7995"/>
                    <a:pt x="613083" y="7995"/>
                  </a:cubicBezTo>
                  <a:cubicBezTo>
                    <a:pt x="613083" y="6203"/>
                    <a:pt x="613083" y="1792"/>
                    <a:pt x="613083" y="0"/>
                  </a:cubicBezTo>
                  <a:cubicBezTo>
                    <a:pt x="610532" y="0"/>
                    <a:pt x="562131" y="0"/>
                    <a:pt x="559580" y="0"/>
                  </a:cubicBezTo>
                  <a:close/>
                  <a:moveTo>
                    <a:pt x="478980" y="0"/>
                  </a:moveTo>
                  <a:cubicBezTo>
                    <a:pt x="478980" y="1792"/>
                    <a:pt x="478980" y="6203"/>
                    <a:pt x="478980" y="7995"/>
                  </a:cubicBezTo>
                  <a:cubicBezTo>
                    <a:pt x="481531" y="7995"/>
                    <a:pt x="529932" y="7995"/>
                    <a:pt x="532483" y="7995"/>
                  </a:cubicBezTo>
                  <a:cubicBezTo>
                    <a:pt x="532483" y="6203"/>
                    <a:pt x="532483" y="1792"/>
                    <a:pt x="532483" y="0"/>
                  </a:cubicBezTo>
                  <a:cubicBezTo>
                    <a:pt x="529932" y="0"/>
                    <a:pt x="481531" y="0"/>
                    <a:pt x="478980" y="0"/>
                  </a:cubicBezTo>
                  <a:close/>
                  <a:moveTo>
                    <a:pt x="398449" y="0"/>
                  </a:moveTo>
                  <a:cubicBezTo>
                    <a:pt x="398449" y="1792"/>
                    <a:pt x="398449" y="6203"/>
                    <a:pt x="398449" y="7995"/>
                  </a:cubicBezTo>
                  <a:cubicBezTo>
                    <a:pt x="401000" y="7995"/>
                    <a:pt x="449401" y="7995"/>
                    <a:pt x="451952" y="7995"/>
                  </a:cubicBezTo>
                  <a:cubicBezTo>
                    <a:pt x="451952" y="6203"/>
                    <a:pt x="451952" y="1792"/>
                    <a:pt x="451952" y="0"/>
                  </a:cubicBezTo>
                  <a:cubicBezTo>
                    <a:pt x="449332" y="0"/>
                    <a:pt x="401000" y="0"/>
                    <a:pt x="398449" y="0"/>
                  </a:cubicBezTo>
                  <a:close/>
                  <a:moveTo>
                    <a:pt x="317849" y="0"/>
                  </a:moveTo>
                  <a:cubicBezTo>
                    <a:pt x="317849" y="1792"/>
                    <a:pt x="317849" y="6203"/>
                    <a:pt x="317849" y="7995"/>
                  </a:cubicBezTo>
                  <a:cubicBezTo>
                    <a:pt x="320400" y="7995"/>
                    <a:pt x="368801" y="7995"/>
                    <a:pt x="371352" y="7995"/>
                  </a:cubicBezTo>
                  <a:cubicBezTo>
                    <a:pt x="371352" y="6203"/>
                    <a:pt x="371352" y="1792"/>
                    <a:pt x="371352" y="0"/>
                  </a:cubicBezTo>
                  <a:cubicBezTo>
                    <a:pt x="368801" y="0"/>
                    <a:pt x="320400" y="0"/>
                    <a:pt x="317849" y="0"/>
                  </a:cubicBezTo>
                  <a:close/>
                  <a:moveTo>
                    <a:pt x="237249" y="0"/>
                  </a:moveTo>
                  <a:cubicBezTo>
                    <a:pt x="237249" y="1792"/>
                    <a:pt x="237249" y="6203"/>
                    <a:pt x="237249" y="7995"/>
                  </a:cubicBezTo>
                  <a:cubicBezTo>
                    <a:pt x="239800" y="7995"/>
                    <a:pt x="288201" y="7995"/>
                    <a:pt x="290753" y="7995"/>
                  </a:cubicBezTo>
                  <a:cubicBezTo>
                    <a:pt x="290753" y="6203"/>
                    <a:pt x="290753" y="1792"/>
                    <a:pt x="290753" y="0"/>
                  </a:cubicBezTo>
                  <a:cubicBezTo>
                    <a:pt x="288201" y="0"/>
                    <a:pt x="239869" y="0"/>
                    <a:pt x="237249" y="0"/>
                  </a:cubicBezTo>
                  <a:close/>
                  <a:moveTo>
                    <a:pt x="156718" y="0"/>
                  </a:moveTo>
                  <a:cubicBezTo>
                    <a:pt x="156718" y="1792"/>
                    <a:pt x="156718" y="6203"/>
                    <a:pt x="156718" y="7995"/>
                  </a:cubicBezTo>
                  <a:cubicBezTo>
                    <a:pt x="159269" y="7995"/>
                    <a:pt x="207671" y="7995"/>
                    <a:pt x="210222" y="7995"/>
                  </a:cubicBezTo>
                  <a:cubicBezTo>
                    <a:pt x="210222" y="6203"/>
                    <a:pt x="210222" y="1792"/>
                    <a:pt x="210222" y="0"/>
                  </a:cubicBezTo>
                  <a:cubicBezTo>
                    <a:pt x="207602" y="0"/>
                    <a:pt x="159269" y="0"/>
                    <a:pt x="156718" y="0"/>
                  </a:cubicBezTo>
                  <a:close/>
                  <a:moveTo>
                    <a:pt x="76118" y="0"/>
                  </a:moveTo>
                  <a:cubicBezTo>
                    <a:pt x="76118" y="1792"/>
                    <a:pt x="76118" y="6203"/>
                    <a:pt x="76118" y="7995"/>
                  </a:cubicBezTo>
                  <a:cubicBezTo>
                    <a:pt x="78669" y="7995"/>
                    <a:pt x="127071" y="7995"/>
                    <a:pt x="129622" y="7995"/>
                  </a:cubicBezTo>
                  <a:cubicBezTo>
                    <a:pt x="129622" y="6203"/>
                    <a:pt x="129622" y="1792"/>
                    <a:pt x="129622" y="0"/>
                  </a:cubicBezTo>
                  <a:cubicBezTo>
                    <a:pt x="127071" y="0"/>
                    <a:pt x="78669" y="0"/>
                    <a:pt x="76118" y="0"/>
                  </a:cubicBezTo>
                  <a:close/>
                  <a:moveTo>
                    <a:pt x="0" y="0"/>
                  </a:moveTo>
                  <a:cubicBezTo>
                    <a:pt x="0" y="1792"/>
                    <a:pt x="0" y="6203"/>
                    <a:pt x="0" y="7995"/>
                  </a:cubicBezTo>
                  <a:cubicBezTo>
                    <a:pt x="2551" y="7995"/>
                    <a:pt x="46540" y="7995"/>
                    <a:pt x="49091" y="7995"/>
                  </a:cubicBezTo>
                  <a:cubicBezTo>
                    <a:pt x="49091" y="6203"/>
                    <a:pt x="49091" y="1792"/>
                    <a:pt x="49091" y="0"/>
                  </a:cubicBezTo>
                  <a:cubicBezTo>
                    <a:pt x="46540" y="0"/>
                    <a:pt x="2551" y="0"/>
                    <a:pt x="0" y="0"/>
                  </a:cubicBezTo>
                  <a:close/>
                </a:path>
              </a:pathLst>
            </a:custGeom>
            <a:solidFill>
              <a:srgbClr val="E4E4E4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207112">
                <a:defRPr/>
              </a:pPr>
              <a:endParaRPr lang="nl-NL" sz="1359" kern="0" dirty="0">
                <a:solidFill>
                  <a:srgbClr val="7C7C7C"/>
                </a:solidFill>
                <a:latin typeface="Roboto Condensed"/>
              </a:endParaRPr>
            </a:p>
          </p:txBody>
        </p:sp>
        <p:sp>
          <p:nvSpPr>
            <p:cNvPr id="1178" name="Freeform 12">
              <a:extLst>
                <a:ext uri="{FF2B5EF4-FFF2-40B4-BE49-F238E27FC236}">
                  <a16:creationId xmlns:a16="http://schemas.microsoft.com/office/drawing/2014/main" id="{2875AB50-C34E-9D52-EC55-5ADB13E8438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28264" y="1563761"/>
              <a:ext cx="53503" cy="7995"/>
            </a:xfrm>
            <a:custGeom>
              <a:avLst/>
              <a:gdLst>
                <a:gd name="connsiteX0" fmla="*/ 0 w 53503"/>
                <a:gd name="connsiteY0" fmla="*/ 0 h 7995"/>
                <a:gd name="connsiteX1" fmla="*/ 0 w 53503"/>
                <a:gd name="connsiteY1" fmla="*/ 7995 h 7995"/>
                <a:gd name="connsiteX2" fmla="*/ 53503 w 53503"/>
                <a:gd name="connsiteY2" fmla="*/ 7995 h 7995"/>
                <a:gd name="connsiteX3" fmla="*/ 53503 w 53503"/>
                <a:gd name="connsiteY3" fmla="*/ 0 h 7995"/>
                <a:gd name="connsiteX4" fmla="*/ 0 w 53503"/>
                <a:gd name="connsiteY4" fmla="*/ 0 h 7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503" h="7995">
                  <a:moveTo>
                    <a:pt x="0" y="0"/>
                  </a:moveTo>
                  <a:cubicBezTo>
                    <a:pt x="0" y="1792"/>
                    <a:pt x="0" y="6203"/>
                    <a:pt x="0" y="7995"/>
                  </a:cubicBezTo>
                  <a:cubicBezTo>
                    <a:pt x="2551" y="7995"/>
                    <a:pt x="50952" y="7995"/>
                    <a:pt x="53503" y="7995"/>
                  </a:cubicBezTo>
                  <a:cubicBezTo>
                    <a:pt x="53503" y="6203"/>
                    <a:pt x="53503" y="1792"/>
                    <a:pt x="53503" y="0"/>
                  </a:cubicBezTo>
                  <a:cubicBezTo>
                    <a:pt x="50952" y="0"/>
                    <a:pt x="2551" y="0"/>
                    <a:pt x="0" y="0"/>
                  </a:cubicBezTo>
                  <a:close/>
                </a:path>
              </a:pathLst>
            </a:custGeom>
            <a:solidFill>
              <a:srgbClr val="E4E4E4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207112">
                <a:defRPr/>
              </a:pPr>
              <a:endParaRPr lang="nl-NL" sz="1359" kern="0" dirty="0">
                <a:solidFill>
                  <a:srgbClr val="7C7C7C"/>
                </a:solidFill>
                <a:latin typeface="Roboto Condensed"/>
              </a:endParaRPr>
            </a:p>
          </p:txBody>
        </p:sp>
        <p:grpSp>
          <p:nvGrpSpPr>
            <p:cNvPr id="1179" name="Graphic 4">
              <a:extLst>
                <a:ext uri="{FF2B5EF4-FFF2-40B4-BE49-F238E27FC236}">
                  <a16:creationId xmlns:a16="http://schemas.microsoft.com/office/drawing/2014/main" id="{136F2CD2-D4CB-7009-184E-F658E68D3445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15508" y="1463821"/>
              <a:ext cx="1362269" cy="207807"/>
              <a:chOff x="515508" y="1463821"/>
              <a:chExt cx="1362269" cy="207807"/>
            </a:xfrm>
            <a:solidFill>
              <a:srgbClr val="E4E4E4"/>
            </a:solidFill>
          </p:grpSpPr>
          <p:sp>
            <p:nvSpPr>
              <p:cNvPr id="1180" name="Freeform 14">
                <a:extLst>
                  <a:ext uri="{FF2B5EF4-FFF2-40B4-BE49-F238E27FC236}">
                    <a16:creationId xmlns:a16="http://schemas.microsoft.com/office/drawing/2014/main" id="{7324897F-6894-09A7-DA49-063A071DD58B}"/>
                  </a:ext>
                </a:extLst>
              </p:cNvPr>
              <p:cNvSpPr/>
              <p:nvPr/>
            </p:nvSpPr>
            <p:spPr>
              <a:xfrm>
                <a:off x="515508" y="1663357"/>
                <a:ext cx="1362269" cy="8270"/>
              </a:xfrm>
              <a:custGeom>
                <a:avLst/>
                <a:gdLst>
                  <a:gd name="connsiteX0" fmla="*/ 0 w 1362269"/>
                  <a:gd name="connsiteY0" fmla="*/ 0 h 8270"/>
                  <a:gd name="connsiteX1" fmla="*/ 1362269 w 1362269"/>
                  <a:gd name="connsiteY1" fmla="*/ 0 h 8270"/>
                  <a:gd name="connsiteX2" fmla="*/ 1362269 w 1362269"/>
                  <a:gd name="connsiteY2" fmla="*/ 8271 h 8270"/>
                  <a:gd name="connsiteX3" fmla="*/ 0 w 1362269"/>
                  <a:gd name="connsiteY3" fmla="*/ 8271 h 8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62269" h="8270">
                    <a:moveTo>
                      <a:pt x="0" y="0"/>
                    </a:moveTo>
                    <a:lnTo>
                      <a:pt x="1362269" y="0"/>
                    </a:lnTo>
                    <a:lnTo>
                      <a:pt x="1362269" y="8271"/>
                    </a:lnTo>
                    <a:lnTo>
                      <a:pt x="0" y="8271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207112">
                  <a:defRPr/>
                </a:pPr>
                <a:endParaRPr lang="nl-NL" sz="1359" kern="0" dirty="0">
                  <a:solidFill>
                    <a:srgbClr val="7C7C7C"/>
                  </a:solidFill>
                  <a:latin typeface="Roboto Condensed"/>
                </a:endParaRPr>
              </a:p>
            </p:txBody>
          </p:sp>
          <p:sp>
            <p:nvSpPr>
              <p:cNvPr id="1181" name="Freeform 15">
                <a:extLst>
                  <a:ext uri="{FF2B5EF4-FFF2-40B4-BE49-F238E27FC236}">
                    <a16:creationId xmlns:a16="http://schemas.microsoft.com/office/drawing/2014/main" id="{352DF577-072B-838D-7EEA-F18133166D5C}"/>
                  </a:ext>
                </a:extLst>
              </p:cNvPr>
              <p:cNvSpPr/>
              <p:nvPr/>
            </p:nvSpPr>
            <p:spPr>
              <a:xfrm>
                <a:off x="515508" y="1463821"/>
                <a:ext cx="1362269" cy="8270"/>
              </a:xfrm>
              <a:custGeom>
                <a:avLst/>
                <a:gdLst>
                  <a:gd name="connsiteX0" fmla="*/ 0 w 1362269"/>
                  <a:gd name="connsiteY0" fmla="*/ 0 h 8270"/>
                  <a:gd name="connsiteX1" fmla="*/ 1362269 w 1362269"/>
                  <a:gd name="connsiteY1" fmla="*/ 0 h 8270"/>
                  <a:gd name="connsiteX2" fmla="*/ 1362269 w 1362269"/>
                  <a:gd name="connsiteY2" fmla="*/ 8271 h 8270"/>
                  <a:gd name="connsiteX3" fmla="*/ 0 w 1362269"/>
                  <a:gd name="connsiteY3" fmla="*/ 8271 h 8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62269" h="8270">
                    <a:moveTo>
                      <a:pt x="0" y="0"/>
                    </a:moveTo>
                    <a:lnTo>
                      <a:pt x="1362269" y="0"/>
                    </a:lnTo>
                    <a:lnTo>
                      <a:pt x="1362269" y="8271"/>
                    </a:lnTo>
                    <a:lnTo>
                      <a:pt x="0" y="8271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207112">
                  <a:defRPr/>
                </a:pPr>
                <a:endParaRPr lang="nl-NL" sz="1359" kern="0" dirty="0">
                  <a:solidFill>
                    <a:srgbClr val="7C7C7C"/>
                  </a:solidFill>
                  <a:latin typeface="Roboto Condensed"/>
                </a:endParaRPr>
              </a:p>
            </p:txBody>
          </p:sp>
        </p:grpSp>
      </p:grpSp>
      <p:grpSp>
        <p:nvGrpSpPr>
          <p:cNvPr id="1182" name="Group 1181">
            <a:extLst>
              <a:ext uri="{FF2B5EF4-FFF2-40B4-BE49-F238E27FC236}">
                <a16:creationId xmlns:a16="http://schemas.microsoft.com/office/drawing/2014/main" id="{0F982ECC-28FF-94E9-D74E-2E42B07440FE}"/>
              </a:ext>
            </a:extLst>
          </p:cNvPr>
          <p:cNvGrpSpPr>
            <a:grpSpLocks noChangeAspect="1"/>
          </p:cNvGrpSpPr>
          <p:nvPr/>
        </p:nvGrpSpPr>
        <p:grpSpPr>
          <a:xfrm>
            <a:off x="4557240" y="555590"/>
            <a:ext cx="1647268" cy="592066"/>
            <a:chOff x="515508" y="1450725"/>
            <a:chExt cx="1362269" cy="233999"/>
          </a:xfrm>
        </p:grpSpPr>
        <p:sp>
          <p:nvSpPr>
            <p:cNvPr id="1183" name="Freeform 9">
              <a:extLst>
                <a:ext uri="{FF2B5EF4-FFF2-40B4-BE49-F238E27FC236}">
                  <a16:creationId xmlns:a16="http://schemas.microsoft.com/office/drawing/2014/main" id="{1D21552B-0AC0-842D-9F3B-22F3A4B4052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15508" y="1450725"/>
              <a:ext cx="1362269" cy="233999"/>
            </a:xfrm>
            <a:custGeom>
              <a:avLst/>
              <a:gdLst>
                <a:gd name="connsiteX0" fmla="*/ 0 w 1362269"/>
                <a:gd name="connsiteY0" fmla="*/ 0 h 233999"/>
                <a:gd name="connsiteX1" fmla="*/ 1362269 w 1362269"/>
                <a:gd name="connsiteY1" fmla="*/ 0 h 233999"/>
                <a:gd name="connsiteX2" fmla="*/ 1362269 w 1362269"/>
                <a:gd name="connsiteY2" fmla="*/ 233999 h 233999"/>
                <a:gd name="connsiteX3" fmla="*/ 0 w 1362269"/>
                <a:gd name="connsiteY3" fmla="*/ 233999 h 233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2269" h="233999">
                  <a:moveTo>
                    <a:pt x="0" y="0"/>
                  </a:moveTo>
                  <a:lnTo>
                    <a:pt x="1362269" y="0"/>
                  </a:lnTo>
                  <a:lnTo>
                    <a:pt x="1362269" y="233999"/>
                  </a:lnTo>
                  <a:lnTo>
                    <a:pt x="0" y="233999"/>
                  </a:lnTo>
                  <a:close/>
                </a:path>
              </a:pathLst>
            </a:custGeom>
            <a:solidFill>
              <a:srgbClr val="60B3BB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207112">
                <a:defRPr/>
              </a:pPr>
              <a:endParaRPr lang="nl-NL" sz="1359" kern="0" dirty="0">
                <a:solidFill>
                  <a:srgbClr val="7C7C7C"/>
                </a:solidFill>
                <a:latin typeface="Roboto Condensed"/>
              </a:endParaRPr>
            </a:p>
          </p:txBody>
        </p:sp>
        <p:sp>
          <p:nvSpPr>
            <p:cNvPr id="1184" name="Freeform 10">
              <a:extLst>
                <a:ext uri="{FF2B5EF4-FFF2-40B4-BE49-F238E27FC236}">
                  <a16:creationId xmlns:a16="http://schemas.microsoft.com/office/drawing/2014/main" id="{F39703CC-55BC-655A-3655-4B48DF7432D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53801" y="1563761"/>
              <a:ext cx="613152" cy="7995"/>
            </a:xfrm>
            <a:custGeom>
              <a:avLst/>
              <a:gdLst>
                <a:gd name="connsiteX0" fmla="*/ 559649 w 613152"/>
                <a:gd name="connsiteY0" fmla="*/ 0 h 7995"/>
                <a:gd name="connsiteX1" fmla="*/ 559649 w 613152"/>
                <a:gd name="connsiteY1" fmla="*/ 7995 h 7995"/>
                <a:gd name="connsiteX2" fmla="*/ 613152 w 613152"/>
                <a:gd name="connsiteY2" fmla="*/ 7995 h 7995"/>
                <a:gd name="connsiteX3" fmla="*/ 613152 w 613152"/>
                <a:gd name="connsiteY3" fmla="*/ 0 h 7995"/>
                <a:gd name="connsiteX4" fmla="*/ 559649 w 613152"/>
                <a:gd name="connsiteY4" fmla="*/ 0 h 7995"/>
                <a:gd name="connsiteX5" fmla="*/ 479049 w 613152"/>
                <a:gd name="connsiteY5" fmla="*/ 0 h 7995"/>
                <a:gd name="connsiteX6" fmla="*/ 479049 w 613152"/>
                <a:gd name="connsiteY6" fmla="*/ 7995 h 7995"/>
                <a:gd name="connsiteX7" fmla="*/ 532552 w 613152"/>
                <a:gd name="connsiteY7" fmla="*/ 7995 h 7995"/>
                <a:gd name="connsiteX8" fmla="*/ 532552 w 613152"/>
                <a:gd name="connsiteY8" fmla="*/ 0 h 7995"/>
                <a:gd name="connsiteX9" fmla="*/ 479049 w 613152"/>
                <a:gd name="connsiteY9" fmla="*/ 0 h 7995"/>
                <a:gd name="connsiteX10" fmla="*/ 398449 w 613152"/>
                <a:gd name="connsiteY10" fmla="*/ 0 h 7995"/>
                <a:gd name="connsiteX11" fmla="*/ 398449 w 613152"/>
                <a:gd name="connsiteY11" fmla="*/ 7995 h 7995"/>
                <a:gd name="connsiteX12" fmla="*/ 451952 w 613152"/>
                <a:gd name="connsiteY12" fmla="*/ 7995 h 7995"/>
                <a:gd name="connsiteX13" fmla="*/ 451952 w 613152"/>
                <a:gd name="connsiteY13" fmla="*/ 0 h 7995"/>
                <a:gd name="connsiteX14" fmla="*/ 398449 w 613152"/>
                <a:gd name="connsiteY14" fmla="*/ 0 h 7995"/>
                <a:gd name="connsiteX15" fmla="*/ 317918 w 613152"/>
                <a:gd name="connsiteY15" fmla="*/ 0 h 7995"/>
                <a:gd name="connsiteX16" fmla="*/ 317918 w 613152"/>
                <a:gd name="connsiteY16" fmla="*/ 7995 h 7995"/>
                <a:gd name="connsiteX17" fmla="*/ 371421 w 613152"/>
                <a:gd name="connsiteY17" fmla="*/ 7995 h 7995"/>
                <a:gd name="connsiteX18" fmla="*/ 371421 w 613152"/>
                <a:gd name="connsiteY18" fmla="*/ 0 h 7995"/>
                <a:gd name="connsiteX19" fmla="*/ 317918 w 613152"/>
                <a:gd name="connsiteY19" fmla="*/ 0 h 7995"/>
                <a:gd name="connsiteX20" fmla="*/ 237318 w 613152"/>
                <a:gd name="connsiteY20" fmla="*/ 0 h 7995"/>
                <a:gd name="connsiteX21" fmla="*/ 237318 w 613152"/>
                <a:gd name="connsiteY21" fmla="*/ 7995 h 7995"/>
                <a:gd name="connsiteX22" fmla="*/ 290822 w 613152"/>
                <a:gd name="connsiteY22" fmla="*/ 7995 h 7995"/>
                <a:gd name="connsiteX23" fmla="*/ 290822 w 613152"/>
                <a:gd name="connsiteY23" fmla="*/ 0 h 7995"/>
                <a:gd name="connsiteX24" fmla="*/ 237318 w 613152"/>
                <a:gd name="connsiteY24" fmla="*/ 0 h 7995"/>
                <a:gd name="connsiteX25" fmla="*/ 156787 w 613152"/>
                <a:gd name="connsiteY25" fmla="*/ 0 h 7995"/>
                <a:gd name="connsiteX26" fmla="*/ 156787 w 613152"/>
                <a:gd name="connsiteY26" fmla="*/ 7995 h 7995"/>
                <a:gd name="connsiteX27" fmla="*/ 210291 w 613152"/>
                <a:gd name="connsiteY27" fmla="*/ 7995 h 7995"/>
                <a:gd name="connsiteX28" fmla="*/ 210291 w 613152"/>
                <a:gd name="connsiteY28" fmla="*/ 0 h 7995"/>
                <a:gd name="connsiteX29" fmla="*/ 156787 w 613152"/>
                <a:gd name="connsiteY29" fmla="*/ 0 h 7995"/>
                <a:gd name="connsiteX30" fmla="*/ 76187 w 613152"/>
                <a:gd name="connsiteY30" fmla="*/ 0 h 7995"/>
                <a:gd name="connsiteX31" fmla="*/ 76187 w 613152"/>
                <a:gd name="connsiteY31" fmla="*/ 7995 h 7995"/>
                <a:gd name="connsiteX32" fmla="*/ 129691 w 613152"/>
                <a:gd name="connsiteY32" fmla="*/ 7995 h 7995"/>
                <a:gd name="connsiteX33" fmla="*/ 129691 w 613152"/>
                <a:gd name="connsiteY33" fmla="*/ 0 h 7995"/>
                <a:gd name="connsiteX34" fmla="*/ 76187 w 613152"/>
                <a:gd name="connsiteY34" fmla="*/ 0 h 7995"/>
                <a:gd name="connsiteX35" fmla="*/ 0 w 613152"/>
                <a:gd name="connsiteY35" fmla="*/ 0 h 7995"/>
                <a:gd name="connsiteX36" fmla="*/ 0 w 613152"/>
                <a:gd name="connsiteY36" fmla="*/ 7995 h 7995"/>
                <a:gd name="connsiteX37" fmla="*/ 49091 w 613152"/>
                <a:gd name="connsiteY37" fmla="*/ 7995 h 7995"/>
                <a:gd name="connsiteX38" fmla="*/ 49091 w 613152"/>
                <a:gd name="connsiteY38" fmla="*/ 0 h 7995"/>
                <a:gd name="connsiteX39" fmla="*/ 0 w 613152"/>
                <a:gd name="connsiteY39" fmla="*/ 0 h 7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613152" h="7995">
                  <a:moveTo>
                    <a:pt x="559649" y="0"/>
                  </a:moveTo>
                  <a:cubicBezTo>
                    <a:pt x="559649" y="1792"/>
                    <a:pt x="559649" y="6203"/>
                    <a:pt x="559649" y="7995"/>
                  </a:cubicBezTo>
                  <a:cubicBezTo>
                    <a:pt x="562200" y="7995"/>
                    <a:pt x="610601" y="7995"/>
                    <a:pt x="613152" y="7995"/>
                  </a:cubicBezTo>
                  <a:cubicBezTo>
                    <a:pt x="613152" y="6203"/>
                    <a:pt x="613152" y="1792"/>
                    <a:pt x="613152" y="0"/>
                  </a:cubicBezTo>
                  <a:cubicBezTo>
                    <a:pt x="610532" y="0"/>
                    <a:pt x="562200" y="0"/>
                    <a:pt x="559649" y="0"/>
                  </a:cubicBezTo>
                  <a:close/>
                  <a:moveTo>
                    <a:pt x="479049" y="0"/>
                  </a:moveTo>
                  <a:cubicBezTo>
                    <a:pt x="479049" y="1792"/>
                    <a:pt x="479049" y="6203"/>
                    <a:pt x="479049" y="7995"/>
                  </a:cubicBezTo>
                  <a:cubicBezTo>
                    <a:pt x="481600" y="7995"/>
                    <a:pt x="530001" y="7995"/>
                    <a:pt x="532552" y="7995"/>
                  </a:cubicBezTo>
                  <a:cubicBezTo>
                    <a:pt x="532552" y="6203"/>
                    <a:pt x="532552" y="1792"/>
                    <a:pt x="532552" y="0"/>
                  </a:cubicBezTo>
                  <a:cubicBezTo>
                    <a:pt x="530001" y="0"/>
                    <a:pt x="481600" y="0"/>
                    <a:pt x="479049" y="0"/>
                  </a:cubicBezTo>
                  <a:close/>
                  <a:moveTo>
                    <a:pt x="398449" y="0"/>
                  </a:moveTo>
                  <a:cubicBezTo>
                    <a:pt x="398449" y="1792"/>
                    <a:pt x="398449" y="6203"/>
                    <a:pt x="398449" y="7995"/>
                  </a:cubicBezTo>
                  <a:cubicBezTo>
                    <a:pt x="401000" y="7995"/>
                    <a:pt x="449401" y="7995"/>
                    <a:pt x="451952" y="7995"/>
                  </a:cubicBezTo>
                  <a:cubicBezTo>
                    <a:pt x="451952" y="6203"/>
                    <a:pt x="451952" y="1792"/>
                    <a:pt x="451952" y="0"/>
                  </a:cubicBezTo>
                  <a:cubicBezTo>
                    <a:pt x="449401" y="0"/>
                    <a:pt x="401069" y="0"/>
                    <a:pt x="398449" y="0"/>
                  </a:cubicBezTo>
                  <a:close/>
                  <a:moveTo>
                    <a:pt x="317918" y="0"/>
                  </a:moveTo>
                  <a:cubicBezTo>
                    <a:pt x="317918" y="1792"/>
                    <a:pt x="317918" y="6203"/>
                    <a:pt x="317918" y="7995"/>
                  </a:cubicBezTo>
                  <a:cubicBezTo>
                    <a:pt x="320469" y="7995"/>
                    <a:pt x="368870" y="7995"/>
                    <a:pt x="371421" y="7995"/>
                  </a:cubicBezTo>
                  <a:cubicBezTo>
                    <a:pt x="371421" y="6203"/>
                    <a:pt x="371421" y="1792"/>
                    <a:pt x="371421" y="0"/>
                  </a:cubicBezTo>
                  <a:cubicBezTo>
                    <a:pt x="368801" y="0"/>
                    <a:pt x="320469" y="0"/>
                    <a:pt x="317918" y="0"/>
                  </a:cubicBezTo>
                  <a:close/>
                  <a:moveTo>
                    <a:pt x="237318" y="0"/>
                  </a:moveTo>
                  <a:cubicBezTo>
                    <a:pt x="237318" y="1792"/>
                    <a:pt x="237318" y="6203"/>
                    <a:pt x="237318" y="7995"/>
                  </a:cubicBezTo>
                  <a:cubicBezTo>
                    <a:pt x="239869" y="7995"/>
                    <a:pt x="288270" y="7995"/>
                    <a:pt x="290822" y="7995"/>
                  </a:cubicBezTo>
                  <a:cubicBezTo>
                    <a:pt x="290822" y="6203"/>
                    <a:pt x="290822" y="1792"/>
                    <a:pt x="290822" y="0"/>
                  </a:cubicBezTo>
                  <a:cubicBezTo>
                    <a:pt x="288270" y="0"/>
                    <a:pt x="239869" y="0"/>
                    <a:pt x="237318" y="0"/>
                  </a:cubicBezTo>
                  <a:close/>
                  <a:moveTo>
                    <a:pt x="156787" y="0"/>
                  </a:moveTo>
                  <a:cubicBezTo>
                    <a:pt x="156787" y="1792"/>
                    <a:pt x="156787" y="6203"/>
                    <a:pt x="156787" y="7995"/>
                  </a:cubicBezTo>
                  <a:cubicBezTo>
                    <a:pt x="159338" y="7995"/>
                    <a:pt x="207740" y="7995"/>
                    <a:pt x="210291" y="7995"/>
                  </a:cubicBezTo>
                  <a:cubicBezTo>
                    <a:pt x="210291" y="6203"/>
                    <a:pt x="210291" y="1792"/>
                    <a:pt x="210291" y="0"/>
                  </a:cubicBezTo>
                  <a:cubicBezTo>
                    <a:pt x="207671" y="0"/>
                    <a:pt x="159338" y="0"/>
                    <a:pt x="156787" y="0"/>
                  </a:cubicBezTo>
                  <a:close/>
                  <a:moveTo>
                    <a:pt x="76187" y="0"/>
                  </a:moveTo>
                  <a:cubicBezTo>
                    <a:pt x="76187" y="1792"/>
                    <a:pt x="76187" y="6203"/>
                    <a:pt x="76187" y="7995"/>
                  </a:cubicBezTo>
                  <a:cubicBezTo>
                    <a:pt x="78738" y="7995"/>
                    <a:pt x="127140" y="7995"/>
                    <a:pt x="129691" y="7995"/>
                  </a:cubicBezTo>
                  <a:cubicBezTo>
                    <a:pt x="129691" y="6203"/>
                    <a:pt x="129691" y="1792"/>
                    <a:pt x="129691" y="0"/>
                  </a:cubicBezTo>
                  <a:cubicBezTo>
                    <a:pt x="127071" y="0"/>
                    <a:pt x="78738" y="0"/>
                    <a:pt x="76187" y="0"/>
                  </a:cubicBezTo>
                  <a:close/>
                  <a:moveTo>
                    <a:pt x="0" y="0"/>
                  </a:moveTo>
                  <a:cubicBezTo>
                    <a:pt x="0" y="1792"/>
                    <a:pt x="0" y="6203"/>
                    <a:pt x="0" y="7995"/>
                  </a:cubicBezTo>
                  <a:cubicBezTo>
                    <a:pt x="2551" y="7995"/>
                    <a:pt x="46540" y="7995"/>
                    <a:pt x="49091" y="7995"/>
                  </a:cubicBezTo>
                  <a:cubicBezTo>
                    <a:pt x="49091" y="6203"/>
                    <a:pt x="49091" y="1792"/>
                    <a:pt x="49091" y="0"/>
                  </a:cubicBezTo>
                  <a:cubicBezTo>
                    <a:pt x="46540" y="0"/>
                    <a:pt x="2551" y="0"/>
                    <a:pt x="0" y="0"/>
                  </a:cubicBezTo>
                  <a:close/>
                </a:path>
              </a:pathLst>
            </a:custGeom>
            <a:solidFill>
              <a:srgbClr val="E4E4E4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207112">
                <a:defRPr/>
              </a:pPr>
              <a:endParaRPr lang="nl-NL" sz="1359" kern="0" dirty="0">
                <a:solidFill>
                  <a:srgbClr val="7C7C7C"/>
                </a:solidFill>
                <a:latin typeface="Roboto Condensed"/>
              </a:endParaRPr>
            </a:p>
          </p:txBody>
        </p:sp>
        <p:sp>
          <p:nvSpPr>
            <p:cNvPr id="1185" name="Freeform 11">
              <a:extLst>
                <a:ext uri="{FF2B5EF4-FFF2-40B4-BE49-F238E27FC236}">
                  <a16:creationId xmlns:a16="http://schemas.microsoft.com/office/drawing/2014/main" id="{8A326607-2FF6-16FA-BE60-63F180648CD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13207" y="1563761"/>
              <a:ext cx="613083" cy="7995"/>
            </a:xfrm>
            <a:custGeom>
              <a:avLst/>
              <a:gdLst>
                <a:gd name="connsiteX0" fmla="*/ 559580 w 613083"/>
                <a:gd name="connsiteY0" fmla="*/ 0 h 7995"/>
                <a:gd name="connsiteX1" fmla="*/ 559580 w 613083"/>
                <a:gd name="connsiteY1" fmla="*/ 7995 h 7995"/>
                <a:gd name="connsiteX2" fmla="*/ 613083 w 613083"/>
                <a:gd name="connsiteY2" fmla="*/ 7995 h 7995"/>
                <a:gd name="connsiteX3" fmla="*/ 613083 w 613083"/>
                <a:gd name="connsiteY3" fmla="*/ 0 h 7995"/>
                <a:gd name="connsiteX4" fmla="*/ 559580 w 613083"/>
                <a:gd name="connsiteY4" fmla="*/ 0 h 7995"/>
                <a:gd name="connsiteX5" fmla="*/ 478980 w 613083"/>
                <a:gd name="connsiteY5" fmla="*/ 0 h 7995"/>
                <a:gd name="connsiteX6" fmla="*/ 478980 w 613083"/>
                <a:gd name="connsiteY6" fmla="*/ 7995 h 7995"/>
                <a:gd name="connsiteX7" fmla="*/ 532483 w 613083"/>
                <a:gd name="connsiteY7" fmla="*/ 7995 h 7995"/>
                <a:gd name="connsiteX8" fmla="*/ 532483 w 613083"/>
                <a:gd name="connsiteY8" fmla="*/ 0 h 7995"/>
                <a:gd name="connsiteX9" fmla="*/ 478980 w 613083"/>
                <a:gd name="connsiteY9" fmla="*/ 0 h 7995"/>
                <a:gd name="connsiteX10" fmla="*/ 398449 w 613083"/>
                <a:gd name="connsiteY10" fmla="*/ 0 h 7995"/>
                <a:gd name="connsiteX11" fmla="*/ 398449 w 613083"/>
                <a:gd name="connsiteY11" fmla="*/ 7995 h 7995"/>
                <a:gd name="connsiteX12" fmla="*/ 451952 w 613083"/>
                <a:gd name="connsiteY12" fmla="*/ 7995 h 7995"/>
                <a:gd name="connsiteX13" fmla="*/ 451952 w 613083"/>
                <a:gd name="connsiteY13" fmla="*/ 0 h 7995"/>
                <a:gd name="connsiteX14" fmla="*/ 398449 w 613083"/>
                <a:gd name="connsiteY14" fmla="*/ 0 h 7995"/>
                <a:gd name="connsiteX15" fmla="*/ 317849 w 613083"/>
                <a:gd name="connsiteY15" fmla="*/ 0 h 7995"/>
                <a:gd name="connsiteX16" fmla="*/ 317849 w 613083"/>
                <a:gd name="connsiteY16" fmla="*/ 7995 h 7995"/>
                <a:gd name="connsiteX17" fmla="*/ 371352 w 613083"/>
                <a:gd name="connsiteY17" fmla="*/ 7995 h 7995"/>
                <a:gd name="connsiteX18" fmla="*/ 371352 w 613083"/>
                <a:gd name="connsiteY18" fmla="*/ 0 h 7995"/>
                <a:gd name="connsiteX19" fmla="*/ 317849 w 613083"/>
                <a:gd name="connsiteY19" fmla="*/ 0 h 7995"/>
                <a:gd name="connsiteX20" fmla="*/ 237249 w 613083"/>
                <a:gd name="connsiteY20" fmla="*/ 0 h 7995"/>
                <a:gd name="connsiteX21" fmla="*/ 237249 w 613083"/>
                <a:gd name="connsiteY21" fmla="*/ 7995 h 7995"/>
                <a:gd name="connsiteX22" fmla="*/ 290753 w 613083"/>
                <a:gd name="connsiteY22" fmla="*/ 7995 h 7995"/>
                <a:gd name="connsiteX23" fmla="*/ 290753 w 613083"/>
                <a:gd name="connsiteY23" fmla="*/ 0 h 7995"/>
                <a:gd name="connsiteX24" fmla="*/ 237249 w 613083"/>
                <a:gd name="connsiteY24" fmla="*/ 0 h 7995"/>
                <a:gd name="connsiteX25" fmla="*/ 156718 w 613083"/>
                <a:gd name="connsiteY25" fmla="*/ 0 h 7995"/>
                <a:gd name="connsiteX26" fmla="*/ 156718 w 613083"/>
                <a:gd name="connsiteY26" fmla="*/ 7995 h 7995"/>
                <a:gd name="connsiteX27" fmla="*/ 210222 w 613083"/>
                <a:gd name="connsiteY27" fmla="*/ 7995 h 7995"/>
                <a:gd name="connsiteX28" fmla="*/ 210222 w 613083"/>
                <a:gd name="connsiteY28" fmla="*/ 0 h 7995"/>
                <a:gd name="connsiteX29" fmla="*/ 156718 w 613083"/>
                <a:gd name="connsiteY29" fmla="*/ 0 h 7995"/>
                <a:gd name="connsiteX30" fmla="*/ 76118 w 613083"/>
                <a:gd name="connsiteY30" fmla="*/ 0 h 7995"/>
                <a:gd name="connsiteX31" fmla="*/ 76118 w 613083"/>
                <a:gd name="connsiteY31" fmla="*/ 7995 h 7995"/>
                <a:gd name="connsiteX32" fmla="*/ 129622 w 613083"/>
                <a:gd name="connsiteY32" fmla="*/ 7995 h 7995"/>
                <a:gd name="connsiteX33" fmla="*/ 129622 w 613083"/>
                <a:gd name="connsiteY33" fmla="*/ 0 h 7995"/>
                <a:gd name="connsiteX34" fmla="*/ 76118 w 613083"/>
                <a:gd name="connsiteY34" fmla="*/ 0 h 7995"/>
                <a:gd name="connsiteX35" fmla="*/ 0 w 613083"/>
                <a:gd name="connsiteY35" fmla="*/ 0 h 7995"/>
                <a:gd name="connsiteX36" fmla="*/ 0 w 613083"/>
                <a:gd name="connsiteY36" fmla="*/ 7995 h 7995"/>
                <a:gd name="connsiteX37" fmla="*/ 49091 w 613083"/>
                <a:gd name="connsiteY37" fmla="*/ 7995 h 7995"/>
                <a:gd name="connsiteX38" fmla="*/ 49091 w 613083"/>
                <a:gd name="connsiteY38" fmla="*/ 0 h 7995"/>
                <a:gd name="connsiteX39" fmla="*/ 0 w 613083"/>
                <a:gd name="connsiteY39" fmla="*/ 0 h 7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613083" h="7995">
                  <a:moveTo>
                    <a:pt x="559580" y="0"/>
                  </a:moveTo>
                  <a:cubicBezTo>
                    <a:pt x="559580" y="1792"/>
                    <a:pt x="559580" y="6203"/>
                    <a:pt x="559580" y="7995"/>
                  </a:cubicBezTo>
                  <a:cubicBezTo>
                    <a:pt x="562131" y="7995"/>
                    <a:pt x="610532" y="7995"/>
                    <a:pt x="613083" y="7995"/>
                  </a:cubicBezTo>
                  <a:cubicBezTo>
                    <a:pt x="613083" y="6203"/>
                    <a:pt x="613083" y="1792"/>
                    <a:pt x="613083" y="0"/>
                  </a:cubicBezTo>
                  <a:cubicBezTo>
                    <a:pt x="610532" y="0"/>
                    <a:pt x="562131" y="0"/>
                    <a:pt x="559580" y="0"/>
                  </a:cubicBezTo>
                  <a:close/>
                  <a:moveTo>
                    <a:pt x="478980" y="0"/>
                  </a:moveTo>
                  <a:cubicBezTo>
                    <a:pt x="478980" y="1792"/>
                    <a:pt x="478980" y="6203"/>
                    <a:pt x="478980" y="7995"/>
                  </a:cubicBezTo>
                  <a:cubicBezTo>
                    <a:pt x="481531" y="7995"/>
                    <a:pt x="529932" y="7995"/>
                    <a:pt x="532483" y="7995"/>
                  </a:cubicBezTo>
                  <a:cubicBezTo>
                    <a:pt x="532483" y="6203"/>
                    <a:pt x="532483" y="1792"/>
                    <a:pt x="532483" y="0"/>
                  </a:cubicBezTo>
                  <a:cubicBezTo>
                    <a:pt x="529932" y="0"/>
                    <a:pt x="481531" y="0"/>
                    <a:pt x="478980" y="0"/>
                  </a:cubicBezTo>
                  <a:close/>
                  <a:moveTo>
                    <a:pt x="398449" y="0"/>
                  </a:moveTo>
                  <a:cubicBezTo>
                    <a:pt x="398449" y="1792"/>
                    <a:pt x="398449" y="6203"/>
                    <a:pt x="398449" y="7995"/>
                  </a:cubicBezTo>
                  <a:cubicBezTo>
                    <a:pt x="401000" y="7995"/>
                    <a:pt x="449401" y="7995"/>
                    <a:pt x="451952" y="7995"/>
                  </a:cubicBezTo>
                  <a:cubicBezTo>
                    <a:pt x="451952" y="6203"/>
                    <a:pt x="451952" y="1792"/>
                    <a:pt x="451952" y="0"/>
                  </a:cubicBezTo>
                  <a:cubicBezTo>
                    <a:pt x="449332" y="0"/>
                    <a:pt x="401000" y="0"/>
                    <a:pt x="398449" y="0"/>
                  </a:cubicBezTo>
                  <a:close/>
                  <a:moveTo>
                    <a:pt x="317849" y="0"/>
                  </a:moveTo>
                  <a:cubicBezTo>
                    <a:pt x="317849" y="1792"/>
                    <a:pt x="317849" y="6203"/>
                    <a:pt x="317849" y="7995"/>
                  </a:cubicBezTo>
                  <a:cubicBezTo>
                    <a:pt x="320400" y="7995"/>
                    <a:pt x="368801" y="7995"/>
                    <a:pt x="371352" y="7995"/>
                  </a:cubicBezTo>
                  <a:cubicBezTo>
                    <a:pt x="371352" y="6203"/>
                    <a:pt x="371352" y="1792"/>
                    <a:pt x="371352" y="0"/>
                  </a:cubicBezTo>
                  <a:cubicBezTo>
                    <a:pt x="368801" y="0"/>
                    <a:pt x="320400" y="0"/>
                    <a:pt x="317849" y="0"/>
                  </a:cubicBezTo>
                  <a:close/>
                  <a:moveTo>
                    <a:pt x="237249" y="0"/>
                  </a:moveTo>
                  <a:cubicBezTo>
                    <a:pt x="237249" y="1792"/>
                    <a:pt x="237249" y="6203"/>
                    <a:pt x="237249" y="7995"/>
                  </a:cubicBezTo>
                  <a:cubicBezTo>
                    <a:pt x="239800" y="7995"/>
                    <a:pt x="288201" y="7995"/>
                    <a:pt x="290753" y="7995"/>
                  </a:cubicBezTo>
                  <a:cubicBezTo>
                    <a:pt x="290753" y="6203"/>
                    <a:pt x="290753" y="1792"/>
                    <a:pt x="290753" y="0"/>
                  </a:cubicBezTo>
                  <a:cubicBezTo>
                    <a:pt x="288201" y="0"/>
                    <a:pt x="239869" y="0"/>
                    <a:pt x="237249" y="0"/>
                  </a:cubicBezTo>
                  <a:close/>
                  <a:moveTo>
                    <a:pt x="156718" y="0"/>
                  </a:moveTo>
                  <a:cubicBezTo>
                    <a:pt x="156718" y="1792"/>
                    <a:pt x="156718" y="6203"/>
                    <a:pt x="156718" y="7995"/>
                  </a:cubicBezTo>
                  <a:cubicBezTo>
                    <a:pt x="159269" y="7995"/>
                    <a:pt x="207671" y="7995"/>
                    <a:pt x="210222" y="7995"/>
                  </a:cubicBezTo>
                  <a:cubicBezTo>
                    <a:pt x="210222" y="6203"/>
                    <a:pt x="210222" y="1792"/>
                    <a:pt x="210222" y="0"/>
                  </a:cubicBezTo>
                  <a:cubicBezTo>
                    <a:pt x="207602" y="0"/>
                    <a:pt x="159269" y="0"/>
                    <a:pt x="156718" y="0"/>
                  </a:cubicBezTo>
                  <a:close/>
                  <a:moveTo>
                    <a:pt x="76118" y="0"/>
                  </a:moveTo>
                  <a:cubicBezTo>
                    <a:pt x="76118" y="1792"/>
                    <a:pt x="76118" y="6203"/>
                    <a:pt x="76118" y="7995"/>
                  </a:cubicBezTo>
                  <a:cubicBezTo>
                    <a:pt x="78669" y="7995"/>
                    <a:pt x="127071" y="7995"/>
                    <a:pt x="129622" y="7995"/>
                  </a:cubicBezTo>
                  <a:cubicBezTo>
                    <a:pt x="129622" y="6203"/>
                    <a:pt x="129622" y="1792"/>
                    <a:pt x="129622" y="0"/>
                  </a:cubicBezTo>
                  <a:cubicBezTo>
                    <a:pt x="127071" y="0"/>
                    <a:pt x="78669" y="0"/>
                    <a:pt x="76118" y="0"/>
                  </a:cubicBezTo>
                  <a:close/>
                  <a:moveTo>
                    <a:pt x="0" y="0"/>
                  </a:moveTo>
                  <a:cubicBezTo>
                    <a:pt x="0" y="1792"/>
                    <a:pt x="0" y="6203"/>
                    <a:pt x="0" y="7995"/>
                  </a:cubicBezTo>
                  <a:cubicBezTo>
                    <a:pt x="2551" y="7995"/>
                    <a:pt x="46540" y="7995"/>
                    <a:pt x="49091" y="7995"/>
                  </a:cubicBezTo>
                  <a:cubicBezTo>
                    <a:pt x="49091" y="6203"/>
                    <a:pt x="49091" y="1792"/>
                    <a:pt x="49091" y="0"/>
                  </a:cubicBezTo>
                  <a:cubicBezTo>
                    <a:pt x="46540" y="0"/>
                    <a:pt x="2551" y="0"/>
                    <a:pt x="0" y="0"/>
                  </a:cubicBezTo>
                  <a:close/>
                </a:path>
              </a:pathLst>
            </a:custGeom>
            <a:solidFill>
              <a:srgbClr val="E4E4E4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207112">
                <a:defRPr/>
              </a:pPr>
              <a:endParaRPr lang="nl-NL" sz="1359" kern="0" dirty="0">
                <a:solidFill>
                  <a:srgbClr val="7C7C7C"/>
                </a:solidFill>
                <a:latin typeface="Roboto Condensed"/>
              </a:endParaRPr>
            </a:p>
          </p:txBody>
        </p:sp>
        <p:sp>
          <p:nvSpPr>
            <p:cNvPr id="1186" name="Freeform 12">
              <a:extLst>
                <a:ext uri="{FF2B5EF4-FFF2-40B4-BE49-F238E27FC236}">
                  <a16:creationId xmlns:a16="http://schemas.microsoft.com/office/drawing/2014/main" id="{7B981199-A5A8-EBA2-1EE8-758366E35E3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28264" y="1563761"/>
              <a:ext cx="53503" cy="7995"/>
            </a:xfrm>
            <a:custGeom>
              <a:avLst/>
              <a:gdLst>
                <a:gd name="connsiteX0" fmla="*/ 0 w 53503"/>
                <a:gd name="connsiteY0" fmla="*/ 0 h 7995"/>
                <a:gd name="connsiteX1" fmla="*/ 0 w 53503"/>
                <a:gd name="connsiteY1" fmla="*/ 7995 h 7995"/>
                <a:gd name="connsiteX2" fmla="*/ 53503 w 53503"/>
                <a:gd name="connsiteY2" fmla="*/ 7995 h 7995"/>
                <a:gd name="connsiteX3" fmla="*/ 53503 w 53503"/>
                <a:gd name="connsiteY3" fmla="*/ 0 h 7995"/>
                <a:gd name="connsiteX4" fmla="*/ 0 w 53503"/>
                <a:gd name="connsiteY4" fmla="*/ 0 h 7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503" h="7995">
                  <a:moveTo>
                    <a:pt x="0" y="0"/>
                  </a:moveTo>
                  <a:cubicBezTo>
                    <a:pt x="0" y="1792"/>
                    <a:pt x="0" y="6203"/>
                    <a:pt x="0" y="7995"/>
                  </a:cubicBezTo>
                  <a:cubicBezTo>
                    <a:pt x="2551" y="7995"/>
                    <a:pt x="50952" y="7995"/>
                    <a:pt x="53503" y="7995"/>
                  </a:cubicBezTo>
                  <a:cubicBezTo>
                    <a:pt x="53503" y="6203"/>
                    <a:pt x="53503" y="1792"/>
                    <a:pt x="53503" y="0"/>
                  </a:cubicBezTo>
                  <a:cubicBezTo>
                    <a:pt x="50952" y="0"/>
                    <a:pt x="2551" y="0"/>
                    <a:pt x="0" y="0"/>
                  </a:cubicBezTo>
                  <a:close/>
                </a:path>
              </a:pathLst>
            </a:custGeom>
            <a:solidFill>
              <a:srgbClr val="E4E4E4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207112">
                <a:defRPr/>
              </a:pPr>
              <a:endParaRPr lang="nl-NL" sz="1359" kern="0" dirty="0">
                <a:solidFill>
                  <a:srgbClr val="7C7C7C"/>
                </a:solidFill>
                <a:latin typeface="Roboto Condensed"/>
              </a:endParaRPr>
            </a:p>
          </p:txBody>
        </p:sp>
        <p:grpSp>
          <p:nvGrpSpPr>
            <p:cNvPr id="1187" name="Graphic 4">
              <a:extLst>
                <a:ext uri="{FF2B5EF4-FFF2-40B4-BE49-F238E27FC236}">
                  <a16:creationId xmlns:a16="http://schemas.microsoft.com/office/drawing/2014/main" id="{B9C43F88-358A-801C-6709-290776E90127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15508" y="1463821"/>
              <a:ext cx="1362269" cy="207807"/>
              <a:chOff x="515508" y="1463821"/>
              <a:chExt cx="1362269" cy="207807"/>
            </a:xfrm>
            <a:solidFill>
              <a:srgbClr val="E4E4E4"/>
            </a:solidFill>
          </p:grpSpPr>
          <p:sp>
            <p:nvSpPr>
              <p:cNvPr id="1188" name="Freeform 14">
                <a:extLst>
                  <a:ext uri="{FF2B5EF4-FFF2-40B4-BE49-F238E27FC236}">
                    <a16:creationId xmlns:a16="http://schemas.microsoft.com/office/drawing/2014/main" id="{79B32221-D580-FF84-33B5-DC944F6FCB4D}"/>
                  </a:ext>
                </a:extLst>
              </p:cNvPr>
              <p:cNvSpPr/>
              <p:nvPr/>
            </p:nvSpPr>
            <p:spPr>
              <a:xfrm>
                <a:off x="515508" y="1663357"/>
                <a:ext cx="1362269" cy="8270"/>
              </a:xfrm>
              <a:custGeom>
                <a:avLst/>
                <a:gdLst>
                  <a:gd name="connsiteX0" fmla="*/ 0 w 1362269"/>
                  <a:gd name="connsiteY0" fmla="*/ 0 h 8270"/>
                  <a:gd name="connsiteX1" fmla="*/ 1362269 w 1362269"/>
                  <a:gd name="connsiteY1" fmla="*/ 0 h 8270"/>
                  <a:gd name="connsiteX2" fmla="*/ 1362269 w 1362269"/>
                  <a:gd name="connsiteY2" fmla="*/ 8271 h 8270"/>
                  <a:gd name="connsiteX3" fmla="*/ 0 w 1362269"/>
                  <a:gd name="connsiteY3" fmla="*/ 8271 h 8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62269" h="8270">
                    <a:moveTo>
                      <a:pt x="0" y="0"/>
                    </a:moveTo>
                    <a:lnTo>
                      <a:pt x="1362269" y="0"/>
                    </a:lnTo>
                    <a:lnTo>
                      <a:pt x="1362269" y="8271"/>
                    </a:lnTo>
                    <a:lnTo>
                      <a:pt x="0" y="8271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207112">
                  <a:defRPr/>
                </a:pPr>
                <a:endParaRPr lang="nl-NL" sz="1359" kern="0" dirty="0">
                  <a:solidFill>
                    <a:srgbClr val="7C7C7C"/>
                  </a:solidFill>
                  <a:latin typeface="Roboto Condensed"/>
                </a:endParaRPr>
              </a:p>
            </p:txBody>
          </p:sp>
          <p:sp>
            <p:nvSpPr>
              <p:cNvPr id="1189" name="Freeform 15">
                <a:extLst>
                  <a:ext uri="{FF2B5EF4-FFF2-40B4-BE49-F238E27FC236}">
                    <a16:creationId xmlns:a16="http://schemas.microsoft.com/office/drawing/2014/main" id="{4DDA8EA7-2776-CD17-467B-BD6346FF853E}"/>
                  </a:ext>
                </a:extLst>
              </p:cNvPr>
              <p:cNvSpPr/>
              <p:nvPr/>
            </p:nvSpPr>
            <p:spPr>
              <a:xfrm>
                <a:off x="515508" y="1463821"/>
                <a:ext cx="1362269" cy="8270"/>
              </a:xfrm>
              <a:custGeom>
                <a:avLst/>
                <a:gdLst>
                  <a:gd name="connsiteX0" fmla="*/ 0 w 1362269"/>
                  <a:gd name="connsiteY0" fmla="*/ 0 h 8270"/>
                  <a:gd name="connsiteX1" fmla="*/ 1362269 w 1362269"/>
                  <a:gd name="connsiteY1" fmla="*/ 0 h 8270"/>
                  <a:gd name="connsiteX2" fmla="*/ 1362269 w 1362269"/>
                  <a:gd name="connsiteY2" fmla="*/ 8271 h 8270"/>
                  <a:gd name="connsiteX3" fmla="*/ 0 w 1362269"/>
                  <a:gd name="connsiteY3" fmla="*/ 8271 h 8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62269" h="8270">
                    <a:moveTo>
                      <a:pt x="0" y="0"/>
                    </a:moveTo>
                    <a:lnTo>
                      <a:pt x="1362269" y="0"/>
                    </a:lnTo>
                    <a:lnTo>
                      <a:pt x="1362269" y="8271"/>
                    </a:lnTo>
                    <a:lnTo>
                      <a:pt x="0" y="8271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207112">
                  <a:defRPr/>
                </a:pPr>
                <a:endParaRPr lang="nl-NL" sz="1359" kern="0" dirty="0">
                  <a:solidFill>
                    <a:srgbClr val="7C7C7C"/>
                  </a:solidFill>
                  <a:latin typeface="Roboto Condensed"/>
                </a:endParaRPr>
              </a:p>
            </p:txBody>
          </p:sp>
        </p:grpSp>
      </p:grpSp>
      <p:grpSp>
        <p:nvGrpSpPr>
          <p:cNvPr id="1190" name="Group 1189">
            <a:extLst>
              <a:ext uri="{FF2B5EF4-FFF2-40B4-BE49-F238E27FC236}">
                <a16:creationId xmlns:a16="http://schemas.microsoft.com/office/drawing/2014/main" id="{2869BDC9-BC37-9BA0-4D65-72330B54A2DB}"/>
              </a:ext>
            </a:extLst>
          </p:cNvPr>
          <p:cNvGrpSpPr>
            <a:grpSpLocks noChangeAspect="1"/>
          </p:cNvGrpSpPr>
          <p:nvPr/>
        </p:nvGrpSpPr>
        <p:grpSpPr>
          <a:xfrm>
            <a:off x="6199464" y="555590"/>
            <a:ext cx="1647268" cy="592066"/>
            <a:chOff x="515508" y="1450725"/>
            <a:chExt cx="1362269" cy="233999"/>
          </a:xfrm>
        </p:grpSpPr>
        <p:sp>
          <p:nvSpPr>
            <p:cNvPr id="1191" name="Freeform 9">
              <a:extLst>
                <a:ext uri="{FF2B5EF4-FFF2-40B4-BE49-F238E27FC236}">
                  <a16:creationId xmlns:a16="http://schemas.microsoft.com/office/drawing/2014/main" id="{0B00396B-6B30-DC64-4B8F-0EE0644471B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15508" y="1450725"/>
              <a:ext cx="1362269" cy="233999"/>
            </a:xfrm>
            <a:custGeom>
              <a:avLst/>
              <a:gdLst>
                <a:gd name="connsiteX0" fmla="*/ 0 w 1362269"/>
                <a:gd name="connsiteY0" fmla="*/ 0 h 233999"/>
                <a:gd name="connsiteX1" fmla="*/ 1362269 w 1362269"/>
                <a:gd name="connsiteY1" fmla="*/ 0 h 233999"/>
                <a:gd name="connsiteX2" fmla="*/ 1362269 w 1362269"/>
                <a:gd name="connsiteY2" fmla="*/ 233999 h 233999"/>
                <a:gd name="connsiteX3" fmla="*/ 0 w 1362269"/>
                <a:gd name="connsiteY3" fmla="*/ 233999 h 233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2269" h="233999">
                  <a:moveTo>
                    <a:pt x="0" y="0"/>
                  </a:moveTo>
                  <a:lnTo>
                    <a:pt x="1362269" y="0"/>
                  </a:lnTo>
                  <a:lnTo>
                    <a:pt x="1362269" y="233999"/>
                  </a:lnTo>
                  <a:lnTo>
                    <a:pt x="0" y="233999"/>
                  </a:lnTo>
                  <a:close/>
                </a:path>
              </a:pathLst>
            </a:custGeom>
            <a:solidFill>
              <a:srgbClr val="60B3BB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207112">
                <a:defRPr/>
              </a:pPr>
              <a:endParaRPr lang="nl-NL" sz="1359" kern="0" dirty="0">
                <a:solidFill>
                  <a:srgbClr val="7C7C7C"/>
                </a:solidFill>
                <a:latin typeface="Roboto Condensed"/>
              </a:endParaRPr>
            </a:p>
          </p:txBody>
        </p:sp>
        <p:sp>
          <p:nvSpPr>
            <p:cNvPr id="1192" name="Freeform 10">
              <a:extLst>
                <a:ext uri="{FF2B5EF4-FFF2-40B4-BE49-F238E27FC236}">
                  <a16:creationId xmlns:a16="http://schemas.microsoft.com/office/drawing/2014/main" id="{0817A63F-10E4-80FB-DEF4-AC199BAEF66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53801" y="1563761"/>
              <a:ext cx="613152" cy="7995"/>
            </a:xfrm>
            <a:custGeom>
              <a:avLst/>
              <a:gdLst>
                <a:gd name="connsiteX0" fmla="*/ 559649 w 613152"/>
                <a:gd name="connsiteY0" fmla="*/ 0 h 7995"/>
                <a:gd name="connsiteX1" fmla="*/ 559649 w 613152"/>
                <a:gd name="connsiteY1" fmla="*/ 7995 h 7995"/>
                <a:gd name="connsiteX2" fmla="*/ 613152 w 613152"/>
                <a:gd name="connsiteY2" fmla="*/ 7995 h 7995"/>
                <a:gd name="connsiteX3" fmla="*/ 613152 w 613152"/>
                <a:gd name="connsiteY3" fmla="*/ 0 h 7995"/>
                <a:gd name="connsiteX4" fmla="*/ 559649 w 613152"/>
                <a:gd name="connsiteY4" fmla="*/ 0 h 7995"/>
                <a:gd name="connsiteX5" fmla="*/ 479049 w 613152"/>
                <a:gd name="connsiteY5" fmla="*/ 0 h 7995"/>
                <a:gd name="connsiteX6" fmla="*/ 479049 w 613152"/>
                <a:gd name="connsiteY6" fmla="*/ 7995 h 7995"/>
                <a:gd name="connsiteX7" fmla="*/ 532552 w 613152"/>
                <a:gd name="connsiteY7" fmla="*/ 7995 h 7995"/>
                <a:gd name="connsiteX8" fmla="*/ 532552 w 613152"/>
                <a:gd name="connsiteY8" fmla="*/ 0 h 7995"/>
                <a:gd name="connsiteX9" fmla="*/ 479049 w 613152"/>
                <a:gd name="connsiteY9" fmla="*/ 0 h 7995"/>
                <a:gd name="connsiteX10" fmla="*/ 398449 w 613152"/>
                <a:gd name="connsiteY10" fmla="*/ 0 h 7995"/>
                <a:gd name="connsiteX11" fmla="*/ 398449 w 613152"/>
                <a:gd name="connsiteY11" fmla="*/ 7995 h 7995"/>
                <a:gd name="connsiteX12" fmla="*/ 451952 w 613152"/>
                <a:gd name="connsiteY12" fmla="*/ 7995 h 7995"/>
                <a:gd name="connsiteX13" fmla="*/ 451952 w 613152"/>
                <a:gd name="connsiteY13" fmla="*/ 0 h 7995"/>
                <a:gd name="connsiteX14" fmla="*/ 398449 w 613152"/>
                <a:gd name="connsiteY14" fmla="*/ 0 h 7995"/>
                <a:gd name="connsiteX15" fmla="*/ 317918 w 613152"/>
                <a:gd name="connsiteY15" fmla="*/ 0 h 7995"/>
                <a:gd name="connsiteX16" fmla="*/ 317918 w 613152"/>
                <a:gd name="connsiteY16" fmla="*/ 7995 h 7995"/>
                <a:gd name="connsiteX17" fmla="*/ 371421 w 613152"/>
                <a:gd name="connsiteY17" fmla="*/ 7995 h 7995"/>
                <a:gd name="connsiteX18" fmla="*/ 371421 w 613152"/>
                <a:gd name="connsiteY18" fmla="*/ 0 h 7995"/>
                <a:gd name="connsiteX19" fmla="*/ 317918 w 613152"/>
                <a:gd name="connsiteY19" fmla="*/ 0 h 7995"/>
                <a:gd name="connsiteX20" fmla="*/ 237318 w 613152"/>
                <a:gd name="connsiteY20" fmla="*/ 0 h 7995"/>
                <a:gd name="connsiteX21" fmla="*/ 237318 w 613152"/>
                <a:gd name="connsiteY21" fmla="*/ 7995 h 7995"/>
                <a:gd name="connsiteX22" fmla="*/ 290822 w 613152"/>
                <a:gd name="connsiteY22" fmla="*/ 7995 h 7995"/>
                <a:gd name="connsiteX23" fmla="*/ 290822 w 613152"/>
                <a:gd name="connsiteY23" fmla="*/ 0 h 7995"/>
                <a:gd name="connsiteX24" fmla="*/ 237318 w 613152"/>
                <a:gd name="connsiteY24" fmla="*/ 0 h 7995"/>
                <a:gd name="connsiteX25" fmla="*/ 156787 w 613152"/>
                <a:gd name="connsiteY25" fmla="*/ 0 h 7995"/>
                <a:gd name="connsiteX26" fmla="*/ 156787 w 613152"/>
                <a:gd name="connsiteY26" fmla="*/ 7995 h 7995"/>
                <a:gd name="connsiteX27" fmla="*/ 210291 w 613152"/>
                <a:gd name="connsiteY27" fmla="*/ 7995 h 7995"/>
                <a:gd name="connsiteX28" fmla="*/ 210291 w 613152"/>
                <a:gd name="connsiteY28" fmla="*/ 0 h 7995"/>
                <a:gd name="connsiteX29" fmla="*/ 156787 w 613152"/>
                <a:gd name="connsiteY29" fmla="*/ 0 h 7995"/>
                <a:gd name="connsiteX30" fmla="*/ 76187 w 613152"/>
                <a:gd name="connsiteY30" fmla="*/ 0 h 7995"/>
                <a:gd name="connsiteX31" fmla="*/ 76187 w 613152"/>
                <a:gd name="connsiteY31" fmla="*/ 7995 h 7995"/>
                <a:gd name="connsiteX32" fmla="*/ 129691 w 613152"/>
                <a:gd name="connsiteY32" fmla="*/ 7995 h 7995"/>
                <a:gd name="connsiteX33" fmla="*/ 129691 w 613152"/>
                <a:gd name="connsiteY33" fmla="*/ 0 h 7995"/>
                <a:gd name="connsiteX34" fmla="*/ 76187 w 613152"/>
                <a:gd name="connsiteY34" fmla="*/ 0 h 7995"/>
                <a:gd name="connsiteX35" fmla="*/ 0 w 613152"/>
                <a:gd name="connsiteY35" fmla="*/ 0 h 7995"/>
                <a:gd name="connsiteX36" fmla="*/ 0 w 613152"/>
                <a:gd name="connsiteY36" fmla="*/ 7995 h 7995"/>
                <a:gd name="connsiteX37" fmla="*/ 49091 w 613152"/>
                <a:gd name="connsiteY37" fmla="*/ 7995 h 7995"/>
                <a:gd name="connsiteX38" fmla="*/ 49091 w 613152"/>
                <a:gd name="connsiteY38" fmla="*/ 0 h 7995"/>
                <a:gd name="connsiteX39" fmla="*/ 0 w 613152"/>
                <a:gd name="connsiteY39" fmla="*/ 0 h 7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613152" h="7995">
                  <a:moveTo>
                    <a:pt x="559649" y="0"/>
                  </a:moveTo>
                  <a:cubicBezTo>
                    <a:pt x="559649" y="1792"/>
                    <a:pt x="559649" y="6203"/>
                    <a:pt x="559649" y="7995"/>
                  </a:cubicBezTo>
                  <a:cubicBezTo>
                    <a:pt x="562200" y="7995"/>
                    <a:pt x="610601" y="7995"/>
                    <a:pt x="613152" y="7995"/>
                  </a:cubicBezTo>
                  <a:cubicBezTo>
                    <a:pt x="613152" y="6203"/>
                    <a:pt x="613152" y="1792"/>
                    <a:pt x="613152" y="0"/>
                  </a:cubicBezTo>
                  <a:cubicBezTo>
                    <a:pt x="610532" y="0"/>
                    <a:pt x="562200" y="0"/>
                    <a:pt x="559649" y="0"/>
                  </a:cubicBezTo>
                  <a:close/>
                  <a:moveTo>
                    <a:pt x="479049" y="0"/>
                  </a:moveTo>
                  <a:cubicBezTo>
                    <a:pt x="479049" y="1792"/>
                    <a:pt x="479049" y="6203"/>
                    <a:pt x="479049" y="7995"/>
                  </a:cubicBezTo>
                  <a:cubicBezTo>
                    <a:pt x="481600" y="7995"/>
                    <a:pt x="530001" y="7995"/>
                    <a:pt x="532552" y="7995"/>
                  </a:cubicBezTo>
                  <a:cubicBezTo>
                    <a:pt x="532552" y="6203"/>
                    <a:pt x="532552" y="1792"/>
                    <a:pt x="532552" y="0"/>
                  </a:cubicBezTo>
                  <a:cubicBezTo>
                    <a:pt x="530001" y="0"/>
                    <a:pt x="481600" y="0"/>
                    <a:pt x="479049" y="0"/>
                  </a:cubicBezTo>
                  <a:close/>
                  <a:moveTo>
                    <a:pt x="398449" y="0"/>
                  </a:moveTo>
                  <a:cubicBezTo>
                    <a:pt x="398449" y="1792"/>
                    <a:pt x="398449" y="6203"/>
                    <a:pt x="398449" y="7995"/>
                  </a:cubicBezTo>
                  <a:cubicBezTo>
                    <a:pt x="401000" y="7995"/>
                    <a:pt x="449401" y="7995"/>
                    <a:pt x="451952" y="7995"/>
                  </a:cubicBezTo>
                  <a:cubicBezTo>
                    <a:pt x="451952" y="6203"/>
                    <a:pt x="451952" y="1792"/>
                    <a:pt x="451952" y="0"/>
                  </a:cubicBezTo>
                  <a:cubicBezTo>
                    <a:pt x="449401" y="0"/>
                    <a:pt x="401069" y="0"/>
                    <a:pt x="398449" y="0"/>
                  </a:cubicBezTo>
                  <a:close/>
                  <a:moveTo>
                    <a:pt x="317918" y="0"/>
                  </a:moveTo>
                  <a:cubicBezTo>
                    <a:pt x="317918" y="1792"/>
                    <a:pt x="317918" y="6203"/>
                    <a:pt x="317918" y="7995"/>
                  </a:cubicBezTo>
                  <a:cubicBezTo>
                    <a:pt x="320469" y="7995"/>
                    <a:pt x="368870" y="7995"/>
                    <a:pt x="371421" y="7995"/>
                  </a:cubicBezTo>
                  <a:cubicBezTo>
                    <a:pt x="371421" y="6203"/>
                    <a:pt x="371421" y="1792"/>
                    <a:pt x="371421" y="0"/>
                  </a:cubicBezTo>
                  <a:cubicBezTo>
                    <a:pt x="368801" y="0"/>
                    <a:pt x="320469" y="0"/>
                    <a:pt x="317918" y="0"/>
                  </a:cubicBezTo>
                  <a:close/>
                  <a:moveTo>
                    <a:pt x="237318" y="0"/>
                  </a:moveTo>
                  <a:cubicBezTo>
                    <a:pt x="237318" y="1792"/>
                    <a:pt x="237318" y="6203"/>
                    <a:pt x="237318" y="7995"/>
                  </a:cubicBezTo>
                  <a:cubicBezTo>
                    <a:pt x="239869" y="7995"/>
                    <a:pt x="288270" y="7995"/>
                    <a:pt x="290822" y="7995"/>
                  </a:cubicBezTo>
                  <a:cubicBezTo>
                    <a:pt x="290822" y="6203"/>
                    <a:pt x="290822" y="1792"/>
                    <a:pt x="290822" y="0"/>
                  </a:cubicBezTo>
                  <a:cubicBezTo>
                    <a:pt x="288270" y="0"/>
                    <a:pt x="239869" y="0"/>
                    <a:pt x="237318" y="0"/>
                  </a:cubicBezTo>
                  <a:close/>
                  <a:moveTo>
                    <a:pt x="156787" y="0"/>
                  </a:moveTo>
                  <a:cubicBezTo>
                    <a:pt x="156787" y="1792"/>
                    <a:pt x="156787" y="6203"/>
                    <a:pt x="156787" y="7995"/>
                  </a:cubicBezTo>
                  <a:cubicBezTo>
                    <a:pt x="159338" y="7995"/>
                    <a:pt x="207740" y="7995"/>
                    <a:pt x="210291" y="7995"/>
                  </a:cubicBezTo>
                  <a:cubicBezTo>
                    <a:pt x="210291" y="6203"/>
                    <a:pt x="210291" y="1792"/>
                    <a:pt x="210291" y="0"/>
                  </a:cubicBezTo>
                  <a:cubicBezTo>
                    <a:pt x="207671" y="0"/>
                    <a:pt x="159338" y="0"/>
                    <a:pt x="156787" y="0"/>
                  </a:cubicBezTo>
                  <a:close/>
                  <a:moveTo>
                    <a:pt x="76187" y="0"/>
                  </a:moveTo>
                  <a:cubicBezTo>
                    <a:pt x="76187" y="1792"/>
                    <a:pt x="76187" y="6203"/>
                    <a:pt x="76187" y="7995"/>
                  </a:cubicBezTo>
                  <a:cubicBezTo>
                    <a:pt x="78738" y="7995"/>
                    <a:pt x="127140" y="7995"/>
                    <a:pt x="129691" y="7995"/>
                  </a:cubicBezTo>
                  <a:cubicBezTo>
                    <a:pt x="129691" y="6203"/>
                    <a:pt x="129691" y="1792"/>
                    <a:pt x="129691" y="0"/>
                  </a:cubicBezTo>
                  <a:cubicBezTo>
                    <a:pt x="127071" y="0"/>
                    <a:pt x="78738" y="0"/>
                    <a:pt x="76187" y="0"/>
                  </a:cubicBezTo>
                  <a:close/>
                  <a:moveTo>
                    <a:pt x="0" y="0"/>
                  </a:moveTo>
                  <a:cubicBezTo>
                    <a:pt x="0" y="1792"/>
                    <a:pt x="0" y="6203"/>
                    <a:pt x="0" y="7995"/>
                  </a:cubicBezTo>
                  <a:cubicBezTo>
                    <a:pt x="2551" y="7995"/>
                    <a:pt x="46540" y="7995"/>
                    <a:pt x="49091" y="7995"/>
                  </a:cubicBezTo>
                  <a:cubicBezTo>
                    <a:pt x="49091" y="6203"/>
                    <a:pt x="49091" y="1792"/>
                    <a:pt x="49091" y="0"/>
                  </a:cubicBezTo>
                  <a:cubicBezTo>
                    <a:pt x="46540" y="0"/>
                    <a:pt x="2551" y="0"/>
                    <a:pt x="0" y="0"/>
                  </a:cubicBezTo>
                  <a:close/>
                </a:path>
              </a:pathLst>
            </a:custGeom>
            <a:solidFill>
              <a:srgbClr val="E4E4E4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207112">
                <a:defRPr/>
              </a:pPr>
              <a:endParaRPr lang="nl-NL" sz="1359" kern="0" dirty="0">
                <a:solidFill>
                  <a:srgbClr val="7C7C7C"/>
                </a:solidFill>
                <a:latin typeface="Roboto Condensed"/>
              </a:endParaRPr>
            </a:p>
          </p:txBody>
        </p:sp>
        <p:sp>
          <p:nvSpPr>
            <p:cNvPr id="1193" name="Freeform 11">
              <a:extLst>
                <a:ext uri="{FF2B5EF4-FFF2-40B4-BE49-F238E27FC236}">
                  <a16:creationId xmlns:a16="http://schemas.microsoft.com/office/drawing/2014/main" id="{12118385-4BC9-DA79-E83E-81AC85281A4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13207" y="1563761"/>
              <a:ext cx="613083" cy="7995"/>
            </a:xfrm>
            <a:custGeom>
              <a:avLst/>
              <a:gdLst>
                <a:gd name="connsiteX0" fmla="*/ 559580 w 613083"/>
                <a:gd name="connsiteY0" fmla="*/ 0 h 7995"/>
                <a:gd name="connsiteX1" fmla="*/ 559580 w 613083"/>
                <a:gd name="connsiteY1" fmla="*/ 7995 h 7995"/>
                <a:gd name="connsiteX2" fmla="*/ 613083 w 613083"/>
                <a:gd name="connsiteY2" fmla="*/ 7995 h 7995"/>
                <a:gd name="connsiteX3" fmla="*/ 613083 w 613083"/>
                <a:gd name="connsiteY3" fmla="*/ 0 h 7995"/>
                <a:gd name="connsiteX4" fmla="*/ 559580 w 613083"/>
                <a:gd name="connsiteY4" fmla="*/ 0 h 7995"/>
                <a:gd name="connsiteX5" fmla="*/ 478980 w 613083"/>
                <a:gd name="connsiteY5" fmla="*/ 0 h 7995"/>
                <a:gd name="connsiteX6" fmla="*/ 478980 w 613083"/>
                <a:gd name="connsiteY6" fmla="*/ 7995 h 7995"/>
                <a:gd name="connsiteX7" fmla="*/ 532483 w 613083"/>
                <a:gd name="connsiteY7" fmla="*/ 7995 h 7995"/>
                <a:gd name="connsiteX8" fmla="*/ 532483 w 613083"/>
                <a:gd name="connsiteY8" fmla="*/ 0 h 7995"/>
                <a:gd name="connsiteX9" fmla="*/ 478980 w 613083"/>
                <a:gd name="connsiteY9" fmla="*/ 0 h 7995"/>
                <a:gd name="connsiteX10" fmla="*/ 398449 w 613083"/>
                <a:gd name="connsiteY10" fmla="*/ 0 h 7995"/>
                <a:gd name="connsiteX11" fmla="*/ 398449 w 613083"/>
                <a:gd name="connsiteY11" fmla="*/ 7995 h 7995"/>
                <a:gd name="connsiteX12" fmla="*/ 451952 w 613083"/>
                <a:gd name="connsiteY12" fmla="*/ 7995 h 7995"/>
                <a:gd name="connsiteX13" fmla="*/ 451952 w 613083"/>
                <a:gd name="connsiteY13" fmla="*/ 0 h 7995"/>
                <a:gd name="connsiteX14" fmla="*/ 398449 w 613083"/>
                <a:gd name="connsiteY14" fmla="*/ 0 h 7995"/>
                <a:gd name="connsiteX15" fmla="*/ 317849 w 613083"/>
                <a:gd name="connsiteY15" fmla="*/ 0 h 7995"/>
                <a:gd name="connsiteX16" fmla="*/ 317849 w 613083"/>
                <a:gd name="connsiteY16" fmla="*/ 7995 h 7995"/>
                <a:gd name="connsiteX17" fmla="*/ 371352 w 613083"/>
                <a:gd name="connsiteY17" fmla="*/ 7995 h 7995"/>
                <a:gd name="connsiteX18" fmla="*/ 371352 w 613083"/>
                <a:gd name="connsiteY18" fmla="*/ 0 h 7995"/>
                <a:gd name="connsiteX19" fmla="*/ 317849 w 613083"/>
                <a:gd name="connsiteY19" fmla="*/ 0 h 7995"/>
                <a:gd name="connsiteX20" fmla="*/ 237249 w 613083"/>
                <a:gd name="connsiteY20" fmla="*/ 0 h 7995"/>
                <a:gd name="connsiteX21" fmla="*/ 237249 w 613083"/>
                <a:gd name="connsiteY21" fmla="*/ 7995 h 7995"/>
                <a:gd name="connsiteX22" fmla="*/ 290753 w 613083"/>
                <a:gd name="connsiteY22" fmla="*/ 7995 h 7995"/>
                <a:gd name="connsiteX23" fmla="*/ 290753 w 613083"/>
                <a:gd name="connsiteY23" fmla="*/ 0 h 7995"/>
                <a:gd name="connsiteX24" fmla="*/ 237249 w 613083"/>
                <a:gd name="connsiteY24" fmla="*/ 0 h 7995"/>
                <a:gd name="connsiteX25" fmla="*/ 156718 w 613083"/>
                <a:gd name="connsiteY25" fmla="*/ 0 h 7995"/>
                <a:gd name="connsiteX26" fmla="*/ 156718 w 613083"/>
                <a:gd name="connsiteY26" fmla="*/ 7995 h 7995"/>
                <a:gd name="connsiteX27" fmla="*/ 210222 w 613083"/>
                <a:gd name="connsiteY27" fmla="*/ 7995 h 7995"/>
                <a:gd name="connsiteX28" fmla="*/ 210222 w 613083"/>
                <a:gd name="connsiteY28" fmla="*/ 0 h 7995"/>
                <a:gd name="connsiteX29" fmla="*/ 156718 w 613083"/>
                <a:gd name="connsiteY29" fmla="*/ 0 h 7995"/>
                <a:gd name="connsiteX30" fmla="*/ 76118 w 613083"/>
                <a:gd name="connsiteY30" fmla="*/ 0 h 7995"/>
                <a:gd name="connsiteX31" fmla="*/ 76118 w 613083"/>
                <a:gd name="connsiteY31" fmla="*/ 7995 h 7995"/>
                <a:gd name="connsiteX32" fmla="*/ 129622 w 613083"/>
                <a:gd name="connsiteY32" fmla="*/ 7995 h 7995"/>
                <a:gd name="connsiteX33" fmla="*/ 129622 w 613083"/>
                <a:gd name="connsiteY33" fmla="*/ 0 h 7995"/>
                <a:gd name="connsiteX34" fmla="*/ 76118 w 613083"/>
                <a:gd name="connsiteY34" fmla="*/ 0 h 7995"/>
                <a:gd name="connsiteX35" fmla="*/ 0 w 613083"/>
                <a:gd name="connsiteY35" fmla="*/ 0 h 7995"/>
                <a:gd name="connsiteX36" fmla="*/ 0 w 613083"/>
                <a:gd name="connsiteY36" fmla="*/ 7995 h 7995"/>
                <a:gd name="connsiteX37" fmla="*/ 49091 w 613083"/>
                <a:gd name="connsiteY37" fmla="*/ 7995 h 7995"/>
                <a:gd name="connsiteX38" fmla="*/ 49091 w 613083"/>
                <a:gd name="connsiteY38" fmla="*/ 0 h 7995"/>
                <a:gd name="connsiteX39" fmla="*/ 0 w 613083"/>
                <a:gd name="connsiteY39" fmla="*/ 0 h 7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613083" h="7995">
                  <a:moveTo>
                    <a:pt x="559580" y="0"/>
                  </a:moveTo>
                  <a:cubicBezTo>
                    <a:pt x="559580" y="1792"/>
                    <a:pt x="559580" y="6203"/>
                    <a:pt x="559580" y="7995"/>
                  </a:cubicBezTo>
                  <a:cubicBezTo>
                    <a:pt x="562131" y="7995"/>
                    <a:pt x="610532" y="7995"/>
                    <a:pt x="613083" y="7995"/>
                  </a:cubicBezTo>
                  <a:cubicBezTo>
                    <a:pt x="613083" y="6203"/>
                    <a:pt x="613083" y="1792"/>
                    <a:pt x="613083" y="0"/>
                  </a:cubicBezTo>
                  <a:cubicBezTo>
                    <a:pt x="610532" y="0"/>
                    <a:pt x="562131" y="0"/>
                    <a:pt x="559580" y="0"/>
                  </a:cubicBezTo>
                  <a:close/>
                  <a:moveTo>
                    <a:pt x="478980" y="0"/>
                  </a:moveTo>
                  <a:cubicBezTo>
                    <a:pt x="478980" y="1792"/>
                    <a:pt x="478980" y="6203"/>
                    <a:pt x="478980" y="7995"/>
                  </a:cubicBezTo>
                  <a:cubicBezTo>
                    <a:pt x="481531" y="7995"/>
                    <a:pt x="529932" y="7995"/>
                    <a:pt x="532483" y="7995"/>
                  </a:cubicBezTo>
                  <a:cubicBezTo>
                    <a:pt x="532483" y="6203"/>
                    <a:pt x="532483" y="1792"/>
                    <a:pt x="532483" y="0"/>
                  </a:cubicBezTo>
                  <a:cubicBezTo>
                    <a:pt x="529932" y="0"/>
                    <a:pt x="481531" y="0"/>
                    <a:pt x="478980" y="0"/>
                  </a:cubicBezTo>
                  <a:close/>
                  <a:moveTo>
                    <a:pt x="398449" y="0"/>
                  </a:moveTo>
                  <a:cubicBezTo>
                    <a:pt x="398449" y="1792"/>
                    <a:pt x="398449" y="6203"/>
                    <a:pt x="398449" y="7995"/>
                  </a:cubicBezTo>
                  <a:cubicBezTo>
                    <a:pt x="401000" y="7995"/>
                    <a:pt x="449401" y="7995"/>
                    <a:pt x="451952" y="7995"/>
                  </a:cubicBezTo>
                  <a:cubicBezTo>
                    <a:pt x="451952" y="6203"/>
                    <a:pt x="451952" y="1792"/>
                    <a:pt x="451952" y="0"/>
                  </a:cubicBezTo>
                  <a:cubicBezTo>
                    <a:pt x="449332" y="0"/>
                    <a:pt x="401000" y="0"/>
                    <a:pt x="398449" y="0"/>
                  </a:cubicBezTo>
                  <a:close/>
                  <a:moveTo>
                    <a:pt x="317849" y="0"/>
                  </a:moveTo>
                  <a:cubicBezTo>
                    <a:pt x="317849" y="1792"/>
                    <a:pt x="317849" y="6203"/>
                    <a:pt x="317849" y="7995"/>
                  </a:cubicBezTo>
                  <a:cubicBezTo>
                    <a:pt x="320400" y="7995"/>
                    <a:pt x="368801" y="7995"/>
                    <a:pt x="371352" y="7995"/>
                  </a:cubicBezTo>
                  <a:cubicBezTo>
                    <a:pt x="371352" y="6203"/>
                    <a:pt x="371352" y="1792"/>
                    <a:pt x="371352" y="0"/>
                  </a:cubicBezTo>
                  <a:cubicBezTo>
                    <a:pt x="368801" y="0"/>
                    <a:pt x="320400" y="0"/>
                    <a:pt x="317849" y="0"/>
                  </a:cubicBezTo>
                  <a:close/>
                  <a:moveTo>
                    <a:pt x="237249" y="0"/>
                  </a:moveTo>
                  <a:cubicBezTo>
                    <a:pt x="237249" y="1792"/>
                    <a:pt x="237249" y="6203"/>
                    <a:pt x="237249" y="7995"/>
                  </a:cubicBezTo>
                  <a:cubicBezTo>
                    <a:pt x="239800" y="7995"/>
                    <a:pt x="288201" y="7995"/>
                    <a:pt x="290753" y="7995"/>
                  </a:cubicBezTo>
                  <a:cubicBezTo>
                    <a:pt x="290753" y="6203"/>
                    <a:pt x="290753" y="1792"/>
                    <a:pt x="290753" y="0"/>
                  </a:cubicBezTo>
                  <a:cubicBezTo>
                    <a:pt x="288201" y="0"/>
                    <a:pt x="239869" y="0"/>
                    <a:pt x="237249" y="0"/>
                  </a:cubicBezTo>
                  <a:close/>
                  <a:moveTo>
                    <a:pt x="156718" y="0"/>
                  </a:moveTo>
                  <a:cubicBezTo>
                    <a:pt x="156718" y="1792"/>
                    <a:pt x="156718" y="6203"/>
                    <a:pt x="156718" y="7995"/>
                  </a:cubicBezTo>
                  <a:cubicBezTo>
                    <a:pt x="159269" y="7995"/>
                    <a:pt x="207671" y="7995"/>
                    <a:pt x="210222" y="7995"/>
                  </a:cubicBezTo>
                  <a:cubicBezTo>
                    <a:pt x="210222" y="6203"/>
                    <a:pt x="210222" y="1792"/>
                    <a:pt x="210222" y="0"/>
                  </a:cubicBezTo>
                  <a:cubicBezTo>
                    <a:pt x="207602" y="0"/>
                    <a:pt x="159269" y="0"/>
                    <a:pt x="156718" y="0"/>
                  </a:cubicBezTo>
                  <a:close/>
                  <a:moveTo>
                    <a:pt x="76118" y="0"/>
                  </a:moveTo>
                  <a:cubicBezTo>
                    <a:pt x="76118" y="1792"/>
                    <a:pt x="76118" y="6203"/>
                    <a:pt x="76118" y="7995"/>
                  </a:cubicBezTo>
                  <a:cubicBezTo>
                    <a:pt x="78669" y="7995"/>
                    <a:pt x="127071" y="7995"/>
                    <a:pt x="129622" y="7995"/>
                  </a:cubicBezTo>
                  <a:cubicBezTo>
                    <a:pt x="129622" y="6203"/>
                    <a:pt x="129622" y="1792"/>
                    <a:pt x="129622" y="0"/>
                  </a:cubicBezTo>
                  <a:cubicBezTo>
                    <a:pt x="127071" y="0"/>
                    <a:pt x="78669" y="0"/>
                    <a:pt x="76118" y="0"/>
                  </a:cubicBezTo>
                  <a:close/>
                  <a:moveTo>
                    <a:pt x="0" y="0"/>
                  </a:moveTo>
                  <a:cubicBezTo>
                    <a:pt x="0" y="1792"/>
                    <a:pt x="0" y="6203"/>
                    <a:pt x="0" y="7995"/>
                  </a:cubicBezTo>
                  <a:cubicBezTo>
                    <a:pt x="2551" y="7995"/>
                    <a:pt x="46540" y="7995"/>
                    <a:pt x="49091" y="7995"/>
                  </a:cubicBezTo>
                  <a:cubicBezTo>
                    <a:pt x="49091" y="6203"/>
                    <a:pt x="49091" y="1792"/>
                    <a:pt x="49091" y="0"/>
                  </a:cubicBezTo>
                  <a:cubicBezTo>
                    <a:pt x="46540" y="0"/>
                    <a:pt x="2551" y="0"/>
                    <a:pt x="0" y="0"/>
                  </a:cubicBezTo>
                  <a:close/>
                </a:path>
              </a:pathLst>
            </a:custGeom>
            <a:solidFill>
              <a:srgbClr val="E4E4E4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207112">
                <a:defRPr/>
              </a:pPr>
              <a:endParaRPr lang="nl-NL" sz="1359" kern="0" dirty="0">
                <a:solidFill>
                  <a:srgbClr val="7C7C7C"/>
                </a:solidFill>
                <a:latin typeface="Roboto Condensed"/>
              </a:endParaRPr>
            </a:p>
          </p:txBody>
        </p:sp>
        <p:sp>
          <p:nvSpPr>
            <p:cNvPr id="1194" name="Freeform 12">
              <a:extLst>
                <a:ext uri="{FF2B5EF4-FFF2-40B4-BE49-F238E27FC236}">
                  <a16:creationId xmlns:a16="http://schemas.microsoft.com/office/drawing/2014/main" id="{8D4FA1C3-D35A-8470-C96E-AB7A52B3533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28264" y="1563761"/>
              <a:ext cx="53503" cy="7995"/>
            </a:xfrm>
            <a:custGeom>
              <a:avLst/>
              <a:gdLst>
                <a:gd name="connsiteX0" fmla="*/ 0 w 53503"/>
                <a:gd name="connsiteY0" fmla="*/ 0 h 7995"/>
                <a:gd name="connsiteX1" fmla="*/ 0 w 53503"/>
                <a:gd name="connsiteY1" fmla="*/ 7995 h 7995"/>
                <a:gd name="connsiteX2" fmla="*/ 53503 w 53503"/>
                <a:gd name="connsiteY2" fmla="*/ 7995 h 7995"/>
                <a:gd name="connsiteX3" fmla="*/ 53503 w 53503"/>
                <a:gd name="connsiteY3" fmla="*/ 0 h 7995"/>
                <a:gd name="connsiteX4" fmla="*/ 0 w 53503"/>
                <a:gd name="connsiteY4" fmla="*/ 0 h 7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503" h="7995">
                  <a:moveTo>
                    <a:pt x="0" y="0"/>
                  </a:moveTo>
                  <a:cubicBezTo>
                    <a:pt x="0" y="1792"/>
                    <a:pt x="0" y="6203"/>
                    <a:pt x="0" y="7995"/>
                  </a:cubicBezTo>
                  <a:cubicBezTo>
                    <a:pt x="2551" y="7995"/>
                    <a:pt x="50952" y="7995"/>
                    <a:pt x="53503" y="7995"/>
                  </a:cubicBezTo>
                  <a:cubicBezTo>
                    <a:pt x="53503" y="6203"/>
                    <a:pt x="53503" y="1792"/>
                    <a:pt x="53503" y="0"/>
                  </a:cubicBezTo>
                  <a:cubicBezTo>
                    <a:pt x="50952" y="0"/>
                    <a:pt x="2551" y="0"/>
                    <a:pt x="0" y="0"/>
                  </a:cubicBezTo>
                  <a:close/>
                </a:path>
              </a:pathLst>
            </a:custGeom>
            <a:solidFill>
              <a:srgbClr val="E4E4E4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207112">
                <a:defRPr/>
              </a:pPr>
              <a:endParaRPr lang="nl-NL" sz="1359" kern="0" dirty="0">
                <a:solidFill>
                  <a:srgbClr val="7C7C7C"/>
                </a:solidFill>
                <a:latin typeface="Roboto Condensed"/>
              </a:endParaRPr>
            </a:p>
          </p:txBody>
        </p:sp>
        <p:grpSp>
          <p:nvGrpSpPr>
            <p:cNvPr id="1195" name="Graphic 4">
              <a:extLst>
                <a:ext uri="{FF2B5EF4-FFF2-40B4-BE49-F238E27FC236}">
                  <a16:creationId xmlns:a16="http://schemas.microsoft.com/office/drawing/2014/main" id="{B7C537B3-EFA3-FF88-1557-DF0A22BD6794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15508" y="1463821"/>
              <a:ext cx="1362269" cy="207807"/>
              <a:chOff x="515508" y="1463821"/>
              <a:chExt cx="1362269" cy="207807"/>
            </a:xfrm>
            <a:solidFill>
              <a:srgbClr val="E4E4E4"/>
            </a:solidFill>
          </p:grpSpPr>
          <p:sp>
            <p:nvSpPr>
              <p:cNvPr id="1196" name="Freeform 14">
                <a:extLst>
                  <a:ext uri="{FF2B5EF4-FFF2-40B4-BE49-F238E27FC236}">
                    <a16:creationId xmlns:a16="http://schemas.microsoft.com/office/drawing/2014/main" id="{6FAAC02C-AA2A-59FE-C77B-927699083D5D}"/>
                  </a:ext>
                </a:extLst>
              </p:cNvPr>
              <p:cNvSpPr/>
              <p:nvPr/>
            </p:nvSpPr>
            <p:spPr>
              <a:xfrm>
                <a:off x="515508" y="1663357"/>
                <a:ext cx="1362269" cy="8270"/>
              </a:xfrm>
              <a:custGeom>
                <a:avLst/>
                <a:gdLst>
                  <a:gd name="connsiteX0" fmla="*/ 0 w 1362269"/>
                  <a:gd name="connsiteY0" fmla="*/ 0 h 8270"/>
                  <a:gd name="connsiteX1" fmla="*/ 1362269 w 1362269"/>
                  <a:gd name="connsiteY1" fmla="*/ 0 h 8270"/>
                  <a:gd name="connsiteX2" fmla="*/ 1362269 w 1362269"/>
                  <a:gd name="connsiteY2" fmla="*/ 8271 h 8270"/>
                  <a:gd name="connsiteX3" fmla="*/ 0 w 1362269"/>
                  <a:gd name="connsiteY3" fmla="*/ 8271 h 8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62269" h="8270">
                    <a:moveTo>
                      <a:pt x="0" y="0"/>
                    </a:moveTo>
                    <a:lnTo>
                      <a:pt x="1362269" y="0"/>
                    </a:lnTo>
                    <a:lnTo>
                      <a:pt x="1362269" y="8271"/>
                    </a:lnTo>
                    <a:lnTo>
                      <a:pt x="0" y="8271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207112">
                  <a:defRPr/>
                </a:pPr>
                <a:endParaRPr lang="nl-NL" sz="1359" kern="0" dirty="0">
                  <a:solidFill>
                    <a:srgbClr val="7C7C7C"/>
                  </a:solidFill>
                  <a:latin typeface="Roboto Condensed"/>
                </a:endParaRPr>
              </a:p>
            </p:txBody>
          </p:sp>
          <p:sp>
            <p:nvSpPr>
              <p:cNvPr id="1197" name="Freeform 15">
                <a:extLst>
                  <a:ext uri="{FF2B5EF4-FFF2-40B4-BE49-F238E27FC236}">
                    <a16:creationId xmlns:a16="http://schemas.microsoft.com/office/drawing/2014/main" id="{41AE8D80-AA88-5642-036E-44D4246AEBC2}"/>
                  </a:ext>
                </a:extLst>
              </p:cNvPr>
              <p:cNvSpPr/>
              <p:nvPr/>
            </p:nvSpPr>
            <p:spPr>
              <a:xfrm>
                <a:off x="515508" y="1463821"/>
                <a:ext cx="1362269" cy="8270"/>
              </a:xfrm>
              <a:custGeom>
                <a:avLst/>
                <a:gdLst>
                  <a:gd name="connsiteX0" fmla="*/ 0 w 1362269"/>
                  <a:gd name="connsiteY0" fmla="*/ 0 h 8270"/>
                  <a:gd name="connsiteX1" fmla="*/ 1362269 w 1362269"/>
                  <a:gd name="connsiteY1" fmla="*/ 0 h 8270"/>
                  <a:gd name="connsiteX2" fmla="*/ 1362269 w 1362269"/>
                  <a:gd name="connsiteY2" fmla="*/ 8271 h 8270"/>
                  <a:gd name="connsiteX3" fmla="*/ 0 w 1362269"/>
                  <a:gd name="connsiteY3" fmla="*/ 8271 h 8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62269" h="8270">
                    <a:moveTo>
                      <a:pt x="0" y="0"/>
                    </a:moveTo>
                    <a:lnTo>
                      <a:pt x="1362269" y="0"/>
                    </a:lnTo>
                    <a:lnTo>
                      <a:pt x="1362269" y="8271"/>
                    </a:lnTo>
                    <a:lnTo>
                      <a:pt x="0" y="8271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207112">
                  <a:defRPr/>
                </a:pPr>
                <a:endParaRPr lang="nl-NL" sz="1359" kern="0" dirty="0">
                  <a:solidFill>
                    <a:srgbClr val="7C7C7C"/>
                  </a:solidFill>
                  <a:latin typeface="Roboto Condensed"/>
                </a:endParaRPr>
              </a:p>
            </p:txBody>
          </p:sp>
        </p:grpSp>
      </p:grpSp>
      <p:grpSp>
        <p:nvGrpSpPr>
          <p:cNvPr id="1198" name="Group 1197">
            <a:extLst>
              <a:ext uri="{FF2B5EF4-FFF2-40B4-BE49-F238E27FC236}">
                <a16:creationId xmlns:a16="http://schemas.microsoft.com/office/drawing/2014/main" id="{EF3BEF6E-E751-64AF-5FBD-FFAAA6C6E376}"/>
              </a:ext>
            </a:extLst>
          </p:cNvPr>
          <p:cNvGrpSpPr>
            <a:grpSpLocks noChangeAspect="1"/>
          </p:cNvGrpSpPr>
          <p:nvPr/>
        </p:nvGrpSpPr>
        <p:grpSpPr>
          <a:xfrm>
            <a:off x="7841687" y="555590"/>
            <a:ext cx="1647268" cy="592066"/>
            <a:chOff x="515508" y="1450725"/>
            <a:chExt cx="1362269" cy="233999"/>
          </a:xfrm>
        </p:grpSpPr>
        <p:sp>
          <p:nvSpPr>
            <p:cNvPr id="1199" name="Freeform 9">
              <a:extLst>
                <a:ext uri="{FF2B5EF4-FFF2-40B4-BE49-F238E27FC236}">
                  <a16:creationId xmlns:a16="http://schemas.microsoft.com/office/drawing/2014/main" id="{2A2D8BB5-97AD-920A-F074-D92BDF729D9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15508" y="1450725"/>
              <a:ext cx="1362269" cy="233999"/>
            </a:xfrm>
            <a:custGeom>
              <a:avLst/>
              <a:gdLst>
                <a:gd name="connsiteX0" fmla="*/ 0 w 1362269"/>
                <a:gd name="connsiteY0" fmla="*/ 0 h 233999"/>
                <a:gd name="connsiteX1" fmla="*/ 1362269 w 1362269"/>
                <a:gd name="connsiteY1" fmla="*/ 0 h 233999"/>
                <a:gd name="connsiteX2" fmla="*/ 1362269 w 1362269"/>
                <a:gd name="connsiteY2" fmla="*/ 233999 h 233999"/>
                <a:gd name="connsiteX3" fmla="*/ 0 w 1362269"/>
                <a:gd name="connsiteY3" fmla="*/ 233999 h 233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2269" h="233999">
                  <a:moveTo>
                    <a:pt x="0" y="0"/>
                  </a:moveTo>
                  <a:lnTo>
                    <a:pt x="1362269" y="0"/>
                  </a:lnTo>
                  <a:lnTo>
                    <a:pt x="1362269" y="233999"/>
                  </a:lnTo>
                  <a:lnTo>
                    <a:pt x="0" y="233999"/>
                  </a:lnTo>
                  <a:close/>
                </a:path>
              </a:pathLst>
            </a:custGeom>
            <a:solidFill>
              <a:srgbClr val="60B3BB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207112">
                <a:defRPr/>
              </a:pPr>
              <a:endParaRPr lang="nl-NL" sz="1359" kern="0" dirty="0">
                <a:solidFill>
                  <a:srgbClr val="7C7C7C"/>
                </a:solidFill>
                <a:latin typeface="Roboto Condensed"/>
              </a:endParaRPr>
            </a:p>
          </p:txBody>
        </p:sp>
        <p:sp>
          <p:nvSpPr>
            <p:cNvPr id="1200" name="Freeform 10">
              <a:extLst>
                <a:ext uri="{FF2B5EF4-FFF2-40B4-BE49-F238E27FC236}">
                  <a16:creationId xmlns:a16="http://schemas.microsoft.com/office/drawing/2014/main" id="{E78069A3-607F-6E78-DD18-CAF4F10B263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53801" y="1563761"/>
              <a:ext cx="613152" cy="7995"/>
            </a:xfrm>
            <a:custGeom>
              <a:avLst/>
              <a:gdLst>
                <a:gd name="connsiteX0" fmla="*/ 559649 w 613152"/>
                <a:gd name="connsiteY0" fmla="*/ 0 h 7995"/>
                <a:gd name="connsiteX1" fmla="*/ 559649 w 613152"/>
                <a:gd name="connsiteY1" fmla="*/ 7995 h 7995"/>
                <a:gd name="connsiteX2" fmla="*/ 613152 w 613152"/>
                <a:gd name="connsiteY2" fmla="*/ 7995 h 7995"/>
                <a:gd name="connsiteX3" fmla="*/ 613152 w 613152"/>
                <a:gd name="connsiteY3" fmla="*/ 0 h 7995"/>
                <a:gd name="connsiteX4" fmla="*/ 559649 w 613152"/>
                <a:gd name="connsiteY4" fmla="*/ 0 h 7995"/>
                <a:gd name="connsiteX5" fmla="*/ 479049 w 613152"/>
                <a:gd name="connsiteY5" fmla="*/ 0 h 7995"/>
                <a:gd name="connsiteX6" fmla="*/ 479049 w 613152"/>
                <a:gd name="connsiteY6" fmla="*/ 7995 h 7995"/>
                <a:gd name="connsiteX7" fmla="*/ 532552 w 613152"/>
                <a:gd name="connsiteY7" fmla="*/ 7995 h 7995"/>
                <a:gd name="connsiteX8" fmla="*/ 532552 w 613152"/>
                <a:gd name="connsiteY8" fmla="*/ 0 h 7995"/>
                <a:gd name="connsiteX9" fmla="*/ 479049 w 613152"/>
                <a:gd name="connsiteY9" fmla="*/ 0 h 7995"/>
                <a:gd name="connsiteX10" fmla="*/ 398449 w 613152"/>
                <a:gd name="connsiteY10" fmla="*/ 0 h 7995"/>
                <a:gd name="connsiteX11" fmla="*/ 398449 w 613152"/>
                <a:gd name="connsiteY11" fmla="*/ 7995 h 7995"/>
                <a:gd name="connsiteX12" fmla="*/ 451952 w 613152"/>
                <a:gd name="connsiteY12" fmla="*/ 7995 h 7995"/>
                <a:gd name="connsiteX13" fmla="*/ 451952 w 613152"/>
                <a:gd name="connsiteY13" fmla="*/ 0 h 7995"/>
                <a:gd name="connsiteX14" fmla="*/ 398449 w 613152"/>
                <a:gd name="connsiteY14" fmla="*/ 0 h 7995"/>
                <a:gd name="connsiteX15" fmla="*/ 317918 w 613152"/>
                <a:gd name="connsiteY15" fmla="*/ 0 h 7995"/>
                <a:gd name="connsiteX16" fmla="*/ 317918 w 613152"/>
                <a:gd name="connsiteY16" fmla="*/ 7995 h 7995"/>
                <a:gd name="connsiteX17" fmla="*/ 371421 w 613152"/>
                <a:gd name="connsiteY17" fmla="*/ 7995 h 7995"/>
                <a:gd name="connsiteX18" fmla="*/ 371421 w 613152"/>
                <a:gd name="connsiteY18" fmla="*/ 0 h 7995"/>
                <a:gd name="connsiteX19" fmla="*/ 317918 w 613152"/>
                <a:gd name="connsiteY19" fmla="*/ 0 h 7995"/>
                <a:gd name="connsiteX20" fmla="*/ 237318 w 613152"/>
                <a:gd name="connsiteY20" fmla="*/ 0 h 7995"/>
                <a:gd name="connsiteX21" fmla="*/ 237318 w 613152"/>
                <a:gd name="connsiteY21" fmla="*/ 7995 h 7995"/>
                <a:gd name="connsiteX22" fmla="*/ 290822 w 613152"/>
                <a:gd name="connsiteY22" fmla="*/ 7995 h 7995"/>
                <a:gd name="connsiteX23" fmla="*/ 290822 w 613152"/>
                <a:gd name="connsiteY23" fmla="*/ 0 h 7995"/>
                <a:gd name="connsiteX24" fmla="*/ 237318 w 613152"/>
                <a:gd name="connsiteY24" fmla="*/ 0 h 7995"/>
                <a:gd name="connsiteX25" fmla="*/ 156787 w 613152"/>
                <a:gd name="connsiteY25" fmla="*/ 0 h 7995"/>
                <a:gd name="connsiteX26" fmla="*/ 156787 w 613152"/>
                <a:gd name="connsiteY26" fmla="*/ 7995 h 7995"/>
                <a:gd name="connsiteX27" fmla="*/ 210291 w 613152"/>
                <a:gd name="connsiteY27" fmla="*/ 7995 h 7995"/>
                <a:gd name="connsiteX28" fmla="*/ 210291 w 613152"/>
                <a:gd name="connsiteY28" fmla="*/ 0 h 7995"/>
                <a:gd name="connsiteX29" fmla="*/ 156787 w 613152"/>
                <a:gd name="connsiteY29" fmla="*/ 0 h 7995"/>
                <a:gd name="connsiteX30" fmla="*/ 76187 w 613152"/>
                <a:gd name="connsiteY30" fmla="*/ 0 h 7995"/>
                <a:gd name="connsiteX31" fmla="*/ 76187 w 613152"/>
                <a:gd name="connsiteY31" fmla="*/ 7995 h 7995"/>
                <a:gd name="connsiteX32" fmla="*/ 129691 w 613152"/>
                <a:gd name="connsiteY32" fmla="*/ 7995 h 7995"/>
                <a:gd name="connsiteX33" fmla="*/ 129691 w 613152"/>
                <a:gd name="connsiteY33" fmla="*/ 0 h 7995"/>
                <a:gd name="connsiteX34" fmla="*/ 76187 w 613152"/>
                <a:gd name="connsiteY34" fmla="*/ 0 h 7995"/>
                <a:gd name="connsiteX35" fmla="*/ 0 w 613152"/>
                <a:gd name="connsiteY35" fmla="*/ 0 h 7995"/>
                <a:gd name="connsiteX36" fmla="*/ 0 w 613152"/>
                <a:gd name="connsiteY36" fmla="*/ 7995 h 7995"/>
                <a:gd name="connsiteX37" fmla="*/ 49091 w 613152"/>
                <a:gd name="connsiteY37" fmla="*/ 7995 h 7995"/>
                <a:gd name="connsiteX38" fmla="*/ 49091 w 613152"/>
                <a:gd name="connsiteY38" fmla="*/ 0 h 7995"/>
                <a:gd name="connsiteX39" fmla="*/ 0 w 613152"/>
                <a:gd name="connsiteY39" fmla="*/ 0 h 7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613152" h="7995">
                  <a:moveTo>
                    <a:pt x="559649" y="0"/>
                  </a:moveTo>
                  <a:cubicBezTo>
                    <a:pt x="559649" y="1792"/>
                    <a:pt x="559649" y="6203"/>
                    <a:pt x="559649" y="7995"/>
                  </a:cubicBezTo>
                  <a:cubicBezTo>
                    <a:pt x="562200" y="7995"/>
                    <a:pt x="610601" y="7995"/>
                    <a:pt x="613152" y="7995"/>
                  </a:cubicBezTo>
                  <a:cubicBezTo>
                    <a:pt x="613152" y="6203"/>
                    <a:pt x="613152" y="1792"/>
                    <a:pt x="613152" y="0"/>
                  </a:cubicBezTo>
                  <a:cubicBezTo>
                    <a:pt x="610532" y="0"/>
                    <a:pt x="562200" y="0"/>
                    <a:pt x="559649" y="0"/>
                  </a:cubicBezTo>
                  <a:close/>
                  <a:moveTo>
                    <a:pt x="479049" y="0"/>
                  </a:moveTo>
                  <a:cubicBezTo>
                    <a:pt x="479049" y="1792"/>
                    <a:pt x="479049" y="6203"/>
                    <a:pt x="479049" y="7995"/>
                  </a:cubicBezTo>
                  <a:cubicBezTo>
                    <a:pt x="481600" y="7995"/>
                    <a:pt x="530001" y="7995"/>
                    <a:pt x="532552" y="7995"/>
                  </a:cubicBezTo>
                  <a:cubicBezTo>
                    <a:pt x="532552" y="6203"/>
                    <a:pt x="532552" y="1792"/>
                    <a:pt x="532552" y="0"/>
                  </a:cubicBezTo>
                  <a:cubicBezTo>
                    <a:pt x="530001" y="0"/>
                    <a:pt x="481600" y="0"/>
                    <a:pt x="479049" y="0"/>
                  </a:cubicBezTo>
                  <a:close/>
                  <a:moveTo>
                    <a:pt x="398449" y="0"/>
                  </a:moveTo>
                  <a:cubicBezTo>
                    <a:pt x="398449" y="1792"/>
                    <a:pt x="398449" y="6203"/>
                    <a:pt x="398449" y="7995"/>
                  </a:cubicBezTo>
                  <a:cubicBezTo>
                    <a:pt x="401000" y="7995"/>
                    <a:pt x="449401" y="7995"/>
                    <a:pt x="451952" y="7995"/>
                  </a:cubicBezTo>
                  <a:cubicBezTo>
                    <a:pt x="451952" y="6203"/>
                    <a:pt x="451952" y="1792"/>
                    <a:pt x="451952" y="0"/>
                  </a:cubicBezTo>
                  <a:cubicBezTo>
                    <a:pt x="449401" y="0"/>
                    <a:pt x="401069" y="0"/>
                    <a:pt x="398449" y="0"/>
                  </a:cubicBezTo>
                  <a:close/>
                  <a:moveTo>
                    <a:pt x="317918" y="0"/>
                  </a:moveTo>
                  <a:cubicBezTo>
                    <a:pt x="317918" y="1792"/>
                    <a:pt x="317918" y="6203"/>
                    <a:pt x="317918" y="7995"/>
                  </a:cubicBezTo>
                  <a:cubicBezTo>
                    <a:pt x="320469" y="7995"/>
                    <a:pt x="368870" y="7995"/>
                    <a:pt x="371421" y="7995"/>
                  </a:cubicBezTo>
                  <a:cubicBezTo>
                    <a:pt x="371421" y="6203"/>
                    <a:pt x="371421" y="1792"/>
                    <a:pt x="371421" y="0"/>
                  </a:cubicBezTo>
                  <a:cubicBezTo>
                    <a:pt x="368801" y="0"/>
                    <a:pt x="320469" y="0"/>
                    <a:pt x="317918" y="0"/>
                  </a:cubicBezTo>
                  <a:close/>
                  <a:moveTo>
                    <a:pt x="237318" y="0"/>
                  </a:moveTo>
                  <a:cubicBezTo>
                    <a:pt x="237318" y="1792"/>
                    <a:pt x="237318" y="6203"/>
                    <a:pt x="237318" y="7995"/>
                  </a:cubicBezTo>
                  <a:cubicBezTo>
                    <a:pt x="239869" y="7995"/>
                    <a:pt x="288270" y="7995"/>
                    <a:pt x="290822" y="7995"/>
                  </a:cubicBezTo>
                  <a:cubicBezTo>
                    <a:pt x="290822" y="6203"/>
                    <a:pt x="290822" y="1792"/>
                    <a:pt x="290822" y="0"/>
                  </a:cubicBezTo>
                  <a:cubicBezTo>
                    <a:pt x="288270" y="0"/>
                    <a:pt x="239869" y="0"/>
                    <a:pt x="237318" y="0"/>
                  </a:cubicBezTo>
                  <a:close/>
                  <a:moveTo>
                    <a:pt x="156787" y="0"/>
                  </a:moveTo>
                  <a:cubicBezTo>
                    <a:pt x="156787" y="1792"/>
                    <a:pt x="156787" y="6203"/>
                    <a:pt x="156787" y="7995"/>
                  </a:cubicBezTo>
                  <a:cubicBezTo>
                    <a:pt x="159338" y="7995"/>
                    <a:pt x="207740" y="7995"/>
                    <a:pt x="210291" y="7995"/>
                  </a:cubicBezTo>
                  <a:cubicBezTo>
                    <a:pt x="210291" y="6203"/>
                    <a:pt x="210291" y="1792"/>
                    <a:pt x="210291" y="0"/>
                  </a:cubicBezTo>
                  <a:cubicBezTo>
                    <a:pt x="207671" y="0"/>
                    <a:pt x="159338" y="0"/>
                    <a:pt x="156787" y="0"/>
                  </a:cubicBezTo>
                  <a:close/>
                  <a:moveTo>
                    <a:pt x="76187" y="0"/>
                  </a:moveTo>
                  <a:cubicBezTo>
                    <a:pt x="76187" y="1792"/>
                    <a:pt x="76187" y="6203"/>
                    <a:pt x="76187" y="7995"/>
                  </a:cubicBezTo>
                  <a:cubicBezTo>
                    <a:pt x="78738" y="7995"/>
                    <a:pt x="127140" y="7995"/>
                    <a:pt x="129691" y="7995"/>
                  </a:cubicBezTo>
                  <a:cubicBezTo>
                    <a:pt x="129691" y="6203"/>
                    <a:pt x="129691" y="1792"/>
                    <a:pt x="129691" y="0"/>
                  </a:cubicBezTo>
                  <a:cubicBezTo>
                    <a:pt x="127071" y="0"/>
                    <a:pt x="78738" y="0"/>
                    <a:pt x="76187" y="0"/>
                  </a:cubicBezTo>
                  <a:close/>
                  <a:moveTo>
                    <a:pt x="0" y="0"/>
                  </a:moveTo>
                  <a:cubicBezTo>
                    <a:pt x="0" y="1792"/>
                    <a:pt x="0" y="6203"/>
                    <a:pt x="0" y="7995"/>
                  </a:cubicBezTo>
                  <a:cubicBezTo>
                    <a:pt x="2551" y="7995"/>
                    <a:pt x="46540" y="7995"/>
                    <a:pt x="49091" y="7995"/>
                  </a:cubicBezTo>
                  <a:cubicBezTo>
                    <a:pt x="49091" y="6203"/>
                    <a:pt x="49091" y="1792"/>
                    <a:pt x="49091" y="0"/>
                  </a:cubicBezTo>
                  <a:cubicBezTo>
                    <a:pt x="46540" y="0"/>
                    <a:pt x="2551" y="0"/>
                    <a:pt x="0" y="0"/>
                  </a:cubicBezTo>
                  <a:close/>
                </a:path>
              </a:pathLst>
            </a:custGeom>
            <a:solidFill>
              <a:srgbClr val="E4E4E4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207112">
                <a:defRPr/>
              </a:pPr>
              <a:endParaRPr lang="nl-NL" sz="1359" kern="0" dirty="0">
                <a:solidFill>
                  <a:srgbClr val="7C7C7C"/>
                </a:solidFill>
                <a:latin typeface="Roboto Condensed"/>
              </a:endParaRPr>
            </a:p>
          </p:txBody>
        </p:sp>
        <p:sp>
          <p:nvSpPr>
            <p:cNvPr id="1201" name="Freeform 11">
              <a:extLst>
                <a:ext uri="{FF2B5EF4-FFF2-40B4-BE49-F238E27FC236}">
                  <a16:creationId xmlns:a16="http://schemas.microsoft.com/office/drawing/2014/main" id="{D471D8AF-8D30-7E63-AEFB-A61520E5C5C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13207" y="1563761"/>
              <a:ext cx="613083" cy="7995"/>
            </a:xfrm>
            <a:custGeom>
              <a:avLst/>
              <a:gdLst>
                <a:gd name="connsiteX0" fmla="*/ 559580 w 613083"/>
                <a:gd name="connsiteY0" fmla="*/ 0 h 7995"/>
                <a:gd name="connsiteX1" fmla="*/ 559580 w 613083"/>
                <a:gd name="connsiteY1" fmla="*/ 7995 h 7995"/>
                <a:gd name="connsiteX2" fmla="*/ 613083 w 613083"/>
                <a:gd name="connsiteY2" fmla="*/ 7995 h 7995"/>
                <a:gd name="connsiteX3" fmla="*/ 613083 w 613083"/>
                <a:gd name="connsiteY3" fmla="*/ 0 h 7995"/>
                <a:gd name="connsiteX4" fmla="*/ 559580 w 613083"/>
                <a:gd name="connsiteY4" fmla="*/ 0 h 7995"/>
                <a:gd name="connsiteX5" fmla="*/ 478980 w 613083"/>
                <a:gd name="connsiteY5" fmla="*/ 0 h 7995"/>
                <a:gd name="connsiteX6" fmla="*/ 478980 w 613083"/>
                <a:gd name="connsiteY6" fmla="*/ 7995 h 7995"/>
                <a:gd name="connsiteX7" fmla="*/ 532483 w 613083"/>
                <a:gd name="connsiteY7" fmla="*/ 7995 h 7995"/>
                <a:gd name="connsiteX8" fmla="*/ 532483 w 613083"/>
                <a:gd name="connsiteY8" fmla="*/ 0 h 7995"/>
                <a:gd name="connsiteX9" fmla="*/ 478980 w 613083"/>
                <a:gd name="connsiteY9" fmla="*/ 0 h 7995"/>
                <a:gd name="connsiteX10" fmla="*/ 398449 w 613083"/>
                <a:gd name="connsiteY10" fmla="*/ 0 h 7995"/>
                <a:gd name="connsiteX11" fmla="*/ 398449 w 613083"/>
                <a:gd name="connsiteY11" fmla="*/ 7995 h 7995"/>
                <a:gd name="connsiteX12" fmla="*/ 451952 w 613083"/>
                <a:gd name="connsiteY12" fmla="*/ 7995 h 7995"/>
                <a:gd name="connsiteX13" fmla="*/ 451952 w 613083"/>
                <a:gd name="connsiteY13" fmla="*/ 0 h 7995"/>
                <a:gd name="connsiteX14" fmla="*/ 398449 w 613083"/>
                <a:gd name="connsiteY14" fmla="*/ 0 h 7995"/>
                <a:gd name="connsiteX15" fmla="*/ 317849 w 613083"/>
                <a:gd name="connsiteY15" fmla="*/ 0 h 7995"/>
                <a:gd name="connsiteX16" fmla="*/ 317849 w 613083"/>
                <a:gd name="connsiteY16" fmla="*/ 7995 h 7995"/>
                <a:gd name="connsiteX17" fmla="*/ 371352 w 613083"/>
                <a:gd name="connsiteY17" fmla="*/ 7995 h 7995"/>
                <a:gd name="connsiteX18" fmla="*/ 371352 w 613083"/>
                <a:gd name="connsiteY18" fmla="*/ 0 h 7995"/>
                <a:gd name="connsiteX19" fmla="*/ 317849 w 613083"/>
                <a:gd name="connsiteY19" fmla="*/ 0 h 7995"/>
                <a:gd name="connsiteX20" fmla="*/ 237249 w 613083"/>
                <a:gd name="connsiteY20" fmla="*/ 0 h 7995"/>
                <a:gd name="connsiteX21" fmla="*/ 237249 w 613083"/>
                <a:gd name="connsiteY21" fmla="*/ 7995 h 7995"/>
                <a:gd name="connsiteX22" fmla="*/ 290753 w 613083"/>
                <a:gd name="connsiteY22" fmla="*/ 7995 h 7995"/>
                <a:gd name="connsiteX23" fmla="*/ 290753 w 613083"/>
                <a:gd name="connsiteY23" fmla="*/ 0 h 7995"/>
                <a:gd name="connsiteX24" fmla="*/ 237249 w 613083"/>
                <a:gd name="connsiteY24" fmla="*/ 0 h 7995"/>
                <a:gd name="connsiteX25" fmla="*/ 156718 w 613083"/>
                <a:gd name="connsiteY25" fmla="*/ 0 h 7995"/>
                <a:gd name="connsiteX26" fmla="*/ 156718 w 613083"/>
                <a:gd name="connsiteY26" fmla="*/ 7995 h 7995"/>
                <a:gd name="connsiteX27" fmla="*/ 210222 w 613083"/>
                <a:gd name="connsiteY27" fmla="*/ 7995 h 7995"/>
                <a:gd name="connsiteX28" fmla="*/ 210222 w 613083"/>
                <a:gd name="connsiteY28" fmla="*/ 0 h 7995"/>
                <a:gd name="connsiteX29" fmla="*/ 156718 w 613083"/>
                <a:gd name="connsiteY29" fmla="*/ 0 h 7995"/>
                <a:gd name="connsiteX30" fmla="*/ 76118 w 613083"/>
                <a:gd name="connsiteY30" fmla="*/ 0 h 7995"/>
                <a:gd name="connsiteX31" fmla="*/ 76118 w 613083"/>
                <a:gd name="connsiteY31" fmla="*/ 7995 h 7995"/>
                <a:gd name="connsiteX32" fmla="*/ 129622 w 613083"/>
                <a:gd name="connsiteY32" fmla="*/ 7995 h 7995"/>
                <a:gd name="connsiteX33" fmla="*/ 129622 w 613083"/>
                <a:gd name="connsiteY33" fmla="*/ 0 h 7995"/>
                <a:gd name="connsiteX34" fmla="*/ 76118 w 613083"/>
                <a:gd name="connsiteY34" fmla="*/ 0 h 7995"/>
                <a:gd name="connsiteX35" fmla="*/ 0 w 613083"/>
                <a:gd name="connsiteY35" fmla="*/ 0 h 7995"/>
                <a:gd name="connsiteX36" fmla="*/ 0 w 613083"/>
                <a:gd name="connsiteY36" fmla="*/ 7995 h 7995"/>
                <a:gd name="connsiteX37" fmla="*/ 49091 w 613083"/>
                <a:gd name="connsiteY37" fmla="*/ 7995 h 7995"/>
                <a:gd name="connsiteX38" fmla="*/ 49091 w 613083"/>
                <a:gd name="connsiteY38" fmla="*/ 0 h 7995"/>
                <a:gd name="connsiteX39" fmla="*/ 0 w 613083"/>
                <a:gd name="connsiteY39" fmla="*/ 0 h 7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613083" h="7995">
                  <a:moveTo>
                    <a:pt x="559580" y="0"/>
                  </a:moveTo>
                  <a:cubicBezTo>
                    <a:pt x="559580" y="1792"/>
                    <a:pt x="559580" y="6203"/>
                    <a:pt x="559580" y="7995"/>
                  </a:cubicBezTo>
                  <a:cubicBezTo>
                    <a:pt x="562131" y="7995"/>
                    <a:pt x="610532" y="7995"/>
                    <a:pt x="613083" y="7995"/>
                  </a:cubicBezTo>
                  <a:cubicBezTo>
                    <a:pt x="613083" y="6203"/>
                    <a:pt x="613083" y="1792"/>
                    <a:pt x="613083" y="0"/>
                  </a:cubicBezTo>
                  <a:cubicBezTo>
                    <a:pt x="610532" y="0"/>
                    <a:pt x="562131" y="0"/>
                    <a:pt x="559580" y="0"/>
                  </a:cubicBezTo>
                  <a:close/>
                  <a:moveTo>
                    <a:pt x="478980" y="0"/>
                  </a:moveTo>
                  <a:cubicBezTo>
                    <a:pt x="478980" y="1792"/>
                    <a:pt x="478980" y="6203"/>
                    <a:pt x="478980" y="7995"/>
                  </a:cubicBezTo>
                  <a:cubicBezTo>
                    <a:pt x="481531" y="7995"/>
                    <a:pt x="529932" y="7995"/>
                    <a:pt x="532483" y="7995"/>
                  </a:cubicBezTo>
                  <a:cubicBezTo>
                    <a:pt x="532483" y="6203"/>
                    <a:pt x="532483" y="1792"/>
                    <a:pt x="532483" y="0"/>
                  </a:cubicBezTo>
                  <a:cubicBezTo>
                    <a:pt x="529932" y="0"/>
                    <a:pt x="481531" y="0"/>
                    <a:pt x="478980" y="0"/>
                  </a:cubicBezTo>
                  <a:close/>
                  <a:moveTo>
                    <a:pt x="398449" y="0"/>
                  </a:moveTo>
                  <a:cubicBezTo>
                    <a:pt x="398449" y="1792"/>
                    <a:pt x="398449" y="6203"/>
                    <a:pt x="398449" y="7995"/>
                  </a:cubicBezTo>
                  <a:cubicBezTo>
                    <a:pt x="401000" y="7995"/>
                    <a:pt x="449401" y="7995"/>
                    <a:pt x="451952" y="7995"/>
                  </a:cubicBezTo>
                  <a:cubicBezTo>
                    <a:pt x="451952" y="6203"/>
                    <a:pt x="451952" y="1792"/>
                    <a:pt x="451952" y="0"/>
                  </a:cubicBezTo>
                  <a:cubicBezTo>
                    <a:pt x="449332" y="0"/>
                    <a:pt x="401000" y="0"/>
                    <a:pt x="398449" y="0"/>
                  </a:cubicBezTo>
                  <a:close/>
                  <a:moveTo>
                    <a:pt x="317849" y="0"/>
                  </a:moveTo>
                  <a:cubicBezTo>
                    <a:pt x="317849" y="1792"/>
                    <a:pt x="317849" y="6203"/>
                    <a:pt x="317849" y="7995"/>
                  </a:cubicBezTo>
                  <a:cubicBezTo>
                    <a:pt x="320400" y="7995"/>
                    <a:pt x="368801" y="7995"/>
                    <a:pt x="371352" y="7995"/>
                  </a:cubicBezTo>
                  <a:cubicBezTo>
                    <a:pt x="371352" y="6203"/>
                    <a:pt x="371352" y="1792"/>
                    <a:pt x="371352" y="0"/>
                  </a:cubicBezTo>
                  <a:cubicBezTo>
                    <a:pt x="368801" y="0"/>
                    <a:pt x="320400" y="0"/>
                    <a:pt x="317849" y="0"/>
                  </a:cubicBezTo>
                  <a:close/>
                  <a:moveTo>
                    <a:pt x="237249" y="0"/>
                  </a:moveTo>
                  <a:cubicBezTo>
                    <a:pt x="237249" y="1792"/>
                    <a:pt x="237249" y="6203"/>
                    <a:pt x="237249" y="7995"/>
                  </a:cubicBezTo>
                  <a:cubicBezTo>
                    <a:pt x="239800" y="7995"/>
                    <a:pt x="288201" y="7995"/>
                    <a:pt x="290753" y="7995"/>
                  </a:cubicBezTo>
                  <a:cubicBezTo>
                    <a:pt x="290753" y="6203"/>
                    <a:pt x="290753" y="1792"/>
                    <a:pt x="290753" y="0"/>
                  </a:cubicBezTo>
                  <a:cubicBezTo>
                    <a:pt x="288201" y="0"/>
                    <a:pt x="239869" y="0"/>
                    <a:pt x="237249" y="0"/>
                  </a:cubicBezTo>
                  <a:close/>
                  <a:moveTo>
                    <a:pt x="156718" y="0"/>
                  </a:moveTo>
                  <a:cubicBezTo>
                    <a:pt x="156718" y="1792"/>
                    <a:pt x="156718" y="6203"/>
                    <a:pt x="156718" y="7995"/>
                  </a:cubicBezTo>
                  <a:cubicBezTo>
                    <a:pt x="159269" y="7995"/>
                    <a:pt x="207671" y="7995"/>
                    <a:pt x="210222" y="7995"/>
                  </a:cubicBezTo>
                  <a:cubicBezTo>
                    <a:pt x="210222" y="6203"/>
                    <a:pt x="210222" y="1792"/>
                    <a:pt x="210222" y="0"/>
                  </a:cubicBezTo>
                  <a:cubicBezTo>
                    <a:pt x="207602" y="0"/>
                    <a:pt x="159269" y="0"/>
                    <a:pt x="156718" y="0"/>
                  </a:cubicBezTo>
                  <a:close/>
                  <a:moveTo>
                    <a:pt x="76118" y="0"/>
                  </a:moveTo>
                  <a:cubicBezTo>
                    <a:pt x="76118" y="1792"/>
                    <a:pt x="76118" y="6203"/>
                    <a:pt x="76118" y="7995"/>
                  </a:cubicBezTo>
                  <a:cubicBezTo>
                    <a:pt x="78669" y="7995"/>
                    <a:pt x="127071" y="7995"/>
                    <a:pt x="129622" y="7995"/>
                  </a:cubicBezTo>
                  <a:cubicBezTo>
                    <a:pt x="129622" y="6203"/>
                    <a:pt x="129622" y="1792"/>
                    <a:pt x="129622" y="0"/>
                  </a:cubicBezTo>
                  <a:cubicBezTo>
                    <a:pt x="127071" y="0"/>
                    <a:pt x="78669" y="0"/>
                    <a:pt x="76118" y="0"/>
                  </a:cubicBezTo>
                  <a:close/>
                  <a:moveTo>
                    <a:pt x="0" y="0"/>
                  </a:moveTo>
                  <a:cubicBezTo>
                    <a:pt x="0" y="1792"/>
                    <a:pt x="0" y="6203"/>
                    <a:pt x="0" y="7995"/>
                  </a:cubicBezTo>
                  <a:cubicBezTo>
                    <a:pt x="2551" y="7995"/>
                    <a:pt x="46540" y="7995"/>
                    <a:pt x="49091" y="7995"/>
                  </a:cubicBezTo>
                  <a:cubicBezTo>
                    <a:pt x="49091" y="6203"/>
                    <a:pt x="49091" y="1792"/>
                    <a:pt x="49091" y="0"/>
                  </a:cubicBezTo>
                  <a:cubicBezTo>
                    <a:pt x="46540" y="0"/>
                    <a:pt x="2551" y="0"/>
                    <a:pt x="0" y="0"/>
                  </a:cubicBezTo>
                  <a:close/>
                </a:path>
              </a:pathLst>
            </a:custGeom>
            <a:solidFill>
              <a:srgbClr val="E4E4E4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207112">
                <a:defRPr/>
              </a:pPr>
              <a:endParaRPr lang="nl-NL" sz="1359" kern="0" dirty="0">
                <a:solidFill>
                  <a:srgbClr val="7C7C7C"/>
                </a:solidFill>
                <a:latin typeface="Roboto Condensed"/>
              </a:endParaRPr>
            </a:p>
          </p:txBody>
        </p:sp>
        <p:sp>
          <p:nvSpPr>
            <p:cNvPr id="1202" name="Freeform 12">
              <a:extLst>
                <a:ext uri="{FF2B5EF4-FFF2-40B4-BE49-F238E27FC236}">
                  <a16:creationId xmlns:a16="http://schemas.microsoft.com/office/drawing/2014/main" id="{8104B8E8-F0B1-3002-09C4-2CDC4CE10B0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28264" y="1563761"/>
              <a:ext cx="53503" cy="7995"/>
            </a:xfrm>
            <a:custGeom>
              <a:avLst/>
              <a:gdLst>
                <a:gd name="connsiteX0" fmla="*/ 0 w 53503"/>
                <a:gd name="connsiteY0" fmla="*/ 0 h 7995"/>
                <a:gd name="connsiteX1" fmla="*/ 0 w 53503"/>
                <a:gd name="connsiteY1" fmla="*/ 7995 h 7995"/>
                <a:gd name="connsiteX2" fmla="*/ 53503 w 53503"/>
                <a:gd name="connsiteY2" fmla="*/ 7995 h 7995"/>
                <a:gd name="connsiteX3" fmla="*/ 53503 w 53503"/>
                <a:gd name="connsiteY3" fmla="*/ 0 h 7995"/>
                <a:gd name="connsiteX4" fmla="*/ 0 w 53503"/>
                <a:gd name="connsiteY4" fmla="*/ 0 h 7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503" h="7995">
                  <a:moveTo>
                    <a:pt x="0" y="0"/>
                  </a:moveTo>
                  <a:cubicBezTo>
                    <a:pt x="0" y="1792"/>
                    <a:pt x="0" y="6203"/>
                    <a:pt x="0" y="7995"/>
                  </a:cubicBezTo>
                  <a:cubicBezTo>
                    <a:pt x="2551" y="7995"/>
                    <a:pt x="50952" y="7995"/>
                    <a:pt x="53503" y="7995"/>
                  </a:cubicBezTo>
                  <a:cubicBezTo>
                    <a:pt x="53503" y="6203"/>
                    <a:pt x="53503" y="1792"/>
                    <a:pt x="53503" y="0"/>
                  </a:cubicBezTo>
                  <a:cubicBezTo>
                    <a:pt x="50952" y="0"/>
                    <a:pt x="2551" y="0"/>
                    <a:pt x="0" y="0"/>
                  </a:cubicBezTo>
                  <a:close/>
                </a:path>
              </a:pathLst>
            </a:custGeom>
            <a:solidFill>
              <a:srgbClr val="E4E4E4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207112">
                <a:defRPr/>
              </a:pPr>
              <a:endParaRPr lang="nl-NL" sz="1359" kern="0" dirty="0">
                <a:solidFill>
                  <a:srgbClr val="7C7C7C"/>
                </a:solidFill>
                <a:latin typeface="Roboto Condensed"/>
              </a:endParaRPr>
            </a:p>
          </p:txBody>
        </p:sp>
        <p:grpSp>
          <p:nvGrpSpPr>
            <p:cNvPr id="1203" name="Graphic 4">
              <a:extLst>
                <a:ext uri="{FF2B5EF4-FFF2-40B4-BE49-F238E27FC236}">
                  <a16:creationId xmlns:a16="http://schemas.microsoft.com/office/drawing/2014/main" id="{85B5279B-32A1-2374-04A2-59C40D61F3B3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15508" y="1463821"/>
              <a:ext cx="1362269" cy="207807"/>
              <a:chOff x="515508" y="1463821"/>
              <a:chExt cx="1362269" cy="207807"/>
            </a:xfrm>
            <a:solidFill>
              <a:srgbClr val="E4E4E4"/>
            </a:solidFill>
          </p:grpSpPr>
          <p:sp>
            <p:nvSpPr>
              <p:cNvPr id="1204" name="Freeform 14">
                <a:extLst>
                  <a:ext uri="{FF2B5EF4-FFF2-40B4-BE49-F238E27FC236}">
                    <a16:creationId xmlns:a16="http://schemas.microsoft.com/office/drawing/2014/main" id="{4AD7953D-2991-4AEB-CE49-9D0E6673A486}"/>
                  </a:ext>
                </a:extLst>
              </p:cNvPr>
              <p:cNvSpPr/>
              <p:nvPr/>
            </p:nvSpPr>
            <p:spPr>
              <a:xfrm>
                <a:off x="515508" y="1663357"/>
                <a:ext cx="1362269" cy="8270"/>
              </a:xfrm>
              <a:custGeom>
                <a:avLst/>
                <a:gdLst>
                  <a:gd name="connsiteX0" fmla="*/ 0 w 1362269"/>
                  <a:gd name="connsiteY0" fmla="*/ 0 h 8270"/>
                  <a:gd name="connsiteX1" fmla="*/ 1362269 w 1362269"/>
                  <a:gd name="connsiteY1" fmla="*/ 0 h 8270"/>
                  <a:gd name="connsiteX2" fmla="*/ 1362269 w 1362269"/>
                  <a:gd name="connsiteY2" fmla="*/ 8271 h 8270"/>
                  <a:gd name="connsiteX3" fmla="*/ 0 w 1362269"/>
                  <a:gd name="connsiteY3" fmla="*/ 8271 h 8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62269" h="8270">
                    <a:moveTo>
                      <a:pt x="0" y="0"/>
                    </a:moveTo>
                    <a:lnTo>
                      <a:pt x="1362269" y="0"/>
                    </a:lnTo>
                    <a:lnTo>
                      <a:pt x="1362269" y="8271"/>
                    </a:lnTo>
                    <a:lnTo>
                      <a:pt x="0" y="8271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207112">
                  <a:defRPr/>
                </a:pPr>
                <a:endParaRPr lang="nl-NL" sz="1359" kern="0" dirty="0">
                  <a:solidFill>
                    <a:srgbClr val="7C7C7C"/>
                  </a:solidFill>
                  <a:latin typeface="Roboto Condensed"/>
                </a:endParaRPr>
              </a:p>
            </p:txBody>
          </p:sp>
          <p:sp>
            <p:nvSpPr>
              <p:cNvPr id="1205" name="Freeform 15">
                <a:extLst>
                  <a:ext uri="{FF2B5EF4-FFF2-40B4-BE49-F238E27FC236}">
                    <a16:creationId xmlns:a16="http://schemas.microsoft.com/office/drawing/2014/main" id="{A190A356-D464-A9E5-EA93-B32FDBDC1E6E}"/>
                  </a:ext>
                </a:extLst>
              </p:cNvPr>
              <p:cNvSpPr/>
              <p:nvPr/>
            </p:nvSpPr>
            <p:spPr>
              <a:xfrm>
                <a:off x="515508" y="1463821"/>
                <a:ext cx="1362269" cy="8270"/>
              </a:xfrm>
              <a:custGeom>
                <a:avLst/>
                <a:gdLst>
                  <a:gd name="connsiteX0" fmla="*/ 0 w 1362269"/>
                  <a:gd name="connsiteY0" fmla="*/ 0 h 8270"/>
                  <a:gd name="connsiteX1" fmla="*/ 1362269 w 1362269"/>
                  <a:gd name="connsiteY1" fmla="*/ 0 h 8270"/>
                  <a:gd name="connsiteX2" fmla="*/ 1362269 w 1362269"/>
                  <a:gd name="connsiteY2" fmla="*/ 8271 h 8270"/>
                  <a:gd name="connsiteX3" fmla="*/ 0 w 1362269"/>
                  <a:gd name="connsiteY3" fmla="*/ 8271 h 8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62269" h="8270">
                    <a:moveTo>
                      <a:pt x="0" y="0"/>
                    </a:moveTo>
                    <a:lnTo>
                      <a:pt x="1362269" y="0"/>
                    </a:lnTo>
                    <a:lnTo>
                      <a:pt x="1362269" y="8271"/>
                    </a:lnTo>
                    <a:lnTo>
                      <a:pt x="0" y="8271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207112">
                  <a:defRPr/>
                </a:pPr>
                <a:endParaRPr lang="nl-NL" sz="1359" kern="0" dirty="0">
                  <a:solidFill>
                    <a:srgbClr val="7C7C7C"/>
                  </a:solidFill>
                  <a:latin typeface="Roboto Condensed"/>
                </a:endParaRPr>
              </a:p>
            </p:txBody>
          </p:sp>
        </p:grpSp>
      </p:grpSp>
      <p:grpSp>
        <p:nvGrpSpPr>
          <p:cNvPr id="1214" name="Group 1213">
            <a:extLst>
              <a:ext uri="{FF2B5EF4-FFF2-40B4-BE49-F238E27FC236}">
                <a16:creationId xmlns:a16="http://schemas.microsoft.com/office/drawing/2014/main" id="{BC60C827-0D06-C072-5029-028221C85FB9}"/>
              </a:ext>
            </a:extLst>
          </p:cNvPr>
          <p:cNvGrpSpPr>
            <a:grpSpLocks noChangeAspect="1"/>
          </p:cNvGrpSpPr>
          <p:nvPr/>
        </p:nvGrpSpPr>
        <p:grpSpPr>
          <a:xfrm>
            <a:off x="9106647" y="555590"/>
            <a:ext cx="1647268" cy="592066"/>
            <a:chOff x="515508" y="1450725"/>
            <a:chExt cx="1362269" cy="233999"/>
          </a:xfrm>
        </p:grpSpPr>
        <p:sp>
          <p:nvSpPr>
            <p:cNvPr id="1215" name="Freeform 9">
              <a:extLst>
                <a:ext uri="{FF2B5EF4-FFF2-40B4-BE49-F238E27FC236}">
                  <a16:creationId xmlns:a16="http://schemas.microsoft.com/office/drawing/2014/main" id="{FF78E65C-D774-FF99-097B-96F3B8B3558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15508" y="1450725"/>
              <a:ext cx="1362269" cy="233999"/>
            </a:xfrm>
            <a:custGeom>
              <a:avLst/>
              <a:gdLst>
                <a:gd name="connsiteX0" fmla="*/ 0 w 1362269"/>
                <a:gd name="connsiteY0" fmla="*/ 0 h 233999"/>
                <a:gd name="connsiteX1" fmla="*/ 1362269 w 1362269"/>
                <a:gd name="connsiteY1" fmla="*/ 0 h 233999"/>
                <a:gd name="connsiteX2" fmla="*/ 1362269 w 1362269"/>
                <a:gd name="connsiteY2" fmla="*/ 233999 h 233999"/>
                <a:gd name="connsiteX3" fmla="*/ 0 w 1362269"/>
                <a:gd name="connsiteY3" fmla="*/ 233999 h 233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2269" h="233999">
                  <a:moveTo>
                    <a:pt x="0" y="0"/>
                  </a:moveTo>
                  <a:lnTo>
                    <a:pt x="1362269" y="0"/>
                  </a:lnTo>
                  <a:lnTo>
                    <a:pt x="1362269" y="233999"/>
                  </a:lnTo>
                  <a:lnTo>
                    <a:pt x="0" y="233999"/>
                  </a:lnTo>
                  <a:close/>
                </a:path>
              </a:pathLst>
            </a:custGeom>
            <a:solidFill>
              <a:srgbClr val="60B3BB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207112">
                <a:defRPr/>
              </a:pPr>
              <a:endParaRPr lang="nl-NL" sz="1359" kern="0" dirty="0">
                <a:solidFill>
                  <a:srgbClr val="7C7C7C"/>
                </a:solidFill>
                <a:latin typeface="Roboto Condensed"/>
              </a:endParaRPr>
            </a:p>
          </p:txBody>
        </p:sp>
        <p:sp>
          <p:nvSpPr>
            <p:cNvPr id="1216" name="Freeform 10">
              <a:extLst>
                <a:ext uri="{FF2B5EF4-FFF2-40B4-BE49-F238E27FC236}">
                  <a16:creationId xmlns:a16="http://schemas.microsoft.com/office/drawing/2014/main" id="{37B428EC-7F23-288B-06E2-054A19348FE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53801" y="1563761"/>
              <a:ext cx="613152" cy="7995"/>
            </a:xfrm>
            <a:custGeom>
              <a:avLst/>
              <a:gdLst>
                <a:gd name="connsiteX0" fmla="*/ 559649 w 613152"/>
                <a:gd name="connsiteY0" fmla="*/ 0 h 7995"/>
                <a:gd name="connsiteX1" fmla="*/ 559649 w 613152"/>
                <a:gd name="connsiteY1" fmla="*/ 7995 h 7995"/>
                <a:gd name="connsiteX2" fmla="*/ 613152 w 613152"/>
                <a:gd name="connsiteY2" fmla="*/ 7995 h 7995"/>
                <a:gd name="connsiteX3" fmla="*/ 613152 w 613152"/>
                <a:gd name="connsiteY3" fmla="*/ 0 h 7995"/>
                <a:gd name="connsiteX4" fmla="*/ 559649 w 613152"/>
                <a:gd name="connsiteY4" fmla="*/ 0 h 7995"/>
                <a:gd name="connsiteX5" fmla="*/ 479049 w 613152"/>
                <a:gd name="connsiteY5" fmla="*/ 0 h 7995"/>
                <a:gd name="connsiteX6" fmla="*/ 479049 w 613152"/>
                <a:gd name="connsiteY6" fmla="*/ 7995 h 7995"/>
                <a:gd name="connsiteX7" fmla="*/ 532552 w 613152"/>
                <a:gd name="connsiteY7" fmla="*/ 7995 h 7995"/>
                <a:gd name="connsiteX8" fmla="*/ 532552 w 613152"/>
                <a:gd name="connsiteY8" fmla="*/ 0 h 7995"/>
                <a:gd name="connsiteX9" fmla="*/ 479049 w 613152"/>
                <a:gd name="connsiteY9" fmla="*/ 0 h 7995"/>
                <a:gd name="connsiteX10" fmla="*/ 398449 w 613152"/>
                <a:gd name="connsiteY10" fmla="*/ 0 h 7995"/>
                <a:gd name="connsiteX11" fmla="*/ 398449 w 613152"/>
                <a:gd name="connsiteY11" fmla="*/ 7995 h 7995"/>
                <a:gd name="connsiteX12" fmla="*/ 451952 w 613152"/>
                <a:gd name="connsiteY12" fmla="*/ 7995 h 7995"/>
                <a:gd name="connsiteX13" fmla="*/ 451952 w 613152"/>
                <a:gd name="connsiteY13" fmla="*/ 0 h 7995"/>
                <a:gd name="connsiteX14" fmla="*/ 398449 w 613152"/>
                <a:gd name="connsiteY14" fmla="*/ 0 h 7995"/>
                <a:gd name="connsiteX15" fmla="*/ 317918 w 613152"/>
                <a:gd name="connsiteY15" fmla="*/ 0 h 7995"/>
                <a:gd name="connsiteX16" fmla="*/ 317918 w 613152"/>
                <a:gd name="connsiteY16" fmla="*/ 7995 h 7995"/>
                <a:gd name="connsiteX17" fmla="*/ 371421 w 613152"/>
                <a:gd name="connsiteY17" fmla="*/ 7995 h 7995"/>
                <a:gd name="connsiteX18" fmla="*/ 371421 w 613152"/>
                <a:gd name="connsiteY18" fmla="*/ 0 h 7995"/>
                <a:gd name="connsiteX19" fmla="*/ 317918 w 613152"/>
                <a:gd name="connsiteY19" fmla="*/ 0 h 7995"/>
                <a:gd name="connsiteX20" fmla="*/ 237318 w 613152"/>
                <a:gd name="connsiteY20" fmla="*/ 0 h 7995"/>
                <a:gd name="connsiteX21" fmla="*/ 237318 w 613152"/>
                <a:gd name="connsiteY21" fmla="*/ 7995 h 7995"/>
                <a:gd name="connsiteX22" fmla="*/ 290822 w 613152"/>
                <a:gd name="connsiteY22" fmla="*/ 7995 h 7995"/>
                <a:gd name="connsiteX23" fmla="*/ 290822 w 613152"/>
                <a:gd name="connsiteY23" fmla="*/ 0 h 7995"/>
                <a:gd name="connsiteX24" fmla="*/ 237318 w 613152"/>
                <a:gd name="connsiteY24" fmla="*/ 0 h 7995"/>
                <a:gd name="connsiteX25" fmla="*/ 156787 w 613152"/>
                <a:gd name="connsiteY25" fmla="*/ 0 h 7995"/>
                <a:gd name="connsiteX26" fmla="*/ 156787 w 613152"/>
                <a:gd name="connsiteY26" fmla="*/ 7995 h 7995"/>
                <a:gd name="connsiteX27" fmla="*/ 210291 w 613152"/>
                <a:gd name="connsiteY27" fmla="*/ 7995 h 7995"/>
                <a:gd name="connsiteX28" fmla="*/ 210291 w 613152"/>
                <a:gd name="connsiteY28" fmla="*/ 0 h 7995"/>
                <a:gd name="connsiteX29" fmla="*/ 156787 w 613152"/>
                <a:gd name="connsiteY29" fmla="*/ 0 h 7995"/>
                <a:gd name="connsiteX30" fmla="*/ 76187 w 613152"/>
                <a:gd name="connsiteY30" fmla="*/ 0 h 7995"/>
                <a:gd name="connsiteX31" fmla="*/ 76187 w 613152"/>
                <a:gd name="connsiteY31" fmla="*/ 7995 h 7995"/>
                <a:gd name="connsiteX32" fmla="*/ 129691 w 613152"/>
                <a:gd name="connsiteY32" fmla="*/ 7995 h 7995"/>
                <a:gd name="connsiteX33" fmla="*/ 129691 w 613152"/>
                <a:gd name="connsiteY33" fmla="*/ 0 h 7995"/>
                <a:gd name="connsiteX34" fmla="*/ 76187 w 613152"/>
                <a:gd name="connsiteY34" fmla="*/ 0 h 7995"/>
                <a:gd name="connsiteX35" fmla="*/ 0 w 613152"/>
                <a:gd name="connsiteY35" fmla="*/ 0 h 7995"/>
                <a:gd name="connsiteX36" fmla="*/ 0 w 613152"/>
                <a:gd name="connsiteY36" fmla="*/ 7995 h 7995"/>
                <a:gd name="connsiteX37" fmla="*/ 49091 w 613152"/>
                <a:gd name="connsiteY37" fmla="*/ 7995 h 7995"/>
                <a:gd name="connsiteX38" fmla="*/ 49091 w 613152"/>
                <a:gd name="connsiteY38" fmla="*/ 0 h 7995"/>
                <a:gd name="connsiteX39" fmla="*/ 0 w 613152"/>
                <a:gd name="connsiteY39" fmla="*/ 0 h 7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613152" h="7995">
                  <a:moveTo>
                    <a:pt x="559649" y="0"/>
                  </a:moveTo>
                  <a:cubicBezTo>
                    <a:pt x="559649" y="1792"/>
                    <a:pt x="559649" y="6203"/>
                    <a:pt x="559649" y="7995"/>
                  </a:cubicBezTo>
                  <a:cubicBezTo>
                    <a:pt x="562200" y="7995"/>
                    <a:pt x="610601" y="7995"/>
                    <a:pt x="613152" y="7995"/>
                  </a:cubicBezTo>
                  <a:cubicBezTo>
                    <a:pt x="613152" y="6203"/>
                    <a:pt x="613152" y="1792"/>
                    <a:pt x="613152" y="0"/>
                  </a:cubicBezTo>
                  <a:cubicBezTo>
                    <a:pt x="610532" y="0"/>
                    <a:pt x="562200" y="0"/>
                    <a:pt x="559649" y="0"/>
                  </a:cubicBezTo>
                  <a:close/>
                  <a:moveTo>
                    <a:pt x="479049" y="0"/>
                  </a:moveTo>
                  <a:cubicBezTo>
                    <a:pt x="479049" y="1792"/>
                    <a:pt x="479049" y="6203"/>
                    <a:pt x="479049" y="7995"/>
                  </a:cubicBezTo>
                  <a:cubicBezTo>
                    <a:pt x="481600" y="7995"/>
                    <a:pt x="530001" y="7995"/>
                    <a:pt x="532552" y="7995"/>
                  </a:cubicBezTo>
                  <a:cubicBezTo>
                    <a:pt x="532552" y="6203"/>
                    <a:pt x="532552" y="1792"/>
                    <a:pt x="532552" y="0"/>
                  </a:cubicBezTo>
                  <a:cubicBezTo>
                    <a:pt x="530001" y="0"/>
                    <a:pt x="481600" y="0"/>
                    <a:pt x="479049" y="0"/>
                  </a:cubicBezTo>
                  <a:close/>
                  <a:moveTo>
                    <a:pt x="398449" y="0"/>
                  </a:moveTo>
                  <a:cubicBezTo>
                    <a:pt x="398449" y="1792"/>
                    <a:pt x="398449" y="6203"/>
                    <a:pt x="398449" y="7995"/>
                  </a:cubicBezTo>
                  <a:cubicBezTo>
                    <a:pt x="401000" y="7995"/>
                    <a:pt x="449401" y="7995"/>
                    <a:pt x="451952" y="7995"/>
                  </a:cubicBezTo>
                  <a:cubicBezTo>
                    <a:pt x="451952" y="6203"/>
                    <a:pt x="451952" y="1792"/>
                    <a:pt x="451952" y="0"/>
                  </a:cubicBezTo>
                  <a:cubicBezTo>
                    <a:pt x="449401" y="0"/>
                    <a:pt x="401069" y="0"/>
                    <a:pt x="398449" y="0"/>
                  </a:cubicBezTo>
                  <a:close/>
                  <a:moveTo>
                    <a:pt x="317918" y="0"/>
                  </a:moveTo>
                  <a:cubicBezTo>
                    <a:pt x="317918" y="1792"/>
                    <a:pt x="317918" y="6203"/>
                    <a:pt x="317918" y="7995"/>
                  </a:cubicBezTo>
                  <a:cubicBezTo>
                    <a:pt x="320469" y="7995"/>
                    <a:pt x="368870" y="7995"/>
                    <a:pt x="371421" y="7995"/>
                  </a:cubicBezTo>
                  <a:cubicBezTo>
                    <a:pt x="371421" y="6203"/>
                    <a:pt x="371421" y="1792"/>
                    <a:pt x="371421" y="0"/>
                  </a:cubicBezTo>
                  <a:cubicBezTo>
                    <a:pt x="368801" y="0"/>
                    <a:pt x="320469" y="0"/>
                    <a:pt x="317918" y="0"/>
                  </a:cubicBezTo>
                  <a:close/>
                  <a:moveTo>
                    <a:pt x="237318" y="0"/>
                  </a:moveTo>
                  <a:cubicBezTo>
                    <a:pt x="237318" y="1792"/>
                    <a:pt x="237318" y="6203"/>
                    <a:pt x="237318" y="7995"/>
                  </a:cubicBezTo>
                  <a:cubicBezTo>
                    <a:pt x="239869" y="7995"/>
                    <a:pt x="288270" y="7995"/>
                    <a:pt x="290822" y="7995"/>
                  </a:cubicBezTo>
                  <a:cubicBezTo>
                    <a:pt x="290822" y="6203"/>
                    <a:pt x="290822" y="1792"/>
                    <a:pt x="290822" y="0"/>
                  </a:cubicBezTo>
                  <a:cubicBezTo>
                    <a:pt x="288270" y="0"/>
                    <a:pt x="239869" y="0"/>
                    <a:pt x="237318" y="0"/>
                  </a:cubicBezTo>
                  <a:close/>
                  <a:moveTo>
                    <a:pt x="156787" y="0"/>
                  </a:moveTo>
                  <a:cubicBezTo>
                    <a:pt x="156787" y="1792"/>
                    <a:pt x="156787" y="6203"/>
                    <a:pt x="156787" y="7995"/>
                  </a:cubicBezTo>
                  <a:cubicBezTo>
                    <a:pt x="159338" y="7995"/>
                    <a:pt x="207740" y="7995"/>
                    <a:pt x="210291" y="7995"/>
                  </a:cubicBezTo>
                  <a:cubicBezTo>
                    <a:pt x="210291" y="6203"/>
                    <a:pt x="210291" y="1792"/>
                    <a:pt x="210291" y="0"/>
                  </a:cubicBezTo>
                  <a:cubicBezTo>
                    <a:pt x="207671" y="0"/>
                    <a:pt x="159338" y="0"/>
                    <a:pt x="156787" y="0"/>
                  </a:cubicBezTo>
                  <a:close/>
                  <a:moveTo>
                    <a:pt x="76187" y="0"/>
                  </a:moveTo>
                  <a:cubicBezTo>
                    <a:pt x="76187" y="1792"/>
                    <a:pt x="76187" y="6203"/>
                    <a:pt x="76187" y="7995"/>
                  </a:cubicBezTo>
                  <a:cubicBezTo>
                    <a:pt x="78738" y="7995"/>
                    <a:pt x="127140" y="7995"/>
                    <a:pt x="129691" y="7995"/>
                  </a:cubicBezTo>
                  <a:cubicBezTo>
                    <a:pt x="129691" y="6203"/>
                    <a:pt x="129691" y="1792"/>
                    <a:pt x="129691" y="0"/>
                  </a:cubicBezTo>
                  <a:cubicBezTo>
                    <a:pt x="127071" y="0"/>
                    <a:pt x="78738" y="0"/>
                    <a:pt x="76187" y="0"/>
                  </a:cubicBezTo>
                  <a:close/>
                  <a:moveTo>
                    <a:pt x="0" y="0"/>
                  </a:moveTo>
                  <a:cubicBezTo>
                    <a:pt x="0" y="1792"/>
                    <a:pt x="0" y="6203"/>
                    <a:pt x="0" y="7995"/>
                  </a:cubicBezTo>
                  <a:cubicBezTo>
                    <a:pt x="2551" y="7995"/>
                    <a:pt x="46540" y="7995"/>
                    <a:pt x="49091" y="7995"/>
                  </a:cubicBezTo>
                  <a:cubicBezTo>
                    <a:pt x="49091" y="6203"/>
                    <a:pt x="49091" y="1792"/>
                    <a:pt x="49091" y="0"/>
                  </a:cubicBezTo>
                  <a:cubicBezTo>
                    <a:pt x="46540" y="0"/>
                    <a:pt x="2551" y="0"/>
                    <a:pt x="0" y="0"/>
                  </a:cubicBezTo>
                  <a:close/>
                </a:path>
              </a:pathLst>
            </a:custGeom>
            <a:solidFill>
              <a:srgbClr val="E4E4E4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207112">
                <a:defRPr/>
              </a:pPr>
              <a:endParaRPr lang="nl-NL" sz="1359" kern="0" dirty="0">
                <a:solidFill>
                  <a:srgbClr val="7C7C7C"/>
                </a:solidFill>
                <a:latin typeface="Roboto Condensed"/>
              </a:endParaRPr>
            </a:p>
          </p:txBody>
        </p:sp>
        <p:sp>
          <p:nvSpPr>
            <p:cNvPr id="1217" name="Freeform 11">
              <a:extLst>
                <a:ext uri="{FF2B5EF4-FFF2-40B4-BE49-F238E27FC236}">
                  <a16:creationId xmlns:a16="http://schemas.microsoft.com/office/drawing/2014/main" id="{C00F5203-547B-85F8-A7F5-EA3882F85B6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13207" y="1563761"/>
              <a:ext cx="613083" cy="7995"/>
            </a:xfrm>
            <a:custGeom>
              <a:avLst/>
              <a:gdLst>
                <a:gd name="connsiteX0" fmla="*/ 559580 w 613083"/>
                <a:gd name="connsiteY0" fmla="*/ 0 h 7995"/>
                <a:gd name="connsiteX1" fmla="*/ 559580 w 613083"/>
                <a:gd name="connsiteY1" fmla="*/ 7995 h 7995"/>
                <a:gd name="connsiteX2" fmla="*/ 613083 w 613083"/>
                <a:gd name="connsiteY2" fmla="*/ 7995 h 7995"/>
                <a:gd name="connsiteX3" fmla="*/ 613083 w 613083"/>
                <a:gd name="connsiteY3" fmla="*/ 0 h 7995"/>
                <a:gd name="connsiteX4" fmla="*/ 559580 w 613083"/>
                <a:gd name="connsiteY4" fmla="*/ 0 h 7995"/>
                <a:gd name="connsiteX5" fmla="*/ 478980 w 613083"/>
                <a:gd name="connsiteY5" fmla="*/ 0 h 7995"/>
                <a:gd name="connsiteX6" fmla="*/ 478980 w 613083"/>
                <a:gd name="connsiteY6" fmla="*/ 7995 h 7995"/>
                <a:gd name="connsiteX7" fmla="*/ 532483 w 613083"/>
                <a:gd name="connsiteY7" fmla="*/ 7995 h 7995"/>
                <a:gd name="connsiteX8" fmla="*/ 532483 w 613083"/>
                <a:gd name="connsiteY8" fmla="*/ 0 h 7995"/>
                <a:gd name="connsiteX9" fmla="*/ 478980 w 613083"/>
                <a:gd name="connsiteY9" fmla="*/ 0 h 7995"/>
                <a:gd name="connsiteX10" fmla="*/ 398449 w 613083"/>
                <a:gd name="connsiteY10" fmla="*/ 0 h 7995"/>
                <a:gd name="connsiteX11" fmla="*/ 398449 w 613083"/>
                <a:gd name="connsiteY11" fmla="*/ 7995 h 7995"/>
                <a:gd name="connsiteX12" fmla="*/ 451952 w 613083"/>
                <a:gd name="connsiteY12" fmla="*/ 7995 h 7995"/>
                <a:gd name="connsiteX13" fmla="*/ 451952 w 613083"/>
                <a:gd name="connsiteY13" fmla="*/ 0 h 7995"/>
                <a:gd name="connsiteX14" fmla="*/ 398449 w 613083"/>
                <a:gd name="connsiteY14" fmla="*/ 0 h 7995"/>
                <a:gd name="connsiteX15" fmla="*/ 317849 w 613083"/>
                <a:gd name="connsiteY15" fmla="*/ 0 h 7995"/>
                <a:gd name="connsiteX16" fmla="*/ 317849 w 613083"/>
                <a:gd name="connsiteY16" fmla="*/ 7995 h 7995"/>
                <a:gd name="connsiteX17" fmla="*/ 371352 w 613083"/>
                <a:gd name="connsiteY17" fmla="*/ 7995 h 7995"/>
                <a:gd name="connsiteX18" fmla="*/ 371352 w 613083"/>
                <a:gd name="connsiteY18" fmla="*/ 0 h 7995"/>
                <a:gd name="connsiteX19" fmla="*/ 317849 w 613083"/>
                <a:gd name="connsiteY19" fmla="*/ 0 h 7995"/>
                <a:gd name="connsiteX20" fmla="*/ 237249 w 613083"/>
                <a:gd name="connsiteY20" fmla="*/ 0 h 7995"/>
                <a:gd name="connsiteX21" fmla="*/ 237249 w 613083"/>
                <a:gd name="connsiteY21" fmla="*/ 7995 h 7995"/>
                <a:gd name="connsiteX22" fmla="*/ 290753 w 613083"/>
                <a:gd name="connsiteY22" fmla="*/ 7995 h 7995"/>
                <a:gd name="connsiteX23" fmla="*/ 290753 w 613083"/>
                <a:gd name="connsiteY23" fmla="*/ 0 h 7995"/>
                <a:gd name="connsiteX24" fmla="*/ 237249 w 613083"/>
                <a:gd name="connsiteY24" fmla="*/ 0 h 7995"/>
                <a:gd name="connsiteX25" fmla="*/ 156718 w 613083"/>
                <a:gd name="connsiteY25" fmla="*/ 0 h 7995"/>
                <a:gd name="connsiteX26" fmla="*/ 156718 w 613083"/>
                <a:gd name="connsiteY26" fmla="*/ 7995 h 7995"/>
                <a:gd name="connsiteX27" fmla="*/ 210222 w 613083"/>
                <a:gd name="connsiteY27" fmla="*/ 7995 h 7995"/>
                <a:gd name="connsiteX28" fmla="*/ 210222 w 613083"/>
                <a:gd name="connsiteY28" fmla="*/ 0 h 7995"/>
                <a:gd name="connsiteX29" fmla="*/ 156718 w 613083"/>
                <a:gd name="connsiteY29" fmla="*/ 0 h 7995"/>
                <a:gd name="connsiteX30" fmla="*/ 76118 w 613083"/>
                <a:gd name="connsiteY30" fmla="*/ 0 h 7995"/>
                <a:gd name="connsiteX31" fmla="*/ 76118 w 613083"/>
                <a:gd name="connsiteY31" fmla="*/ 7995 h 7995"/>
                <a:gd name="connsiteX32" fmla="*/ 129622 w 613083"/>
                <a:gd name="connsiteY32" fmla="*/ 7995 h 7995"/>
                <a:gd name="connsiteX33" fmla="*/ 129622 w 613083"/>
                <a:gd name="connsiteY33" fmla="*/ 0 h 7995"/>
                <a:gd name="connsiteX34" fmla="*/ 76118 w 613083"/>
                <a:gd name="connsiteY34" fmla="*/ 0 h 7995"/>
                <a:gd name="connsiteX35" fmla="*/ 0 w 613083"/>
                <a:gd name="connsiteY35" fmla="*/ 0 h 7995"/>
                <a:gd name="connsiteX36" fmla="*/ 0 w 613083"/>
                <a:gd name="connsiteY36" fmla="*/ 7995 h 7995"/>
                <a:gd name="connsiteX37" fmla="*/ 49091 w 613083"/>
                <a:gd name="connsiteY37" fmla="*/ 7995 h 7995"/>
                <a:gd name="connsiteX38" fmla="*/ 49091 w 613083"/>
                <a:gd name="connsiteY38" fmla="*/ 0 h 7995"/>
                <a:gd name="connsiteX39" fmla="*/ 0 w 613083"/>
                <a:gd name="connsiteY39" fmla="*/ 0 h 7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613083" h="7995">
                  <a:moveTo>
                    <a:pt x="559580" y="0"/>
                  </a:moveTo>
                  <a:cubicBezTo>
                    <a:pt x="559580" y="1792"/>
                    <a:pt x="559580" y="6203"/>
                    <a:pt x="559580" y="7995"/>
                  </a:cubicBezTo>
                  <a:cubicBezTo>
                    <a:pt x="562131" y="7995"/>
                    <a:pt x="610532" y="7995"/>
                    <a:pt x="613083" y="7995"/>
                  </a:cubicBezTo>
                  <a:cubicBezTo>
                    <a:pt x="613083" y="6203"/>
                    <a:pt x="613083" y="1792"/>
                    <a:pt x="613083" y="0"/>
                  </a:cubicBezTo>
                  <a:cubicBezTo>
                    <a:pt x="610532" y="0"/>
                    <a:pt x="562131" y="0"/>
                    <a:pt x="559580" y="0"/>
                  </a:cubicBezTo>
                  <a:close/>
                  <a:moveTo>
                    <a:pt x="478980" y="0"/>
                  </a:moveTo>
                  <a:cubicBezTo>
                    <a:pt x="478980" y="1792"/>
                    <a:pt x="478980" y="6203"/>
                    <a:pt x="478980" y="7995"/>
                  </a:cubicBezTo>
                  <a:cubicBezTo>
                    <a:pt x="481531" y="7995"/>
                    <a:pt x="529932" y="7995"/>
                    <a:pt x="532483" y="7995"/>
                  </a:cubicBezTo>
                  <a:cubicBezTo>
                    <a:pt x="532483" y="6203"/>
                    <a:pt x="532483" y="1792"/>
                    <a:pt x="532483" y="0"/>
                  </a:cubicBezTo>
                  <a:cubicBezTo>
                    <a:pt x="529932" y="0"/>
                    <a:pt x="481531" y="0"/>
                    <a:pt x="478980" y="0"/>
                  </a:cubicBezTo>
                  <a:close/>
                  <a:moveTo>
                    <a:pt x="398449" y="0"/>
                  </a:moveTo>
                  <a:cubicBezTo>
                    <a:pt x="398449" y="1792"/>
                    <a:pt x="398449" y="6203"/>
                    <a:pt x="398449" y="7995"/>
                  </a:cubicBezTo>
                  <a:cubicBezTo>
                    <a:pt x="401000" y="7995"/>
                    <a:pt x="449401" y="7995"/>
                    <a:pt x="451952" y="7995"/>
                  </a:cubicBezTo>
                  <a:cubicBezTo>
                    <a:pt x="451952" y="6203"/>
                    <a:pt x="451952" y="1792"/>
                    <a:pt x="451952" y="0"/>
                  </a:cubicBezTo>
                  <a:cubicBezTo>
                    <a:pt x="449332" y="0"/>
                    <a:pt x="401000" y="0"/>
                    <a:pt x="398449" y="0"/>
                  </a:cubicBezTo>
                  <a:close/>
                  <a:moveTo>
                    <a:pt x="317849" y="0"/>
                  </a:moveTo>
                  <a:cubicBezTo>
                    <a:pt x="317849" y="1792"/>
                    <a:pt x="317849" y="6203"/>
                    <a:pt x="317849" y="7995"/>
                  </a:cubicBezTo>
                  <a:cubicBezTo>
                    <a:pt x="320400" y="7995"/>
                    <a:pt x="368801" y="7995"/>
                    <a:pt x="371352" y="7995"/>
                  </a:cubicBezTo>
                  <a:cubicBezTo>
                    <a:pt x="371352" y="6203"/>
                    <a:pt x="371352" y="1792"/>
                    <a:pt x="371352" y="0"/>
                  </a:cubicBezTo>
                  <a:cubicBezTo>
                    <a:pt x="368801" y="0"/>
                    <a:pt x="320400" y="0"/>
                    <a:pt x="317849" y="0"/>
                  </a:cubicBezTo>
                  <a:close/>
                  <a:moveTo>
                    <a:pt x="237249" y="0"/>
                  </a:moveTo>
                  <a:cubicBezTo>
                    <a:pt x="237249" y="1792"/>
                    <a:pt x="237249" y="6203"/>
                    <a:pt x="237249" y="7995"/>
                  </a:cubicBezTo>
                  <a:cubicBezTo>
                    <a:pt x="239800" y="7995"/>
                    <a:pt x="288201" y="7995"/>
                    <a:pt x="290753" y="7995"/>
                  </a:cubicBezTo>
                  <a:cubicBezTo>
                    <a:pt x="290753" y="6203"/>
                    <a:pt x="290753" y="1792"/>
                    <a:pt x="290753" y="0"/>
                  </a:cubicBezTo>
                  <a:cubicBezTo>
                    <a:pt x="288201" y="0"/>
                    <a:pt x="239869" y="0"/>
                    <a:pt x="237249" y="0"/>
                  </a:cubicBezTo>
                  <a:close/>
                  <a:moveTo>
                    <a:pt x="156718" y="0"/>
                  </a:moveTo>
                  <a:cubicBezTo>
                    <a:pt x="156718" y="1792"/>
                    <a:pt x="156718" y="6203"/>
                    <a:pt x="156718" y="7995"/>
                  </a:cubicBezTo>
                  <a:cubicBezTo>
                    <a:pt x="159269" y="7995"/>
                    <a:pt x="207671" y="7995"/>
                    <a:pt x="210222" y="7995"/>
                  </a:cubicBezTo>
                  <a:cubicBezTo>
                    <a:pt x="210222" y="6203"/>
                    <a:pt x="210222" y="1792"/>
                    <a:pt x="210222" y="0"/>
                  </a:cubicBezTo>
                  <a:cubicBezTo>
                    <a:pt x="207602" y="0"/>
                    <a:pt x="159269" y="0"/>
                    <a:pt x="156718" y="0"/>
                  </a:cubicBezTo>
                  <a:close/>
                  <a:moveTo>
                    <a:pt x="76118" y="0"/>
                  </a:moveTo>
                  <a:cubicBezTo>
                    <a:pt x="76118" y="1792"/>
                    <a:pt x="76118" y="6203"/>
                    <a:pt x="76118" y="7995"/>
                  </a:cubicBezTo>
                  <a:cubicBezTo>
                    <a:pt x="78669" y="7995"/>
                    <a:pt x="127071" y="7995"/>
                    <a:pt x="129622" y="7995"/>
                  </a:cubicBezTo>
                  <a:cubicBezTo>
                    <a:pt x="129622" y="6203"/>
                    <a:pt x="129622" y="1792"/>
                    <a:pt x="129622" y="0"/>
                  </a:cubicBezTo>
                  <a:cubicBezTo>
                    <a:pt x="127071" y="0"/>
                    <a:pt x="78669" y="0"/>
                    <a:pt x="76118" y="0"/>
                  </a:cubicBezTo>
                  <a:close/>
                  <a:moveTo>
                    <a:pt x="0" y="0"/>
                  </a:moveTo>
                  <a:cubicBezTo>
                    <a:pt x="0" y="1792"/>
                    <a:pt x="0" y="6203"/>
                    <a:pt x="0" y="7995"/>
                  </a:cubicBezTo>
                  <a:cubicBezTo>
                    <a:pt x="2551" y="7995"/>
                    <a:pt x="46540" y="7995"/>
                    <a:pt x="49091" y="7995"/>
                  </a:cubicBezTo>
                  <a:cubicBezTo>
                    <a:pt x="49091" y="6203"/>
                    <a:pt x="49091" y="1792"/>
                    <a:pt x="49091" y="0"/>
                  </a:cubicBezTo>
                  <a:cubicBezTo>
                    <a:pt x="46540" y="0"/>
                    <a:pt x="2551" y="0"/>
                    <a:pt x="0" y="0"/>
                  </a:cubicBezTo>
                  <a:close/>
                </a:path>
              </a:pathLst>
            </a:custGeom>
            <a:solidFill>
              <a:srgbClr val="E4E4E4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207112">
                <a:defRPr/>
              </a:pPr>
              <a:endParaRPr lang="nl-NL" sz="1359" kern="0" dirty="0">
                <a:solidFill>
                  <a:srgbClr val="7C7C7C"/>
                </a:solidFill>
                <a:latin typeface="Roboto Condensed"/>
              </a:endParaRPr>
            </a:p>
          </p:txBody>
        </p:sp>
        <p:sp>
          <p:nvSpPr>
            <p:cNvPr id="1218" name="Freeform 12">
              <a:extLst>
                <a:ext uri="{FF2B5EF4-FFF2-40B4-BE49-F238E27FC236}">
                  <a16:creationId xmlns:a16="http://schemas.microsoft.com/office/drawing/2014/main" id="{A5BB3F6B-0BE5-D467-678A-B51A5A7D69B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28264" y="1563761"/>
              <a:ext cx="53503" cy="7995"/>
            </a:xfrm>
            <a:custGeom>
              <a:avLst/>
              <a:gdLst>
                <a:gd name="connsiteX0" fmla="*/ 0 w 53503"/>
                <a:gd name="connsiteY0" fmla="*/ 0 h 7995"/>
                <a:gd name="connsiteX1" fmla="*/ 0 w 53503"/>
                <a:gd name="connsiteY1" fmla="*/ 7995 h 7995"/>
                <a:gd name="connsiteX2" fmla="*/ 53503 w 53503"/>
                <a:gd name="connsiteY2" fmla="*/ 7995 h 7995"/>
                <a:gd name="connsiteX3" fmla="*/ 53503 w 53503"/>
                <a:gd name="connsiteY3" fmla="*/ 0 h 7995"/>
                <a:gd name="connsiteX4" fmla="*/ 0 w 53503"/>
                <a:gd name="connsiteY4" fmla="*/ 0 h 7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503" h="7995">
                  <a:moveTo>
                    <a:pt x="0" y="0"/>
                  </a:moveTo>
                  <a:cubicBezTo>
                    <a:pt x="0" y="1792"/>
                    <a:pt x="0" y="6203"/>
                    <a:pt x="0" y="7995"/>
                  </a:cubicBezTo>
                  <a:cubicBezTo>
                    <a:pt x="2551" y="7995"/>
                    <a:pt x="50952" y="7995"/>
                    <a:pt x="53503" y="7995"/>
                  </a:cubicBezTo>
                  <a:cubicBezTo>
                    <a:pt x="53503" y="6203"/>
                    <a:pt x="53503" y="1792"/>
                    <a:pt x="53503" y="0"/>
                  </a:cubicBezTo>
                  <a:cubicBezTo>
                    <a:pt x="50952" y="0"/>
                    <a:pt x="2551" y="0"/>
                    <a:pt x="0" y="0"/>
                  </a:cubicBezTo>
                  <a:close/>
                </a:path>
              </a:pathLst>
            </a:custGeom>
            <a:solidFill>
              <a:srgbClr val="E4E4E4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207112">
                <a:defRPr/>
              </a:pPr>
              <a:endParaRPr lang="nl-NL" sz="1359" kern="0" dirty="0">
                <a:solidFill>
                  <a:srgbClr val="7C7C7C"/>
                </a:solidFill>
                <a:latin typeface="Roboto Condensed"/>
              </a:endParaRPr>
            </a:p>
          </p:txBody>
        </p:sp>
        <p:grpSp>
          <p:nvGrpSpPr>
            <p:cNvPr id="1219" name="Graphic 4">
              <a:extLst>
                <a:ext uri="{FF2B5EF4-FFF2-40B4-BE49-F238E27FC236}">
                  <a16:creationId xmlns:a16="http://schemas.microsoft.com/office/drawing/2014/main" id="{1E98E263-0AB4-354D-9BB3-B46C3D9F3A4C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15508" y="1463821"/>
              <a:ext cx="1362269" cy="207807"/>
              <a:chOff x="515508" y="1463821"/>
              <a:chExt cx="1362269" cy="207807"/>
            </a:xfrm>
            <a:solidFill>
              <a:srgbClr val="E4E4E4"/>
            </a:solidFill>
          </p:grpSpPr>
          <p:sp>
            <p:nvSpPr>
              <p:cNvPr id="1220" name="Freeform 14">
                <a:extLst>
                  <a:ext uri="{FF2B5EF4-FFF2-40B4-BE49-F238E27FC236}">
                    <a16:creationId xmlns:a16="http://schemas.microsoft.com/office/drawing/2014/main" id="{94559B53-1C3C-9BFD-0FDD-BD3D860356B2}"/>
                  </a:ext>
                </a:extLst>
              </p:cNvPr>
              <p:cNvSpPr/>
              <p:nvPr/>
            </p:nvSpPr>
            <p:spPr>
              <a:xfrm>
                <a:off x="515508" y="1663357"/>
                <a:ext cx="1362269" cy="8270"/>
              </a:xfrm>
              <a:custGeom>
                <a:avLst/>
                <a:gdLst>
                  <a:gd name="connsiteX0" fmla="*/ 0 w 1362269"/>
                  <a:gd name="connsiteY0" fmla="*/ 0 h 8270"/>
                  <a:gd name="connsiteX1" fmla="*/ 1362269 w 1362269"/>
                  <a:gd name="connsiteY1" fmla="*/ 0 h 8270"/>
                  <a:gd name="connsiteX2" fmla="*/ 1362269 w 1362269"/>
                  <a:gd name="connsiteY2" fmla="*/ 8271 h 8270"/>
                  <a:gd name="connsiteX3" fmla="*/ 0 w 1362269"/>
                  <a:gd name="connsiteY3" fmla="*/ 8271 h 8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62269" h="8270">
                    <a:moveTo>
                      <a:pt x="0" y="0"/>
                    </a:moveTo>
                    <a:lnTo>
                      <a:pt x="1362269" y="0"/>
                    </a:lnTo>
                    <a:lnTo>
                      <a:pt x="1362269" y="8271"/>
                    </a:lnTo>
                    <a:lnTo>
                      <a:pt x="0" y="8271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207112">
                  <a:defRPr/>
                </a:pPr>
                <a:endParaRPr lang="nl-NL" sz="1359" kern="0" dirty="0">
                  <a:solidFill>
                    <a:srgbClr val="7C7C7C"/>
                  </a:solidFill>
                  <a:latin typeface="Roboto Condensed"/>
                </a:endParaRPr>
              </a:p>
            </p:txBody>
          </p:sp>
          <p:sp>
            <p:nvSpPr>
              <p:cNvPr id="1221" name="Freeform 15">
                <a:extLst>
                  <a:ext uri="{FF2B5EF4-FFF2-40B4-BE49-F238E27FC236}">
                    <a16:creationId xmlns:a16="http://schemas.microsoft.com/office/drawing/2014/main" id="{4D84B140-BC23-5613-A004-341BBF7FC9AC}"/>
                  </a:ext>
                </a:extLst>
              </p:cNvPr>
              <p:cNvSpPr/>
              <p:nvPr/>
            </p:nvSpPr>
            <p:spPr>
              <a:xfrm>
                <a:off x="515508" y="1463821"/>
                <a:ext cx="1362269" cy="8270"/>
              </a:xfrm>
              <a:custGeom>
                <a:avLst/>
                <a:gdLst>
                  <a:gd name="connsiteX0" fmla="*/ 0 w 1362269"/>
                  <a:gd name="connsiteY0" fmla="*/ 0 h 8270"/>
                  <a:gd name="connsiteX1" fmla="*/ 1362269 w 1362269"/>
                  <a:gd name="connsiteY1" fmla="*/ 0 h 8270"/>
                  <a:gd name="connsiteX2" fmla="*/ 1362269 w 1362269"/>
                  <a:gd name="connsiteY2" fmla="*/ 8271 h 8270"/>
                  <a:gd name="connsiteX3" fmla="*/ 0 w 1362269"/>
                  <a:gd name="connsiteY3" fmla="*/ 8271 h 8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62269" h="8270">
                    <a:moveTo>
                      <a:pt x="0" y="0"/>
                    </a:moveTo>
                    <a:lnTo>
                      <a:pt x="1362269" y="0"/>
                    </a:lnTo>
                    <a:lnTo>
                      <a:pt x="1362269" y="8271"/>
                    </a:lnTo>
                    <a:lnTo>
                      <a:pt x="0" y="8271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207112">
                  <a:defRPr/>
                </a:pPr>
                <a:endParaRPr lang="nl-NL" sz="1359" kern="0" dirty="0">
                  <a:solidFill>
                    <a:srgbClr val="7C7C7C"/>
                  </a:solidFill>
                  <a:latin typeface="Roboto Condensed"/>
                </a:endParaRPr>
              </a:p>
            </p:txBody>
          </p:sp>
        </p:grpSp>
      </p:grpSp>
      <p:sp>
        <p:nvSpPr>
          <p:cNvPr id="1165" name="Rectangle 1164">
            <a:extLst>
              <a:ext uri="{FF2B5EF4-FFF2-40B4-BE49-F238E27FC236}">
                <a16:creationId xmlns:a16="http://schemas.microsoft.com/office/drawing/2014/main" id="{B2649EF7-D9C4-AECC-BA5E-B177F34A51EF}"/>
              </a:ext>
            </a:extLst>
          </p:cNvPr>
          <p:cNvSpPr/>
          <p:nvPr/>
        </p:nvSpPr>
        <p:spPr>
          <a:xfrm>
            <a:off x="1529586" y="5060090"/>
            <a:ext cx="2068038" cy="176598"/>
          </a:xfrm>
          <a:prstGeom prst="rect">
            <a:avLst/>
          </a:prstGeom>
          <a:solidFill>
            <a:srgbClr val="8098A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408" dirty="0"/>
          </a:p>
        </p:txBody>
      </p:sp>
      <p:sp>
        <p:nvSpPr>
          <p:cNvPr id="1164" name="Oval 1163">
            <a:extLst>
              <a:ext uri="{FF2B5EF4-FFF2-40B4-BE49-F238E27FC236}">
                <a16:creationId xmlns:a16="http://schemas.microsoft.com/office/drawing/2014/main" id="{115D4282-FCDB-E27E-9641-A4CD4C838AF0}"/>
              </a:ext>
            </a:extLst>
          </p:cNvPr>
          <p:cNvSpPr/>
          <p:nvPr/>
        </p:nvSpPr>
        <p:spPr>
          <a:xfrm>
            <a:off x="1320834" y="4937470"/>
            <a:ext cx="408251" cy="408251"/>
          </a:xfrm>
          <a:prstGeom prst="ellipse">
            <a:avLst/>
          </a:prstGeom>
          <a:solidFill>
            <a:srgbClr val="8098AA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408" dirty="0"/>
          </a:p>
        </p:txBody>
      </p:sp>
      <p:sp>
        <p:nvSpPr>
          <p:cNvPr id="1163" name="Rectangle 1162">
            <a:extLst>
              <a:ext uri="{FF2B5EF4-FFF2-40B4-BE49-F238E27FC236}">
                <a16:creationId xmlns:a16="http://schemas.microsoft.com/office/drawing/2014/main" id="{D4EFEA7B-B3C2-6580-2E57-F10C0807CA13}"/>
              </a:ext>
            </a:extLst>
          </p:cNvPr>
          <p:cNvSpPr/>
          <p:nvPr/>
        </p:nvSpPr>
        <p:spPr>
          <a:xfrm>
            <a:off x="1320834" y="5390544"/>
            <a:ext cx="9461605" cy="975902"/>
          </a:xfrm>
          <a:prstGeom prst="rect">
            <a:avLst/>
          </a:prstGeom>
          <a:solidFill>
            <a:srgbClr val="60B3BB">
              <a:alpha val="14118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408" dirty="0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A556ABD4-200C-FCF8-1D08-16CB6B5448A8}"/>
              </a:ext>
            </a:extLst>
          </p:cNvPr>
          <p:cNvPicPr>
            <a:picLocks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079587" y="80543"/>
            <a:ext cx="738759" cy="737024"/>
          </a:xfrm>
          <a:prstGeom prst="rect">
            <a:avLst/>
          </a:prstGeom>
        </p:spPr>
      </p:pic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12C1AAEB-CF4B-D806-4FFA-37796E23817D}"/>
              </a:ext>
            </a:extLst>
          </p:cNvPr>
          <p:cNvSpPr/>
          <p:nvPr/>
        </p:nvSpPr>
        <p:spPr>
          <a:xfrm>
            <a:off x="1771660" y="1174312"/>
            <a:ext cx="1386314" cy="323251"/>
          </a:xfrm>
          <a:prstGeom prst="roundRect">
            <a:avLst>
              <a:gd name="adj" fmla="val 8096"/>
            </a:avLst>
          </a:prstGeom>
          <a:solidFill>
            <a:srgbClr val="98733A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207112">
              <a:defRPr/>
            </a:pPr>
            <a:endParaRPr lang="nl-NL" sz="1359" kern="0" dirty="0">
              <a:solidFill>
                <a:prstClr val="white"/>
              </a:solidFill>
              <a:latin typeface="Roboto Condensed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280C3A-E28D-8DF4-E9E8-AA6C4AB143AE}"/>
              </a:ext>
            </a:extLst>
          </p:cNvPr>
          <p:cNvSpPr txBox="1"/>
          <p:nvPr/>
        </p:nvSpPr>
        <p:spPr>
          <a:xfrm>
            <a:off x="1771659" y="1209946"/>
            <a:ext cx="1386314" cy="26667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207112">
              <a:defRPr/>
            </a:pPr>
            <a:r>
              <a:rPr lang="nl-NL" sz="1133" kern="0" dirty="0">
                <a:solidFill>
                  <a:prstClr val="white"/>
                </a:solidFill>
                <a:latin typeface="Roboto Condensed"/>
              </a:rPr>
              <a:t>Ik solliciteer</a:t>
            </a: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A8788E0D-A45A-90D4-234B-A796A444A4FC}"/>
              </a:ext>
            </a:extLst>
          </p:cNvPr>
          <p:cNvPicPr>
            <a:picLocks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550205" y="81837"/>
            <a:ext cx="231430" cy="230886"/>
          </a:xfrm>
          <a:prstGeom prst="rect">
            <a:avLst/>
          </a:prstGeom>
        </p:spPr>
      </p:pic>
      <p:sp>
        <p:nvSpPr>
          <p:cNvPr id="19" name="Ovaal 455">
            <a:extLst>
              <a:ext uri="{FF2B5EF4-FFF2-40B4-BE49-F238E27FC236}">
                <a16:creationId xmlns:a16="http://schemas.microsoft.com/office/drawing/2014/main" id="{28893E3F-9B8E-1F32-E120-A79FE4A49D69}"/>
              </a:ext>
            </a:extLst>
          </p:cNvPr>
          <p:cNvSpPr/>
          <p:nvPr/>
        </p:nvSpPr>
        <p:spPr>
          <a:xfrm>
            <a:off x="1667354" y="1079606"/>
            <a:ext cx="216237" cy="215729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98733A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207112">
              <a:defRPr/>
            </a:pPr>
            <a:r>
              <a:rPr lang="nl-NL" sz="1087" b="1" kern="0" dirty="0">
                <a:solidFill>
                  <a:srgbClr val="98733A"/>
                </a:solidFill>
                <a:latin typeface="Roboto Condensed"/>
              </a:rPr>
              <a:t>1</a:t>
            </a:r>
          </a:p>
        </p:txBody>
      </p:sp>
      <p:sp>
        <p:nvSpPr>
          <p:cNvPr id="63" name="Rectangle: Rounded Corners 62">
            <a:extLst>
              <a:ext uri="{FF2B5EF4-FFF2-40B4-BE49-F238E27FC236}">
                <a16:creationId xmlns:a16="http://schemas.microsoft.com/office/drawing/2014/main" id="{F782D58B-88FC-8E0D-A27A-F220EA488F50}"/>
              </a:ext>
            </a:extLst>
          </p:cNvPr>
          <p:cNvSpPr/>
          <p:nvPr/>
        </p:nvSpPr>
        <p:spPr>
          <a:xfrm>
            <a:off x="3288807" y="1174312"/>
            <a:ext cx="1386314" cy="326192"/>
          </a:xfrm>
          <a:prstGeom prst="roundRect">
            <a:avLst>
              <a:gd name="adj" fmla="val 8096"/>
            </a:avLst>
          </a:prstGeom>
          <a:solidFill>
            <a:srgbClr val="98733A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207112">
              <a:defRPr/>
            </a:pPr>
            <a:endParaRPr lang="nl-NL" sz="1087" kern="0" dirty="0">
              <a:solidFill>
                <a:prstClr val="white"/>
              </a:solidFill>
              <a:latin typeface="Roboto Condensed"/>
            </a:endParaRPr>
          </a:p>
        </p:txBody>
      </p:sp>
      <p:sp>
        <p:nvSpPr>
          <p:cNvPr id="512" name="TextBox 511">
            <a:extLst>
              <a:ext uri="{FF2B5EF4-FFF2-40B4-BE49-F238E27FC236}">
                <a16:creationId xmlns:a16="http://schemas.microsoft.com/office/drawing/2014/main" id="{2DDD80FD-FC75-0622-7036-48888E0BECE3}"/>
              </a:ext>
            </a:extLst>
          </p:cNvPr>
          <p:cNvSpPr txBox="1"/>
          <p:nvPr/>
        </p:nvSpPr>
        <p:spPr>
          <a:xfrm>
            <a:off x="3288807" y="1209946"/>
            <a:ext cx="1386314" cy="26667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207112">
              <a:defRPr/>
            </a:pPr>
            <a:r>
              <a:rPr lang="nl-NL" sz="1133" kern="0" dirty="0">
                <a:solidFill>
                  <a:prstClr val="white"/>
                </a:solidFill>
                <a:latin typeface="Roboto Condensed"/>
              </a:rPr>
              <a:t>Ik ben aangenomen</a:t>
            </a:r>
          </a:p>
        </p:txBody>
      </p:sp>
      <p:sp>
        <p:nvSpPr>
          <p:cNvPr id="514" name="Ovaal 455">
            <a:extLst>
              <a:ext uri="{FF2B5EF4-FFF2-40B4-BE49-F238E27FC236}">
                <a16:creationId xmlns:a16="http://schemas.microsoft.com/office/drawing/2014/main" id="{84CAB059-6A0C-C590-4B1A-EC2EE57A96D7}"/>
              </a:ext>
            </a:extLst>
          </p:cNvPr>
          <p:cNvSpPr/>
          <p:nvPr/>
        </p:nvSpPr>
        <p:spPr>
          <a:xfrm>
            <a:off x="3177319" y="1079606"/>
            <a:ext cx="215184" cy="215729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98733A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207112">
              <a:defRPr/>
            </a:pPr>
            <a:r>
              <a:rPr lang="nl-NL" sz="1087" b="1" kern="0" dirty="0">
                <a:solidFill>
                  <a:srgbClr val="98733A"/>
                </a:solidFill>
                <a:latin typeface="Roboto Condensed"/>
              </a:rPr>
              <a:t>2</a:t>
            </a:r>
          </a:p>
        </p:txBody>
      </p:sp>
      <p:sp>
        <p:nvSpPr>
          <p:cNvPr id="518" name="Rectangle: Rounded Corners 517">
            <a:extLst>
              <a:ext uri="{FF2B5EF4-FFF2-40B4-BE49-F238E27FC236}">
                <a16:creationId xmlns:a16="http://schemas.microsoft.com/office/drawing/2014/main" id="{87062596-0080-0808-DA70-5B161D3AF215}"/>
              </a:ext>
            </a:extLst>
          </p:cNvPr>
          <p:cNvSpPr/>
          <p:nvPr/>
        </p:nvSpPr>
        <p:spPr>
          <a:xfrm>
            <a:off x="4798351" y="1174312"/>
            <a:ext cx="1386314" cy="326192"/>
          </a:xfrm>
          <a:prstGeom prst="roundRect">
            <a:avLst>
              <a:gd name="adj" fmla="val 8096"/>
            </a:avLst>
          </a:prstGeom>
          <a:solidFill>
            <a:srgbClr val="98733A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207112">
              <a:defRPr/>
            </a:pPr>
            <a:endParaRPr lang="nl-NL" sz="1087" kern="0" dirty="0">
              <a:solidFill>
                <a:prstClr val="white"/>
              </a:solidFill>
              <a:latin typeface="Roboto Condensed"/>
            </a:endParaRPr>
          </a:p>
        </p:txBody>
      </p:sp>
      <p:sp>
        <p:nvSpPr>
          <p:cNvPr id="519" name="TextBox 518">
            <a:extLst>
              <a:ext uri="{FF2B5EF4-FFF2-40B4-BE49-F238E27FC236}">
                <a16:creationId xmlns:a16="http://schemas.microsoft.com/office/drawing/2014/main" id="{EBC04415-23BC-9959-4283-32598EBF18F3}"/>
              </a:ext>
            </a:extLst>
          </p:cNvPr>
          <p:cNvSpPr txBox="1"/>
          <p:nvPr/>
        </p:nvSpPr>
        <p:spPr>
          <a:xfrm>
            <a:off x="4798351" y="1209946"/>
            <a:ext cx="1386314" cy="26667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207112">
              <a:defRPr/>
            </a:pPr>
            <a:r>
              <a:rPr lang="nl-NL" sz="1133" kern="0" dirty="0">
                <a:solidFill>
                  <a:prstClr val="white"/>
                </a:solidFill>
                <a:latin typeface="Roboto Condensed"/>
              </a:rPr>
              <a:t>Ik start met werken</a:t>
            </a:r>
          </a:p>
        </p:txBody>
      </p:sp>
      <p:sp>
        <p:nvSpPr>
          <p:cNvPr id="521" name="Ovaal 455">
            <a:extLst>
              <a:ext uri="{FF2B5EF4-FFF2-40B4-BE49-F238E27FC236}">
                <a16:creationId xmlns:a16="http://schemas.microsoft.com/office/drawing/2014/main" id="{AF0C8B70-CFBE-2176-6163-E8CDE697C12A}"/>
              </a:ext>
            </a:extLst>
          </p:cNvPr>
          <p:cNvSpPr/>
          <p:nvPr/>
        </p:nvSpPr>
        <p:spPr>
          <a:xfrm>
            <a:off x="4686928" y="1079606"/>
            <a:ext cx="216237" cy="215729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98733A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207112">
              <a:defRPr/>
            </a:pPr>
            <a:r>
              <a:rPr lang="nl-NL" sz="1087" b="1" kern="0" dirty="0">
                <a:solidFill>
                  <a:srgbClr val="98733A"/>
                </a:solidFill>
                <a:latin typeface="Roboto Condensed"/>
              </a:rPr>
              <a:t>3</a:t>
            </a:r>
          </a:p>
        </p:txBody>
      </p:sp>
      <p:sp>
        <p:nvSpPr>
          <p:cNvPr id="525" name="Rectangle: Rounded Corners 524">
            <a:extLst>
              <a:ext uri="{FF2B5EF4-FFF2-40B4-BE49-F238E27FC236}">
                <a16:creationId xmlns:a16="http://schemas.microsoft.com/office/drawing/2014/main" id="{564C9A4E-724D-D886-E568-0EE6FE851E42}"/>
              </a:ext>
            </a:extLst>
          </p:cNvPr>
          <p:cNvSpPr/>
          <p:nvPr/>
        </p:nvSpPr>
        <p:spPr>
          <a:xfrm>
            <a:off x="6324174" y="1174312"/>
            <a:ext cx="1386314" cy="326192"/>
          </a:xfrm>
          <a:prstGeom prst="roundRect">
            <a:avLst>
              <a:gd name="adj" fmla="val 8096"/>
            </a:avLst>
          </a:prstGeom>
          <a:solidFill>
            <a:srgbClr val="98733A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207112">
              <a:defRPr/>
            </a:pPr>
            <a:endParaRPr lang="nl-NL" sz="1087" kern="0" dirty="0">
              <a:solidFill>
                <a:prstClr val="white"/>
              </a:solidFill>
              <a:latin typeface="Roboto Condensed"/>
            </a:endParaRPr>
          </a:p>
        </p:txBody>
      </p:sp>
      <p:sp>
        <p:nvSpPr>
          <p:cNvPr id="526" name="TextBox 525">
            <a:extLst>
              <a:ext uri="{FF2B5EF4-FFF2-40B4-BE49-F238E27FC236}">
                <a16:creationId xmlns:a16="http://schemas.microsoft.com/office/drawing/2014/main" id="{7CAC5EAA-AEF0-388F-9CF9-E4CB18D30675}"/>
              </a:ext>
            </a:extLst>
          </p:cNvPr>
          <p:cNvSpPr txBox="1"/>
          <p:nvPr/>
        </p:nvSpPr>
        <p:spPr>
          <a:xfrm>
            <a:off x="6324174" y="1209946"/>
            <a:ext cx="1386314" cy="26667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207112">
              <a:defRPr/>
            </a:pPr>
            <a:r>
              <a:rPr lang="nl-NL" sz="1133" kern="0" dirty="0">
                <a:solidFill>
                  <a:prstClr val="white"/>
                </a:solidFill>
                <a:latin typeface="Roboto Condensed"/>
              </a:rPr>
              <a:t>Ik ben aan het werk</a:t>
            </a:r>
          </a:p>
        </p:txBody>
      </p:sp>
      <p:sp>
        <p:nvSpPr>
          <p:cNvPr id="528" name="Ovaal 455">
            <a:extLst>
              <a:ext uri="{FF2B5EF4-FFF2-40B4-BE49-F238E27FC236}">
                <a16:creationId xmlns:a16="http://schemas.microsoft.com/office/drawing/2014/main" id="{71F56B87-DCB1-76E7-6D5C-37A06A2E2AE6}"/>
              </a:ext>
            </a:extLst>
          </p:cNvPr>
          <p:cNvSpPr/>
          <p:nvPr/>
        </p:nvSpPr>
        <p:spPr>
          <a:xfrm>
            <a:off x="6217468" y="1079606"/>
            <a:ext cx="216237" cy="215729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98733A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207112">
              <a:defRPr/>
            </a:pPr>
            <a:r>
              <a:rPr lang="nl-NL" sz="1087" b="1" kern="0" dirty="0">
                <a:solidFill>
                  <a:srgbClr val="98733A"/>
                </a:solidFill>
                <a:latin typeface="Roboto Condensed"/>
              </a:rPr>
              <a:t>4</a:t>
            </a:r>
          </a:p>
        </p:txBody>
      </p:sp>
      <p:sp>
        <p:nvSpPr>
          <p:cNvPr id="532" name="Rectangle: Rounded Corners 531">
            <a:extLst>
              <a:ext uri="{FF2B5EF4-FFF2-40B4-BE49-F238E27FC236}">
                <a16:creationId xmlns:a16="http://schemas.microsoft.com/office/drawing/2014/main" id="{3B4253ED-E591-A14B-36AC-CB184E61EFA9}"/>
              </a:ext>
            </a:extLst>
          </p:cNvPr>
          <p:cNvSpPr/>
          <p:nvPr/>
        </p:nvSpPr>
        <p:spPr>
          <a:xfrm>
            <a:off x="7827313" y="1174312"/>
            <a:ext cx="1386314" cy="326192"/>
          </a:xfrm>
          <a:prstGeom prst="roundRect">
            <a:avLst>
              <a:gd name="adj" fmla="val 8096"/>
            </a:avLst>
          </a:prstGeom>
          <a:solidFill>
            <a:srgbClr val="98733A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207112">
              <a:defRPr/>
            </a:pPr>
            <a:endParaRPr lang="nl-NL" sz="1087" kern="0" dirty="0">
              <a:solidFill>
                <a:prstClr val="white"/>
              </a:solidFill>
              <a:latin typeface="Roboto Condensed"/>
            </a:endParaRPr>
          </a:p>
        </p:txBody>
      </p:sp>
      <p:sp>
        <p:nvSpPr>
          <p:cNvPr id="533" name="TextBox 532">
            <a:extLst>
              <a:ext uri="{FF2B5EF4-FFF2-40B4-BE49-F238E27FC236}">
                <a16:creationId xmlns:a16="http://schemas.microsoft.com/office/drawing/2014/main" id="{96BCF955-173E-458E-41AB-CD8400F92455}"/>
              </a:ext>
            </a:extLst>
          </p:cNvPr>
          <p:cNvSpPr txBox="1"/>
          <p:nvPr/>
        </p:nvSpPr>
        <p:spPr>
          <a:xfrm>
            <a:off x="7827313" y="1209946"/>
            <a:ext cx="1386314" cy="26667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207112">
              <a:defRPr/>
            </a:pPr>
            <a:r>
              <a:rPr lang="nl-NL" sz="1133" kern="0" dirty="0">
                <a:solidFill>
                  <a:prstClr val="white"/>
                </a:solidFill>
                <a:latin typeface="Roboto Condensed"/>
              </a:rPr>
              <a:t>Ik ontwikkel mezelf</a:t>
            </a:r>
          </a:p>
        </p:txBody>
      </p:sp>
      <p:sp>
        <p:nvSpPr>
          <p:cNvPr id="535" name="Ovaal 455">
            <a:extLst>
              <a:ext uri="{FF2B5EF4-FFF2-40B4-BE49-F238E27FC236}">
                <a16:creationId xmlns:a16="http://schemas.microsoft.com/office/drawing/2014/main" id="{87D97317-89FF-2494-492E-78112DEBADFA}"/>
              </a:ext>
            </a:extLst>
          </p:cNvPr>
          <p:cNvSpPr/>
          <p:nvPr/>
        </p:nvSpPr>
        <p:spPr>
          <a:xfrm>
            <a:off x="7734173" y="1079606"/>
            <a:ext cx="216237" cy="215729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98733A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207112">
              <a:defRPr/>
            </a:pPr>
            <a:r>
              <a:rPr lang="nl-NL" sz="1087" b="1" kern="0" dirty="0">
                <a:solidFill>
                  <a:srgbClr val="98733A"/>
                </a:solidFill>
                <a:latin typeface="Roboto Condensed"/>
              </a:rPr>
              <a:t>5</a:t>
            </a:r>
          </a:p>
        </p:txBody>
      </p:sp>
      <p:sp>
        <p:nvSpPr>
          <p:cNvPr id="539" name="Rectangle: Rounded Corners 538">
            <a:extLst>
              <a:ext uri="{FF2B5EF4-FFF2-40B4-BE49-F238E27FC236}">
                <a16:creationId xmlns:a16="http://schemas.microsoft.com/office/drawing/2014/main" id="{0619D649-276E-0155-6CC5-6F18E1A63B26}"/>
              </a:ext>
            </a:extLst>
          </p:cNvPr>
          <p:cNvSpPr/>
          <p:nvPr/>
        </p:nvSpPr>
        <p:spPr>
          <a:xfrm>
            <a:off x="9336623" y="1174312"/>
            <a:ext cx="1386314" cy="326192"/>
          </a:xfrm>
          <a:prstGeom prst="roundRect">
            <a:avLst>
              <a:gd name="adj" fmla="val 8096"/>
            </a:avLst>
          </a:prstGeom>
          <a:solidFill>
            <a:srgbClr val="98733A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207112">
              <a:defRPr/>
            </a:pPr>
            <a:endParaRPr lang="nl-NL" sz="1087" kern="0" dirty="0">
              <a:solidFill>
                <a:prstClr val="white"/>
              </a:solidFill>
              <a:latin typeface="Roboto Condensed"/>
            </a:endParaRPr>
          </a:p>
        </p:txBody>
      </p:sp>
      <p:sp>
        <p:nvSpPr>
          <p:cNvPr id="540" name="TextBox 539">
            <a:extLst>
              <a:ext uri="{FF2B5EF4-FFF2-40B4-BE49-F238E27FC236}">
                <a16:creationId xmlns:a16="http://schemas.microsoft.com/office/drawing/2014/main" id="{FF82FF95-0E8D-25F5-B9CE-56E19ABAF236}"/>
              </a:ext>
            </a:extLst>
          </p:cNvPr>
          <p:cNvSpPr txBox="1"/>
          <p:nvPr/>
        </p:nvSpPr>
        <p:spPr>
          <a:xfrm>
            <a:off x="9336623" y="1209946"/>
            <a:ext cx="1386314" cy="26667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207112">
              <a:defRPr/>
            </a:pPr>
            <a:r>
              <a:rPr lang="nl-NL" sz="1133" kern="0" dirty="0">
                <a:solidFill>
                  <a:prstClr val="white"/>
                </a:solidFill>
                <a:latin typeface="Roboto Condensed"/>
              </a:rPr>
              <a:t>Het contract eindigt</a:t>
            </a:r>
          </a:p>
        </p:txBody>
      </p:sp>
      <p:sp>
        <p:nvSpPr>
          <p:cNvPr id="542" name="Ovaal 455">
            <a:extLst>
              <a:ext uri="{FF2B5EF4-FFF2-40B4-BE49-F238E27FC236}">
                <a16:creationId xmlns:a16="http://schemas.microsoft.com/office/drawing/2014/main" id="{F9E99A3E-101B-0A6C-72F5-16A552278CD0}"/>
              </a:ext>
            </a:extLst>
          </p:cNvPr>
          <p:cNvSpPr/>
          <p:nvPr/>
        </p:nvSpPr>
        <p:spPr>
          <a:xfrm>
            <a:off x="9244834" y="1079606"/>
            <a:ext cx="216237" cy="215729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98733A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207112">
              <a:defRPr/>
            </a:pPr>
            <a:r>
              <a:rPr lang="nl-NL" sz="1087" b="1" kern="0" dirty="0">
                <a:solidFill>
                  <a:srgbClr val="98733A"/>
                </a:solidFill>
                <a:latin typeface="Roboto Condensed"/>
              </a:rPr>
              <a:t>6</a:t>
            </a:r>
          </a:p>
        </p:txBody>
      </p:sp>
      <p:pic>
        <p:nvPicPr>
          <p:cNvPr id="543" name="Graphic 542">
            <a:extLst>
              <a:ext uri="{FF2B5EF4-FFF2-40B4-BE49-F238E27FC236}">
                <a16:creationId xmlns:a16="http://schemas.microsoft.com/office/drawing/2014/main" id="{DD73821A-9FC3-CD82-7DF7-F39F6F7C4B8F}"/>
              </a:ext>
            </a:extLst>
          </p:cNvPr>
          <p:cNvPicPr>
            <a:picLocks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731483" y="126589"/>
            <a:ext cx="668034" cy="668034"/>
          </a:xfrm>
          <a:prstGeom prst="rect">
            <a:avLst/>
          </a:prstGeom>
        </p:spPr>
      </p:pic>
      <p:grpSp>
        <p:nvGrpSpPr>
          <p:cNvPr id="1238" name="Group 1237">
            <a:extLst>
              <a:ext uri="{FF2B5EF4-FFF2-40B4-BE49-F238E27FC236}">
                <a16:creationId xmlns:a16="http://schemas.microsoft.com/office/drawing/2014/main" id="{3F750987-B206-CB37-75F0-0DA2683232B6}"/>
              </a:ext>
            </a:extLst>
          </p:cNvPr>
          <p:cNvGrpSpPr/>
          <p:nvPr/>
        </p:nvGrpSpPr>
        <p:grpSpPr>
          <a:xfrm>
            <a:off x="8035565" y="133130"/>
            <a:ext cx="830451" cy="619593"/>
            <a:chOff x="29360739" y="562752"/>
            <a:chExt cx="2947027" cy="2198753"/>
          </a:xfrm>
        </p:grpSpPr>
        <p:grpSp>
          <p:nvGrpSpPr>
            <p:cNvPr id="544" name="Group 595">
              <a:extLst>
                <a:ext uri="{FF2B5EF4-FFF2-40B4-BE49-F238E27FC236}">
                  <a16:creationId xmlns:a16="http://schemas.microsoft.com/office/drawing/2014/main" id="{534C1661-82A6-F82F-AF3F-780B8B4E742D}"/>
                </a:ext>
              </a:extLst>
            </p:cNvPr>
            <p:cNvGrpSpPr/>
            <p:nvPr/>
          </p:nvGrpSpPr>
          <p:grpSpPr>
            <a:xfrm>
              <a:off x="30536661" y="717952"/>
              <a:ext cx="1771105" cy="1820865"/>
              <a:chOff x="6376813" y="95334"/>
              <a:chExt cx="3667135" cy="3720666"/>
            </a:xfrm>
            <a:solidFill>
              <a:srgbClr val="8098AA"/>
            </a:solidFill>
          </p:grpSpPr>
          <p:sp>
            <p:nvSpPr>
              <p:cNvPr id="545" name="Freeform: Shape 588">
                <a:extLst>
                  <a:ext uri="{FF2B5EF4-FFF2-40B4-BE49-F238E27FC236}">
                    <a16:creationId xmlns:a16="http://schemas.microsoft.com/office/drawing/2014/main" id="{5D16BE77-2B5A-DE5B-B45A-37CEB7F50A0E}"/>
                  </a:ext>
                </a:extLst>
              </p:cNvPr>
              <p:cNvSpPr/>
              <p:nvPr/>
            </p:nvSpPr>
            <p:spPr>
              <a:xfrm>
                <a:off x="6376813" y="2946814"/>
                <a:ext cx="541736" cy="869175"/>
              </a:xfrm>
              <a:custGeom>
                <a:avLst/>
                <a:gdLst>
                  <a:gd name="connsiteX0" fmla="*/ 458393 w 541736"/>
                  <a:gd name="connsiteY0" fmla="*/ 869175 h 869175"/>
                  <a:gd name="connsiteX1" fmla="*/ 83344 w 541736"/>
                  <a:gd name="connsiteY1" fmla="*/ 869175 h 869175"/>
                  <a:gd name="connsiteX2" fmla="*/ 0 w 541736"/>
                  <a:gd name="connsiteY2" fmla="*/ 785831 h 869175"/>
                  <a:gd name="connsiteX3" fmla="*/ 0 w 541736"/>
                  <a:gd name="connsiteY3" fmla="*/ 83344 h 869175"/>
                  <a:gd name="connsiteX4" fmla="*/ 83344 w 541736"/>
                  <a:gd name="connsiteY4" fmla="*/ 0 h 869175"/>
                  <a:gd name="connsiteX5" fmla="*/ 458393 w 541736"/>
                  <a:gd name="connsiteY5" fmla="*/ 0 h 869175"/>
                  <a:gd name="connsiteX6" fmla="*/ 541736 w 541736"/>
                  <a:gd name="connsiteY6" fmla="*/ 83344 h 869175"/>
                  <a:gd name="connsiteX7" fmla="*/ 541736 w 541736"/>
                  <a:gd name="connsiteY7" fmla="*/ 779850 h 869175"/>
                  <a:gd name="connsiteX8" fmla="*/ 458393 w 541736"/>
                  <a:gd name="connsiteY8" fmla="*/ 869148 h 869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41736" h="869175">
                    <a:moveTo>
                      <a:pt x="458393" y="869175"/>
                    </a:moveTo>
                    <a:lnTo>
                      <a:pt x="83344" y="869175"/>
                    </a:lnTo>
                    <a:cubicBezTo>
                      <a:pt x="35719" y="869175"/>
                      <a:pt x="0" y="833456"/>
                      <a:pt x="0" y="785831"/>
                    </a:cubicBezTo>
                    <a:lnTo>
                      <a:pt x="0" y="83344"/>
                    </a:lnTo>
                    <a:cubicBezTo>
                      <a:pt x="0" y="35719"/>
                      <a:pt x="35719" y="0"/>
                      <a:pt x="83344" y="0"/>
                    </a:cubicBezTo>
                    <a:lnTo>
                      <a:pt x="458393" y="0"/>
                    </a:lnTo>
                    <a:cubicBezTo>
                      <a:pt x="506018" y="0"/>
                      <a:pt x="541736" y="35719"/>
                      <a:pt x="541736" y="83344"/>
                    </a:cubicBezTo>
                    <a:lnTo>
                      <a:pt x="541736" y="779850"/>
                    </a:lnTo>
                    <a:cubicBezTo>
                      <a:pt x="541736" y="827475"/>
                      <a:pt x="500063" y="869148"/>
                      <a:pt x="458393" y="869148"/>
                    </a:cubicBezTo>
                    <a:close/>
                  </a:path>
                </a:pathLst>
              </a:custGeom>
              <a:solidFill>
                <a:srgbClr val="98733A"/>
              </a:solidFill>
              <a:ln w="381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207112">
                  <a:defRPr/>
                </a:pPr>
                <a:endParaRPr lang="nl-NL" sz="1359" kern="0" dirty="0">
                  <a:solidFill>
                    <a:srgbClr val="7C7C7C"/>
                  </a:solidFill>
                  <a:latin typeface="Roboto Condensed"/>
                </a:endParaRPr>
              </a:p>
            </p:txBody>
          </p:sp>
          <p:sp>
            <p:nvSpPr>
              <p:cNvPr id="546" name="Freeform: Shape 589">
                <a:extLst>
                  <a:ext uri="{FF2B5EF4-FFF2-40B4-BE49-F238E27FC236}">
                    <a16:creationId xmlns:a16="http://schemas.microsoft.com/office/drawing/2014/main" id="{1FDB1969-7488-F46F-34AB-FD363BC9630B}"/>
                  </a:ext>
                </a:extLst>
              </p:cNvPr>
              <p:cNvSpPr/>
              <p:nvPr/>
            </p:nvSpPr>
            <p:spPr>
              <a:xfrm>
                <a:off x="7198363" y="2577739"/>
                <a:ext cx="541736" cy="1238261"/>
              </a:xfrm>
              <a:custGeom>
                <a:avLst/>
                <a:gdLst>
                  <a:gd name="connsiteX0" fmla="*/ 458393 w 541736"/>
                  <a:gd name="connsiteY0" fmla="*/ 1238250 h 1238261"/>
                  <a:gd name="connsiteX1" fmla="*/ 83344 w 541736"/>
                  <a:gd name="connsiteY1" fmla="*/ 1238250 h 1238261"/>
                  <a:gd name="connsiteX2" fmla="*/ 0 w 541736"/>
                  <a:gd name="connsiteY2" fmla="*/ 1154906 h 1238261"/>
                  <a:gd name="connsiteX3" fmla="*/ 0 w 541736"/>
                  <a:gd name="connsiteY3" fmla="*/ 83344 h 1238261"/>
                  <a:gd name="connsiteX4" fmla="*/ 83344 w 541736"/>
                  <a:gd name="connsiteY4" fmla="*/ 0 h 1238261"/>
                  <a:gd name="connsiteX5" fmla="*/ 458393 w 541736"/>
                  <a:gd name="connsiteY5" fmla="*/ 0 h 1238261"/>
                  <a:gd name="connsiteX6" fmla="*/ 541736 w 541736"/>
                  <a:gd name="connsiteY6" fmla="*/ 83344 h 1238261"/>
                  <a:gd name="connsiteX7" fmla="*/ 541736 w 541736"/>
                  <a:gd name="connsiteY7" fmla="*/ 1148963 h 1238261"/>
                  <a:gd name="connsiteX8" fmla="*/ 458393 w 541736"/>
                  <a:gd name="connsiteY8" fmla="*/ 1238262 h 12382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41736" h="1238261">
                    <a:moveTo>
                      <a:pt x="458393" y="1238250"/>
                    </a:moveTo>
                    <a:lnTo>
                      <a:pt x="83344" y="1238250"/>
                    </a:lnTo>
                    <a:cubicBezTo>
                      <a:pt x="35719" y="1238250"/>
                      <a:pt x="0" y="1202531"/>
                      <a:pt x="0" y="1154906"/>
                    </a:cubicBezTo>
                    <a:lnTo>
                      <a:pt x="0" y="83344"/>
                    </a:lnTo>
                    <a:cubicBezTo>
                      <a:pt x="0" y="35719"/>
                      <a:pt x="35719" y="0"/>
                      <a:pt x="83344" y="0"/>
                    </a:cubicBezTo>
                    <a:lnTo>
                      <a:pt x="458393" y="0"/>
                    </a:lnTo>
                    <a:cubicBezTo>
                      <a:pt x="506018" y="0"/>
                      <a:pt x="541736" y="35719"/>
                      <a:pt x="541736" y="83344"/>
                    </a:cubicBezTo>
                    <a:lnTo>
                      <a:pt x="541736" y="1148963"/>
                    </a:lnTo>
                    <a:cubicBezTo>
                      <a:pt x="541736" y="1196588"/>
                      <a:pt x="506018" y="1238262"/>
                      <a:pt x="458393" y="1238262"/>
                    </a:cubicBezTo>
                    <a:close/>
                  </a:path>
                </a:pathLst>
              </a:custGeom>
              <a:solidFill>
                <a:srgbClr val="98733A"/>
              </a:solidFill>
              <a:ln w="381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207112">
                  <a:defRPr/>
                </a:pPr>
                <a:endParaRPr lang="nl-NL" sz="1359" kern="0" dirty="0">
                  <a:solidFill>
                    <a:srgbClr val="7C7C7C"/>
                  </a:solidFill>
                  <a:latin typeface="Roboto Condensed"/>
                </a:endParaRPr>
              </a:p>
            </p:txBody>
          </p:sp>
          <p:sp>
            <p:nvSpPr>
              <p:cNvPr id="547" name="Freeform: Shape 590">
                <a:extLst>
                  <a:ext uri="{FF2B5EF4-FFF2-40B4-BE49-F238E27FC236}">
                    <a16:creationId xmlns:a16="http://schemas.microsoft.com/office/drawing/2014/main" id="{2C7EE12B-616D-98F8-918E-548C9AF10994}"/>
                  </a:ext>
                </a:extLst>
              </p:cNvPr>
              <p:cNvSpPr/>
              <p:nvPr/>
            </p:nvSpPr>
            <p:spPr>
              <a:xfrm>
                <a:off x="8025857" y="1845495"/>
                <a:ext cx="541736" cy="1970505"/>
              </a:xfrm>
              <a:custGeom>
                <a:avLst/>
                <a:gdLst>
                  <a:gd name="connsiteX0" fmla="*/ 458393 w 541736"/>
                  <a:gd name="connsiteY0" fmla="*/ 1970494 h 1970505"/>
                  <a:gd name="connsiteX1" fmla="*/ 83344 w 541736"/>
                  <a:gd name="connsiteY1" fmla="*/ 1970494 h 1970505"/>
                  <a:gd name="connsiteX2" fmla="*/ 0 w 541736"/>
                  <a:gd name="connsiteY2" fmla="*/ 1887150 h 1970505"/>
                  <a:gd name="connsiteX3" fmla="*/ 0 w 541736"/>
                  <a:gd name="connsiteY3" fmla="*/ 83344 h 1970505"/>
                  <a:gd name="connsiteX4" fmla="*/ 83344 w 541736"/>
                  <a:gd name="connsiteY4" fmla="*/ 0 h 1970505"/>
                  <a:gd name="connsiteX5" fmla="*/ 458393 w 541736"/>
                  <a:gd name="connsiteY5" fmla="*/ 0 h 1970505"/>
                  <a:gd name="connsiteX6" fmla="*/ 541736 w 541736"/>
                  <a:gd name="connsiteY6" fmla="*/ 83344 h 1970505"/>
                  <a:gd name="connsiteX7" fmla="*/ 541736 w 541736"/>
                  <a:gd name="connsiteY7" fmla="*/ 1881207 h 1970505"/>
                  <a:gd name="connsiteX8" fmla="*/ 458393 w 541736"/>
                  <a:gd name="connsiteY8" fmla="*/ 1970506 h 1970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41736" h="1970505">
                    <a:moveTo>
                      <a:pt x="458393" y="1970494"/>
                    </a:moveTo>
                    <a:lnTo>
                      <a:pt x="83344" y="1970494"/>
                    </a:lnTo>
                    <a:cubicBezTo>
                      <a:pt x="35719" y="1970494"/>
                      <a:pt x="0" y="1934775"/>
                      <a:pt x="0" y="1887150"/>
                    </a:cubicBezTo>
                    <a:lnTo>
                      <a:pt x="0" y="83344"/>
                    </a:lnTo>
                    <a:cubicBezTo>
                      <a:pt x="0" y="35719"/>
                      <a:pt x="35719" y="0"/>
                      <a:pt x="83344" y="0"/>
                    </a:cubicBezTo>
                    <a:lnTo>
                      <a:pt x="458393" y="0"/>
                    </a:lnTo>
                    <a:cubicBezTo>
                      <a:pt x="506018" y="0"/>
                      <a:pt x="541736" y="35719"/>
                      <a:pt x="541736" y="83344"/>
                    </a:cubicBezTo>
                    <a:lnTo>
                      <a:pt x="541736" y="1881207"/>
                    </a:lnTo>
                    <a:cubicBezTo>
                      <a:pt x="541736" y="1928832"/>
                      <a:pt x="506018" y="1970506"/>
                      <a:pt x="458393" y="1970506"/>
                    </a:cubicBezTo>
                    <a:close/>
                  </a:path>
                </a:pathLst>
              </a:custGeom>
              <a:solidFill>
                <a:srgbClr val="98733A"/>
              </a:solidFill>
              <a:ln w="381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207112">
                  <a:defRPr/>
                </a:pPr>
                <a:endParaRPr lang="nl-NL" sz="1359" kern="0" dirty="0">
                  <a:solidFill>
                    <a:srgbClr val="7C7C7C"/>
                  </a:solidFill>
                  <a:latin typeface="Roboto Condensed"/>
                </a:endParaRPr>
              </a:p>
            </p:txBody>
          </p:sp>
          <p:sp>
            <p:nvSpPr>
              <p:cNvPr id="548" name="Freeform: Shape 591">
                <a:extLst>
                  <a:ext uri="{FF2B5EF4-FFF2-40B4-BE49-F238E27FC236}">
                    <a16:creationId xmlns:a16="http://schemas.microsoft.com/office/drawing/2014/main" id="{CDE09320-FC8D-FF1F-DE2E-16FBD759BF4C}"/>
                  </a:ext>
                </a:extLst>
              </p:cNvPr>
              <p:cNvSpPr/>
              <p:nvPr/>
            </p:nvSpPr>
            <p:spPr>
              <a:xfrm>
                <a:off x="8853316" y="95334"/>
                <a:ext cx="1190632" cy="3714731"/>
              </a:xfrm>
              <a:custGeom>
                <a:avLst/>
                <a:gdLst>
                  <a:gd name="connsiteX0" fmla="*/ 1190633 w 1190632"/>
                  <a:gd name="connsiteY0" fmla="*/ 369075 h 3714731"/>
                  <a:gd name="connsiteX1" fmla="*/ 1137057 w 1190632"/>
                  <a:gd name="connsiteY1" fmla="*/ 428606 h 3714731"/>
                  <a:gd name="connsiteX2" fmla="*/ 357188 w 1190632"/>
                  <a:gd name="connsiteY2" fmla="*/ 619106 h 3714731"/>
                  <a:gd name="connsiteX3" fmla="*/ 345281 w 1190632"/>
                  <a:gd name="connsiteY3" fmla="*/ 619106 h 3714731"/>
                  <a:gd name="connsiteX4" fmla="*/ 345281 w 1190632"/>
                  <a:gd name="connsiteY4" fmla="*/ 1023918 h 3714731"/>
                  <a:gd name="connsiteX5" fmla="*/ 434580 w 1190632"/>
                  <a:gd name="connsiteY5" fmla="*/ 1023918 h 3714731"/>
                  <a:gd name="connsiteX6" fmla="*/ 541736 w 1190632"/>
                  <a:gd name="connsiteY6" fmla="*/ 1107262 h 3714731"/>
                  <a:gd name="connsiteX7" fmla="*/ 541736 w 1190632"/>
                  <a:gd name="connsiteY7" fmla="*/ 3631387 h 3714731"/>
                  <a:gd name="connsiteX8" fmla="*/ 434580 w 1190632"/>
                  <a:gd name="connsiteY8" fmla="*/ 3714731 h 3714731"/>
                  <a:gd name="connsiteX9" fmla="*/ 107156 w 1190632"/>
                  <a:gd name="connsiteY9" fmla="*/ 3714731 h 3714731"/>
                  <a:gd name="connsiteX10" fmla="*/ 0 w 1190632"/>
                  <a:gd name="connsiteY10" fmla="*/ 3631387 h 3714731"/>
                  <a:gd name="connsiteX11" fmla="*/ 0 w 1190632"/>
                  <a:gd name="connsiteY11" fmla="*/ 1107262 h 3714731"/>
                  <a:gd name="connsiteX12" fmla="*/ 107156 w 1190632"/>
                  <a:gd name="connsiteY12" fmla="*/ 1023918 h 3714731"/>
                  <a:gd name="connsiteX13" fmla="*/ 190500 w 1190632"/>
                  <a:gd name="connsiteY13" fmla="*/ 1023918 h 3714731"/>
                  <a:gd name="connsiteX14" fmla="*/ 190500 w 1190632"/>
                  <a:gd name="connsiteY14" fmla="*/ 59531 h 3714731"/>
                  <a:gd name="connsiteX15" fmla="*/ 267889 w 1190632"/>
                  <a:gd name="connsiteY15" fmla="*/ 0 h 3714731"/>
                  <a:gd name="connsiteX16" fmla="*/ 345277 w 1190632"/>
                  <a:gd name="connsiteY16" fmla="*/ 59531 h 3714731"/>
                  <a:gd name="connsiteX17" fmla="*/ 345277 w 1190632"/>
                  <a:gd name="connsiteY17" fmla="*/ 125018 h 3714731"/>
                  <a:gd name="connsiteX18" fmla="*/ 357184 w 1190632"/>
                  <a:gd name="connsiteY18" fmla="*/ 125018 h 3714731"/>
                  <a:gd name="connsiteX19" fmla="*/ 1137052 w 1190632"/>
                  <a:gd name="connsiteY19" fmla="*/ 309566 h 3714731"/>
                  <a:gd name="connsiteX20" fmla="*/ 1190629 w 1190632"/>
                  <a:gd name="connsiteY20" fmla="*/ 369098 h 37147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190632" h="3714731">
                    <a:moveTo>
                      <a:pt x="1190633" y="369075"/>
                    </a:moveTo>
                    <a:cubicBezTo>
                      <a:pt x="1190633" y="392887"/>
                      <a:pt x="1166820" y="416700"/>
                      <a:pt x="1137057" y="428606"/>
                    </a:cubicBezTo>
                    <a:lnTo>
                      <a:pt x="357188" y="619106"/>
                    </a:lnTo>
                    <a:lnTo>
                      <a:pt x="345281" y="619106"/>
                    </a:lnTo>
                    <a:lnTo>
                      <a:pt x="345281" y="1023918"/>
                    </a:lnTo>
                    <a:lnTo>
                      <a:pt x="434580" y="1023918"/>
                    </a:lnTo>
                    <a:cubicBezTo>
                      <a:pt x="494111" y="1023918"/>
                      <a:pt x="541736" y="1059637"/>
                      <a:pt x="541736" y="1107262"/>
                    </a:cubicBezTo>
                    <a:lnTo>
                      <a:pt x="541736" y="3631387"/>
                    </a:lnTo>
                    <a:cubicBezTo>
                      <a:pt x="541736" y="3679012"/>
                      <a:pt x="494111" y="3714731"/>
                      <a:pt x="434580" y="3714731"/>
                    </a:cubicBezTo>
                    <a:lnTo>
                      <a:pt x="107156" y="3714731"/>
                    </a:lnTo>
                    <a:cubicBezTo>
                      <a:pt x="47625" y="3714731"/>
                      <a:pt x="0" y="3679012"/>
                      <a:pt x="0" y="3631387"/>
                    </a:cubicBezTo>
                    <a:lnTo>
                      <a:pt x="0" y="1107262"/>
                    </a:lnTo>
                    <a:cubicBezTo>
                      <a:pt x="0" y="1059637"/>
                      <a:pt x="47625" y="1023918"/>
                      <a:pt x="107156" y="1023918"/>
                    </a:cubicBezTo>
                    <a:lnTo>
                      <a:pt x="190500" y="1023918"/>
                    </a:lnTo>
                    <a:lnTo>
                      <a:pt x="190500" y="59531"/>
                    </a:lnTo>
                    <a:cubicBezTo>
                      <a:pt x="190500" y="23813"/>
                      <a:pt x="226219" y="0"/>
                      <a:pt x="267889" y="0"/>
                    </a:cubicBezTo>
                    <a:cubicBezTo>
                      <a:pt x="309559" y="0"/>
                      <a:pt x="345277" y="23813"/>
                      <a:pt x="345277" y="59531"/>
                    </a:cubicBezTo>
                    <a:lnTo>
                      <a:pt x="345277" y="125018"/>
                    </a:lnTo>
                    <a:lnTo>
                      <a:pt x="357184" y="125018"/>
                    </a:lnTo>
                    <a:lnTo>
                      <a:pt x="1137052" y="309566"/>
                    </a:lnTo>
                    <a:cubicBezTo>
                      <a:pt x="1172771" y="321473"/>
                      <a:pt x="1190629" y="345285"/>
                      <a:pt x="1190629" y="369098"/>
                    </a:cubicBezTo>
                    <a:close/>
                  </a:path>
                </a:pathLst>
              </a:custGeom>
              <a:solidFill>
                <a:srgbClr val="98733A"/>
              </a:solidFill>
              <a:ln w="381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207112">
                  <a:defRPr/>
                </a:pPr>
                <a:endParaRPr lang="nl-NL" sz="1359" kern="0" dirty="0">
                  <a:solidFill>
                    <a:srgbClr val="7C7C7C"/>
                  </a:solidFill>
                  <a:latin typeface="Roboto Condensed"/>
                </a:endParaRPr>
              </a:p>
            </p:txBody>
          </p:sp>
        </p:grpSp>
        <p:pic>
          <p:nvPicPr>
            <p:cNvPr id="549" name="Graphic 548">
              <a:extLst>
                <a:ext uri="{FF2B5EF4-FFF2-40B4-BE49-F238E27FC236}">
                  <a16:creationId xmlns:a16="http://schemas.microsoft.com/office/drawing/2014/main" id="{FBDCFC83-7F39-1913-1F4F-B4F726C6C33C}"/>
                </a:ext>
              </a:extLst>
            </p:cNvPr>
            <p:cNvPicPr>
              <a:picLocks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9360739" y="562752"/>
              <a:ext cx="2356385" cy="2198753"/>
            </a:xfrm>
            <a:prstGeom prst="rect">
              <a:avLst/>
            </a:prstGeom>
          </p:spPr>
        </p:pic>
      </p:grpSp>
      <p:grpSp>
        <p:nvGrpSpPr>
          <p:cNvPr id="1024" name="Group 1023">
            <a:extLst>
              <a:ext uri="{FF2B5EF4-FFF2-40B4-BE49-F238E27FC236}">
                <a16:creationId xmlns:a16="http://schemas.microsoft.com/office/drawing/2014/main" id="{9EC3A7C2-48C1-D7A7-738A-2CAA77466D07}"/>
              </a:ext>
            </a:extLst>
          </p:cNvPr>
          <p:cNvGrpSpPr/>
          <p:nvPr/>
        </p:nvGrpSpPr>
        <p:grpSpPr>
          <a:xfrm>
            <a:off x="3670384" y="98426"/>
            <a:ext cx="579666" cy="694730"/>
            <a:chOff x="3478096" y="1137247"/>
            <a:chExt cx="498387" cy="598723"/>
          </a:xfrm>
        </p:grpSpPr>
        <p:sp>
          <p:nvSpPr>
            <p:cNvPr id="1025" name="Freeform: Shape 1024">
              <a:extLst>
                <a:ext uri="{FF2B5EF4-FFF2-40B4-BE49-F238E27FC236}">
                  <a16:creationId xmlns:a16="http://schemas.microsoft.com/office/drawing/2014/main" id="{2E42591B-C6C3-0B38-00FD-3EE8990F7BCC}"/>
                </a:ext>
              </a:extLst>
            </p:cNvPr>
            <p:cNvSpPr/>
            <p:nvPr/>
          </p:nvSpPr>
          <p:spPr>
            <a:xfrm>
              <a:off x="3533220" y="1214767"/>
              <a:ext cx="97041" cy="97041"/>
            </a:xfrm>
            <a:custGeom>
              <a:avLst/>
              <a:gdLst>
                <a:gd name="connsiteX0" fmla="*/ 97041 w 97041"/>
                <a:gd name="connsiteY0" fmla="*/ 48521 h 97041"/>
                <a:gd name="connsiteX1" fmla="*/ 48521 w 97041"/>
                <a:gd name="connsiteY1" fmla="*/ 97041 h 97041"/>
                <a:gd name="connsiteX2" fmla="*/ 0 w 97041"/>
                <a:gd name="connsiteY2" fmla="*/ 48521 h 97041"/>
                <a:gd name="connsiteX3" fmla="*/ 48521 w 97041"/>
                <a:gd name="connsiteY3" fmla="*/ 0 h 97041"/>
                <a:gd name="connsiteX4" fmla="*/ 97041 w 97041"/>
                <a:gd name="connsiteY4" fmla="*/ 48521 h 970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7041" h="97041">
                  <a:moveTo>
                    <a:pt x="97041" y="48521"/>
                  </a:moveTo>
                  <a:cubicBezTo>
                    <a:pt x="97041" y="75329"/>
                    <a:pt x="75304" y="97041"/>
                    <a:pt x="48521" y="97041"/>
                  </a:cubicBezTo>
                  <a:cubicBezTo>
                    <a:pt x="21712" y="97041"/>
                    <a:pt x="0" y="75329"/>
                    <a:pt x="0" y="48521"/>
                  </a:cubicBezTo>
                  <a:cubicBezTo>
                    <a:pt x="0" y="21712"/>
                    <a:pt x="21712" y="0"/>
                    <a:pt x="48521" y="0"/>
                  </a:cubicBezTo>
                  <a:cubicBezTo>
                    <a:pt x="75304" y="0"/>
                    <a:pt x="97041" y="21712"/>
                    <a:pt x="97041" y="48521"/>
                  </a:cubicBezTo>
                </a:path>
              </a:pathLst>
            </a:custGeom>
            <a:solidFill>
              <a:srgbClr val="98733A"/>
            </a:solidFill>
            <a:ln w="6287" cap="flat">
              <a:solidFill>
                <a:sysClr val="window" lastClr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207112">
                <a:defRPr/>
              </a:pPr>
              <a:endParaRPr lang="nl-NL" sz="1359" kern="0" dirty="0">
                <a:solidFill>
                  <a:srgbClr val="7C7C7C"/>
                </a:solidFill>
                <a:latin typeface="Roboto Condensed"/>
              </a:endParaRPr>
            </a:p>
          </p:txBody>
        </p:sp>
        <p:sp>
          <p:nvSpPr>
            <p:cNvPr id="1027" name="Freeform: Shape 1026">
              <a:extLst>
                <a:ext uri="{FF2B5EF4-FFF2-40B4-BE49-F238E27FC236}">
                  <a16:creationId xmlns:a16="http://schemas.microsoft.com/office/drawing/2014/main" id="{1184CE18-77C3-E106-DCB2-14985E9D249F}"/>
                </a:ext>
              </a:extLst>
            </p:cNvPr>
            <p:cNvSpPr/>
            <p:nvPr/>
          </p:nvSpPr>
          <p:spPr>
            <a:xfrm>
              <a:off x="3478096" y="1320007"/>
              <a:ext cx="218774" cy="415963"/>
            </a:xfrm>
            <a:custGeom>
              <a:avLst/>
              <a:gdLst>
                <a:gd name="connsiteX0" fmla="*/ 200073 w 218774"/>
                <a:gd name="connsiteY0" fmla="*/ 111539 h 415963"/>
                <a:gd name="connsiteX1" fmla="*/ 149016 w 218774"/>
                <a:gd name="connsiteY1" fmla="*/ 96424 h 415963"/>
                <a:gd name="connsiteX2" fmla="*/ 113100 w 218774"/>
                <a:gd name="connsiteY2" fmla="*/ 24593 h 415963"/>
                <a:gd name="connsiteX3" fmla="*/ 104902 w 218774"/>
                <a:gd name="connsiteY3" fmla="*/ 13244 h 415963"/>
                <a:gd name="connsiteX4" fmla="*/ 70241 w 218774"/>
                <a:gd name="connsiteY4" fmla="*/ 0 h 415963"/>
                <a:gd name="connsiteX5" fmla="*/ 38090 w 218774"/>
                <a:gd name="connsiteY5" fmla="*/ 15755 h 415963"/>
                <a:gd name="connsiteX6" fmla="*/ 31148 w 218774"/>
                <a:gd name="connsiteY6" fmla="*/ 28999 h 415963"/>
                <a:gd name="connsiteX7" fmla="*/ 893 w 218774"/>
                <a:gd name="connsiteY7" fmla="*/ 147484 h 415963"/>
                <a:gd name="connsiteX8" fmla="*/ 3404 w 218774"/>
                <a:gd name="connsiteY8" fmla="*/ 168286 h 415963"/>
                <a:gd name="connsiteX9" fmla="*/ 53820 w 218774"/>
                <a:gd name="connsiteY9" fmla="*/ 263459 h 415963"/>
                <a:gd name="connsiteX10" fmla="*/ 55076 w 218774"/>
                <a:gd name="connsiteY10" fmla="*/ 270402 h 415963"/>
                <a:gd name="connsiteX11" fmla="*/ 37425 w 218774"/>
                <a:gd name="connsiteY11" fmla="*/ 380687 h 415963"/>
                <a:gd name="connsiteX12" fmla="*/ 57587 w 218774"/>
                <a:gd name="connsiteY12" fmla="*/ 414708 h 415963"/>
                <a:gd name="connsiteX13" fmla="*/ 65784 w 218774"/>
                <a:gd name="connsiteY13" fmla="*/ 415964 h 415963"/>
                <a:gd name="connsiteX14" fmla="*/ 94784 w 218774"/>
                <a:gd name="connsiteY14" fmla="*/ 392011 h 415963"/>
                <a:gd name="connsiteX15" fmla="*/ 118737 w 218774"/>
                <a:gd name="connsiteY15" fmla="*/ 266613 h 415963"/>
                <a:gd name="connsiteX16" fmla="*/ 117481 w 218774"/>
                <a:gd name="connsiteY16" fmla="*/ 251498 h 415963"/>
                <a:gd name="connsiteX17" fmla="*/ 91042 w 218774"/>
                <a:gd name="connsiteY17" fmla="*/ 173315 h 415963"/>
                <a:gd name="connsiteX18" fmla="*/ 90402 w 218774"/>
                <a:gd name="connsiteY18" fmla="*/ 166373 h 415963"/>
                <a:gd name="connsiteX19" fmla="*/ 102366 w 218774"/>
                <a:gd name="connsiteY19" fmla="*/ 112165 h 415963"/>
                <a:gd name="connsiteX20" fmla="*/ 109923 w 218774"/>
                <a:gd name="connsiteY20" fmla="*/ 127280 h 415963"/>
                <a:gd name="connsiteX21" fmla="*/ 125038 w 218774"/>
                <a:gd name="connsiteY21" fmla="*/ 139884 h 415963"/>
                <a:gd name="connsiteX22" fmla="*/ 187418 w 218774"/>
                <a:gd name="connsiteY22" fmla="*/ 158150 h 415963"/>
                <a:gd name="connsiteX23" fmla="*/ 194361 w 218774"/>
                <a:gd name="connsiteY23" fmla="*/ 159405 h 415963"/>
                <a:gd name="connsiteX24" fmla="*/ 218313 w 218774"/>
                <a:gd name="connsiteY24" fmla="*/ 139244 h 415963"/>
                <a:gd name="connsiteX25" fmla="*/ 200072 w 218774"/>
                <a:gd name="connsiteY25" fmla="*/ 111549 h 4159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8774" h="415963">
                  <a:moveTo>
                    <a:pt x="200073" y="111539"/>
                  </a:moveTo>
                  <a:lnTo>
                    <a:pt x="149016" y="96424"/>
                  </a:lnTo>
                  <a:lnTo>
                    <a:pt x="113100" y="24593"/>
                  </a:lnTo>
                  <a:cubicBezTo>
                    <a:pt x="112459" y="23338"/>
                    <a:pt x="110589" y="18931"/>
                    <a:pt x="104902" y="13244"/>
                  </a:cubicBezTo>
                  <a:cubicBezTo>
                    <a:pt x="95449" y="4432"/>
                    <a:pt x="82845" y="0"/>
                    <a:pt x="70241" y="0"/>
                  </a:cubicBezTo>
                  <a:cubicBezTo>
                    <a:pt x="57637" y="640"/>
                    <a:pt x="46288" y="6302"/>
                    <a:pt x="38090" y="15755"/>
                  </a:cubicBezTo>
                  <a:cubicBezTo>
                    <a:pt x="35579" y="18906"/>
                    <a:pt x="32428" y="25208"/>
                    <a:pt x="31148" y="28999"/>
                  </a:cubicBezTo>
                  <a:lnTo>
                    <a:pt x="893" y="147484"/>
                  </a:lnTo>
                  <a:cubicBezTo>
                    <a:pt x="-1003" y="154426"/>
                    <a:pt x="253" y="161984"/>
                    <a:pt x="3404" y="168286"/>
                  </a:cubicBezTo>
                  <a:lnTo>
                    <a:pt x="53820" y="263459"/>
                  </a:lnTo>
                  <a:cubicBezTo>
                    <a:pt x="55076" y="265355"/>
                    <a:pt x="55076" y="267866"/>
                    <a:pt x="55076" y="270402"/>
                  </a:cubicBezTo>
                  <a:lnTo>
                    <a:pt x="37425" y="380687"/>
                  </a:lnTo>
                  <a:cubicBezTo>
                    <a:pt x="34914" y="395187"/>
                    <a:pt x="43087" y="410302"/>
                    <a:pt x="57587" y="414708"/>
                  </a:cubicBezTo>
                  <a:cubicBezTo>
                    <a:pt x="60738" y="415349"/>
                    <a:pt x="63249" y="415964"/>
                    <a:pt x="65784" y="415964"/>
                  </a:cubicBezTo>
                  <a:cubicBezTo>
                    <a:pt x="79644" y="415964"/>
                    <a:pt x="91633" y="406511"/>
                    <a:pt x="94784" y="392011"/>
                  </a:cubicBezTo>
                  <a:lnTo>
                    <a:pt x="118737" y="266613"/>
                  </a:lnTo>
                  <a:cubicBezTo>
                    <a:pt x="119992" y="261566"/>
                    <a:pt x="119376" y="256519"/>
                    <a:pt x="117481" y="251498"/>
                  </a:cubicBezTo>
                  <a:lnTo>
                    <a:pt x="91042" y="173315"/>
                  </a:lnTo>
                  <a:cubicBezTo>
                    <a:pt x="90402" y="171419"/>
                    <a:pt x="90402" y="168909"/>
                    <a:pt x="90402" y="166373"/>
                  </a:cubicBezTo>
                  <a:lnTo>
                    <a:pt x="102366" y="112165"/>
                  </a:lnTo>
                  <a:lnTo>
                    <a:pt x="109923" y="127280"/>
                  </a:lnTo>
                  <a:cubicBezTo>
                    <a:pt x="113074" y="133582"/>
                    <a:pt x="118121" y="137988"/>
                    <a:pt x="125038" y="139884"/>
                  </a:cubicBezTo>
                  <a:lnTo>
                    <a:pt x="187418" y="158150"/>
                  </a:lnTo>
                  <a:cubicBezTo>
                    <a:pt x="189929" y="158790"/>
                    <a:pt x="191825" y="159405"/>
                    <a:pt x="194361" y="159405"/>
                  </a:cubicBezTo>
                  <a:cubicBezTo>
                    <a:pt x="205709" y="159405"/>
                    <a:pt x="216418" y="151207"/>
                    <a:pt x="218313" y="139244"/>
                  </a:cubicBezTo>
                  <a:cubicBezTo>
                    <a:pt x="220849" y="127304"/>
                    <a:pt x="212676" y="115340"/>
                    <a:pt x="200072" y="111549"/>
                  </a:cubicBezTo>
                  <a:close/>
                </a:path>
              </a:pathLst>
            </a:custGeom>
            <a:solidFill>
              <a:srgbClr val="98733A"/>
            </a:solidFill>
            <a:ln w="6287" cap="flat">
              <a:solidFill>
                <a:sysClr val="window" lastClr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207112">
                <a:defRPr/>
              </a:pPr>
              <a:endParaRPr lang="nl-NL" sz="1359" kern="0" dirty="0">
                <a:solidFill>
                  <a:srgbClr val="7C7C7C"/>
                </a:solidFill>
                <a:latin typeface="Roboto Condensed"/>
              </a:endParaRPr>
            </a:p>
          </p:txBody>
        </p:sp>
        <p:sp>
          <p:nvSpPr>
            <p:cNvPr id="1028" name="Freeform: Shape 1027">
              <a:extLst>
                <a:ext uri="{FF2B5EF4-FFF2-40B4-BE49-F238E27FC236}">
                  <a16:creationId xmlns:a16="http://schemas.microsoft.com/office/drawing/2014/main" id="{77FCB958-8F13-B3BB-9C30-120386C28B93}"/>
                </a:ext>
              </a:extLst>
            </p:cNvPr>
            <p:cNvSpPr/>
            <p:nvPr/>
          </p:nvSpPr>
          <p:spPr>
            <a:xfrm>
              <a:off x="3825622" y="1214767"/>
              <a:ext cx="97041" cy="97041"/>
            </a:xfrm>
            <a:custGeom>
              <a:avLst/>
              <a:gdLst>
                <a:gd name="connsiteX0" fmla="*/ 97041 w 97041"/>
                <a:gd name="connsiteY0" fmla="*/ 48521 h 97041"/>
                <a:gd name="connsiteX1" fmla="*/ 48521 w 97041"/>
                <a:gd name="connsiteY1" fmla="*/ 97041 h 97041"/>
                <a:gd name="connsiteX2" fmla="*/ 0 w 97041"/>
                <a:gd name="connsiteY2" fmla="*/ 48521 h 97041"/>
                <a:gd name="connsiteX3" fmla="*/ 48521 w 97041"/>
                <a:gd name="connsiteY3" fmla="*/ 0 h 97041"/>
                <a:gd name="connsiteX4" fmla="*/ 97041 w 97041"/>
                <a:gd name="connsiteY4" fmla="*/ 48521 h 970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7041" h="97041">
                  <a:moveTo>
                    <a:pt x="97041" y="48521"/>
                  </a:moveTo>
                  <a:cubicBezTo>
                    <a:pt x="97041" y="75329"/>
                    <a:pt x="75329" y="97041"/>
                    <a:pt x="48521" y="97041"/>
                  </a:cubicBezTo>
                  <a:cubicBezTo>
                    <a:pt x="21737" y="97041"/>
                    <a:pt x="0" y="75329"/>
                    <a:pt x="0" y="48521"/>
                  </a:cubicBezTo>
                  <a:cubicBezTo>
                    <a:pt x="0" y="21712"/>
                    <a:pt x="21737" y="0"/>
                    <a:pt x="48521" y="0"/>
                  </a:cubicBezTo>
                  <a:cubicBezTo>
                    <a:pt x="75329" y="0"/>
                    <a:pt x="97041" y="21712"/>
                    <a:pt x="97041" y="48521"/>
                  </a:cubicBezTo>
                </a:path>
              </a:pathLst>
            </a:custGeom>
            <a:solidFill>
              <a:srgbClr val="98733A"/>
            </a:solidFill>
            <a:ln w="6287" cap="flat">
              <a:solidFill>
                <a:sysClr val="window" lastClr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207112">
                <a:defRPr/>
              </a:pPr>
              <a:endParaRPr lang="nl-NL" sz="1359" kern="0" dirty="0">
                <a:solidFill>
                  <a:srgbClr val="7C7C7C"/>
                </a:solidFill>
                <a:latin typeface="Roboto Condensed"/>
              </a:endParaRPr>
            </a:p>
          </p:txBody>
        </p:sp>
        <p:sp>
          <p:nvSpPr>
            <p:cNvPr id="1029" name="Freeform: Shape 1028">
              <a:extLst>
                <a:ext uri="{FF2B5EF4-FFF2-40B4-BE49-F238E27FC236}">
                  <a16:creationId xmlns:a16="http://schemas.microsoft.com/office/drawing/2014/main" id="{756E607F-DB28-6BEE-4016-560B9C67546C}"/>
                </a:ext>
              </a:extLst>
            </p:cNvPr>
            <p:cNvSpPr/>
            <p:nvPr/>
          </p:nvSpPr>
          <p:spPr>
            <a:xfrm>
              <a:off x="3759013" y="1319917"/>
              <a:ext cx="217470" cy="416038"/>
            </a:xfrm>
            <a:custGeom>
              <a:avLst/>
              <a:gdLst>
                <a:gd name="connsiteX0" fmla="*/ 214067 w 217470"/>
                <a:gd name="connsiteY0" fmla="*/ 168347 h 416038"/>
                <a:gd name="connsiteX1" fmla="*/ 216577 w 217470"/>
                <a:gd name="connsiteY1" fmla="*/ 147545 h 416038"/>
                <a:gd name="connsiteX2" fmla="*/ 186322 w 217470"/>
                <a:gd name="connsiteY2" fmla="*/ 29060 h 416038"/>
                <a:gd name="connsiteX3" fmla="*/ 179380 w 217470"/>
                <a:gd name="connsiteY3" fmla="*/ 15816 h 416038"/>
                <a:gd name="connsiteX4" fmla="*/ 147230 w 217470"/>
                <a:gd name="connsiteY4" fmla="*/ 61 h 416038"/>
                <a:gd name="connsiteX5" fmla="*/ 112568 w 217470"/>
                <a:gd name="connsiteY5" fmla="*/ 13305 h 416038"/>
                <a:gd name="connsiteX6" fmla="*/ 104371 w 217470"/>
                <a:gd name="connsiteY6" fmla="*/ 24654 h 416038"/>
                <a:gd name="connsiteX7" fmla="*/ 69759 w 217470"/>
                <a:gd name="connsiteY7" fmla="*/ 96510 h 416038"/>
                <a:gd name="connsiteX8" fmla="*/ 18702 w 217470"/>
                <a:gd name="connsiteY8" fmla="*/ 111009 h 416038"/>
                <a:gd name="connsiteX9" fmla="*/ 436 w 217470"/>
                <a:gd name="connsiteY9" fmla="*/ 139368 h 416038"/>
                <a:gd name="connsiteX10" fmla="*/ 24389 w 217470"/>
                <a:gd name="connsiteY10" fmla="*/ 159530 h 416038"/>
                <a:gd name="connsiteX11" fmla="*/ 31331 w 217470"/>
                <a:gd name="connsiteY11" fmla="*/ 158275 h 416038"/>
                <a:gd name="connsiteX12" fmla="*/ 93711 w 217470"/>
                <a:gd name="connsiteY12" fmla="*/ 140009 h 416038"/>
                <a:gd name="connsiteX13" fmla="*/ 108826 w 217470"/>
                <a:gd name="connsiteY13" fmla="*/ 127405 h 416038"/>
                <a:gd name="connsiteX14" fmla="*/ 116384 w 217470"/>
                <a:gd name="connsiteY14" fmla="*/ 112290 h 416038"/>
                <a:gd name="connsiteX15" fmla="*/ 128348 w 217470"/>
                <a:gd name="connsiteY15" fmla="*/ 166498 h 416038"/>
                <a:gd name="connsiteX16" fmla="*/ 127708 w 217470"/>
                <a:gd name="connsiteY16" fmla="*/ 173440 h 416038"/>
                <a:gd name="connsiteX17" fmla="*/ 99989 w 217470"/>
                <a:gd name="connsiteY17" fmla="*/ 251573 h 416038"/>
                <a:gd name="connsiteX18" fmla="*/ 98734 w 217470"/>
                <a:gd name="connsiteY18" fmla="*/ 266687 h 416038"/>
                <a:gd name="connsiteX19" fmla="*/ 122686 w 217470"/>
                <a:gd name="connsiteY19" fmla="*/ 392085 h 416038"/>
                <a:gd name="connsiteX20" fmla="*/ 151046 w 217470"/>
                <a:gd name="connsiteY20" fmla="*/ 416038 h 416038"/>
                <a:gd name="connsiteX21" fmla="*/ 159243 w 217470"/>
                <a:gd name="connsiteY21" fmla="*/ 414783 h 416038"/>
                <a:gd name="connsiteX22" fmla="*/ 179405 w 217470"/>
                <a:gd name="connsiteY22" fmla="*/ 380762 h 416038"/>
                <a:gd name="connsiteX23" fmla="*/ 161754 w 217470"/>
                <a:gd name="connsiteY23" fmla="*/ 270476 h 416038"/>
                <a:gd name="connsiteX24" fmla="*/ 163009 w 217470"/>
                <a:gd name="connsiteY24" fmla="*/ 263534 h 4160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17470" h="416038">
                  <a:moveTo>
                    <a:pt x="214067" y="168347"/>
                  </a:moveTo>
                  <a:cubicBezTo>
                    <a:pt x="217218" y="162045"/>
                    <a:pt x="218473" y="154487"/>
                    <a:pt x="216577" y="147545"/>
                  </a:cubicBezTo>
                  <a:lnTo>
                    <a:pt x="186322" y="29060"/>
                  </a:lnTo>
                  <a:cubicBezTo>
                    <a:pt x="185067" y="25269"/>
                    <a:pt x="182532" y="18967"/>
                    <a:pt x="179380" y="15816"/>
                  </a:cubicBezTo>
                  <a:cubicBezTo>
                    <a:pt x="171182" y="6363"/>
                    <a:pt x="159834" y="701"/>
                    <a:pt x="147230" y="61"/>
                  </a:cubicBezTo>
                  <a:cubicBezTo>
                    <a:pt x="134626" y="-580"/>
                    <a:pt x="122021" y="3852"/>
                    <a:pt x="112568" y="13305"/>
                  </a:cubicBezTo>
                  <a:cubicBezTo>
                    <a:pt x="106907" y="18967"/>
                    <a:pt x="105011" y="23398"/>
                    <a:pt x="104371" y="24654"/>
                  </a:cubicBezTo>
                  <a:lnTo>
                    <a:pt x="69759" y="96510"/>
                  </a:lnTo>
                  <a:lnTo>
                    <a:pt x="18702" y="111009"/>
                  </a:lnTo>
                  <a:cubicBezTo>
                    <a:pt x="6738" y="114801"/>
                    <a:pt x="-2100" y="126764"/>
                    <a:pt x="436" y="139368"/>
                  </a:cubicBezTo>
                  <a:cubicBezTo>
                    <a:pt x="2948" y="151332"/>
                    <a:pt x="13040" y="159530"/>
                    <a:pt x="24389" y="159530"/>
                  </a:cubicBezTo>
                  <a:cubicBezTo>
                    <a:pt x="26900" y="159530"/>
                    <a:pt x="28796" y="158890"/>
                    <a:pt x="31331" y="158275"/>
                  </a:cubicBezTo>
                  <a:lnTo>
                    <a:pt x="93711" y="140009"/>
                  </a:lnTo>
                  <a:cubicBezTo>
                    <a:pt x="100014" y="138113"/>
                    <a:pt x="105675" y="133707"/>
                    <a:pt x="108826" y="127405"/>
                  </a:cubicBezTo>
                  <a:lnTo>
                    <a:pt x="116384" y="112290"/>
                  </a:lnTo>
                  <a:lnTo>
                    <a:pt x="128348" y="166498"/>
                  </a:lnTo>
                  <a:cubicBezTo>
                    <a:pt x="128988" y="169008"/>
                    <a:pt x="128988" y="170904"/>
                    <a:pt x="127708" y="173440"/>
                  </a:cubicBezTo>
                  <a:lnTo>
                    <a:pt x="99989" y="251573"/>
                  </a:lnTo>
                  <a:cubicBezTo>
                    <a:pt x="98093" y="256619"/>
                    <a:pt x="98093" y="261666"/>
                    <a:pt x="98734" y="266687"/>
                  </a:cubicBezTo>
                  <a:lnTo>
                    <a:pt x="122686" y="392085"/>
                  </a:lnTo>
                  <a:cubicBezTo>
                    <a:pt x="125197" y="405945"/>
                    <a:pt x="137801" y="416038"/>
                    <a:pt x="151046" y="416038"/>
                  </a:cubicBezTo>
                  <a:cubicBezTo>
                    <a:pt x="153556" y="416038"/>
                    <a:pt x="156707" y="415398"/>
                    <a:pt x="159243" y="414783"/>
                  </a:cubicBezTo>
                  <a:cubicBezTo>
                    <a:pt x="173743" y="410376"/>
                    <a:pt x="181941" y="395236"/>
                    <a:pt x="179405" y="380762"/>
                  </a:cubicBezTo>
                  <a:lnTo>
                    <a:pt x="161754" y="270476"/>
                  </a:lnTo>
                  <a:cubicBezTo>
                    <a:pt x="161114" y="267965"/>
                    <a:pt x="161754" y="266069"/>
                    <a:pt x="163009" y="263534"/>
                  </a:cubicBezTo>
                  <a:close/>
                </a:path>
              </a:pathLst>
            </a:custGeom>
            <a:solidFill>
              <a:srgbClr val="98733A"/>
            </a:solidFill>
            <a:ln w="6287" cap="flat">
              <a:solidFill>
                <a:sysClr val="window" lastClr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207112">
                <a:defRPr/>
              </a:pPr>
              <a:endParaRPr lang="nl-NL" sz="1359" kern="0" dirty="0">
                <a:solidFill>
                  <a:srgbClr val="7C7C7C"/>
                </a:solidFill>
                <a:latin typeface="Roboto Condensed"/>
              </a:endParaRPr>
            </a:p>
          </p:txBody>
        </p:sp>
        <p:sp>
          <p:nvSpPr>
            <p:cNvPr id="1030" name="Freeform: Shape 1029">
              <a:extLst>
                <a:ext uri="{FF2B5EF4-FFF2-40B4-BE49-F238E27FC236}">
                  <a16:creationId xmlns:a16="http://schemas.microsoft.com/office/drawing/2014/main" id="{76932103-F34D-DEB0-A837-42EBA9F2B247}"/>
                </a:ext>
              </a:extLst>
            </p:cNvPr>
            <p:cNvSpPr/>
            <p:nvPr/>
          </p:nvSpPr>
          <p:spPr>
            <a:xfrm>
              <a:off x="3648524" y="1137247"/>
              <a:ext cx="158836" cy="144494"/>
            </a:xfrm>
            <a:custGeom>
              <a:avLst/>
              <a:gdLst>
                <a:gd name="connsiteX0" fmla="*/ 158837 w 158836"/>
                <a:gd name="connsiteY0" fmla="*/ 63020 h 144494"/>
                <a:gd name="connsiteX1" fmla="*/ 79418 w 158836"/>
                <a:gd name="connsiteY1" fmla="*/ 0 h 144494"/>
                <a:gd name="connsiteX2" fmla="*/ 0 w 158836"/>
                <a:gd name="connsiteY2" fmla="*/ 63020 h 144494"/>
                <a:gd name="connsiteX3" fmla="*/ 29615 w 158836"/>
                <a:gd name="connsiteY3" fmla="*/ 112181 h 144494"/>
                <a:gd name="connsiteX4" fmla="*/ 18906 w 158836"/>
                <a:gd name="connsiteY4" fmla="*/ 134879 h 144494"/>
                <a:gd name="connsiteX5" fmla="*/ 23953 w 158836"/>
                <a:gd name="connsiteY5" fmla="*/ 144332 h 144494"/>
                <a:gd name="connsiteX6" fmla="*/ 66171 w 158836"/>
                <a:gd name="connsiteY6" fmla="*/ 124785 h 144494"/>
                <a:gd name="connsiteX7" fmla="*/ 78776 w 158836"/>
                <a:gd name="connsiteY7" fmla="*/ 125426 h 144494"/>
                <a:gd name="connsiteX8" fmla="*/ 158830 w 158836"/>
                <a:gd name="connsiteY8" fmla="*/ 63021 h 144494"/>
                <a:gd name="connsiteX9" fmla="*/ 120384 w 158836"/>
                <a:gd name="connsiteY9" fmla="*/ 51057 h 144494"/>
                <a:gd name="connsiteX10" fmla="*/ 131733 w 158836"/>
                <a:gd name="connsiteY10" fmla="*/ 62405 h 144494"/>
                <a:gd name="connsiteX11" fmla="*/ 120384 w 158836"/>
                <a:gd name="connsiteY11" fmla="*/ 73754 h 144494"/>
                <a:gd name="connsiteX12" fmla="*/ 109035 w 158836"/>
                <a:gd name="connsiteY12" fmla="*/ 62405 h 144494"/>
                <a:gd name="connsiteX13" fmla="*/ 120384 w 158836"/>
                <a:gd name="connsiteY13" fmla="*/ 51057 h 144494"/>
                <a:gd name="connsiteX14" fmla="*/ 38458 w 158836"/>
                <a:gd name="connsiteY14" fmla="*/ 51057 h 144494"/>
                <a:gd name="connsiteX15" fmla="*/ 49806 w 158836"/>
                <a:gd name="connsiteY15" fmla="*/ 62405 h 144494"/>
                <a:gd name="connsiteX16" fmla="*/ 38458 w 158836"/>
                <a:gd name="connsiteY16" fmla="*/ 73754 h 144494"/>
                <a:gd name="connsiteX17" fmla="*/ 27109 w 158836"/>
                <a:gd name="connsiteY17" fmla="*/ 62405 h 144494"/>
                <a:gd name="connsiteX18" fmla="*/ 38458 w 158836"/>
                <a:gd name="connsiteY18" fmla="*/ 51057 h 144494"/>
                <a:gd name="connsiteX19" fmla="*/ 68072 w 158836"/>
                <a:gd name="connsiteY19" fmla="*/ 63020 h 144494"/>
                <a:gd name="connsiteX20" fmla="*/ 79421 w 158836"/>
                <a:gd name="connsiteY20" fmla="*/ 51672 h 144494"/>
                <a:gd name="connsiteX21" fmla="*/ 90770 w 158836"/>
                <a:gd name="connsiteY21" fmla="*/ 63020 h 144494"/>
                <a:gd name="connsiteX22" fmla="*/ 79421 w 158836"/>
                <a:gd name="connsiteY22" fmla="*/ 74369 h 144494"/>
                <a:gd name="connsiteX23" fmla="*/ 68072 w 158836"/>
                <a:gd name="connsiteY23" fmla="*/ 63020 h 144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58836" h="144494">
                  <a:moveTo>
                    <a:pt x="158837" y="63020"/>
                  </a:moveTo>
                  <a:cubicBezTo>
                    <a:pt x="158837" y="28359"/>
                    <a:pt x="123535" y="0"/>
                    <a:pt x="79418" y="0"/>
                  </a:cubicBezTo>
                  <a:cubicBezTo>
                    <a:pt x="35302" y="0"/>
                    <a:pt x="0" y="28359"/>
                    <a:pt x="0" y="63020"/>
                  </a:cubicBezTo>
                  <a:cubicBezTo>
                    <a:pt x="0" y="82567"/>
                    <a:pt x="11349" y="100192"/>
                    <a:pt x="29615" y="112181"/>
                  </a:cubicBezTo>
                  <a:cubicBezTo>
                    <a:pt x="28359" y="117843"/>
                    <a:pt x="25208" y="127296"/>
                    <a:pt x="18906" y="134879"/>
                  </a:cubicBezTo>
                  <a:cubicBezTo>
                    <a:pt x="15115" y="139285"/>
                    <a:pt x="18906" y="145587"/>
                    <a:pt x="23953" y="144332"/>
                  </a:cubicBezTo>
                  <a:cubicBezTo>
                    <a:pt x="48521" y="140541"/>
                    <a:pt x="60510" y="131087"/>
                    <a:pt x="66171" y="124785"/>
                  </a:cubicBezTo>
                  <a:cubicBezTo>
                    <a:pt x="70578" y="125426"/>
                    <a:pt x="74369" y="125426"/>
                    <a:pt x="78776" y="125426"/>
                  </a:cubicBezTo>
                  <a:cubicBezTo>
                    <a:pt x="122890" y="126041"/>
                    <a:pt x="158830" y="97682"/>
                    <a:pt x="158830" y="63021"/>
                  </a:cubicBezTo>
                  <a:close/>
                  <a:moveTo>
                    <a:pt x="120384" y="51057"/>
                  </a:moveTo>
                  <a:cubicBezTo>
                    <a:pt x="126686" y="51057"/>
                    <a:pt x="131733" y="56103"/>
                    <a:pt x="131733" y="62405"/>
                  </a:cubicBezTo>
                  <a:cubicBezTo>
                    <a:pt x="131733" y="68707"/>
                    <a:pt x="126686" y="73754"/>
                    <a:pt x="120384" y="73754"/>
                  </a:cubicBezTo>
                  <a:cubicBezTo>
                    <a:pt x="114082" y="73754"/>
                    <a:pt x="109035" y="68707"/>
                    <a:pt x="109035" y="62405"/>
                  </a:cubicBezTo>
                  <a:cubicBezTo>
                    <a:pt x="108420" y="56719"/>
                    <a:pt x="113442" y="51057"/>
                    <a:pt x="120384" y="51057"/>
                  </a:cubicBezTo>
                  <a:close/>
                  <a:moveTo>
                    <a:pt x="38458" y="51057"/>
                  </a:moveTo>
                  <a:cubicBezTo>
                    <a:pt x="44760" y="51057"/>
                    <a:pt x="49806" y="56103"/>
                    <a:pt x="49806" y="62405"/>
                  </a:cubicBezTo>
                  <a:cubicBezTo>
                    <a:pt x="49806" y="68707"/>
                    <a:pt x="44760" y="73754"/>
                    <a:pt x="38458" y="73754"/>
                  </a:cubicBezTo>
                  <a:cubicBezTo>
                    <a:pt x="32156" y="73754"/>
                    <a:pt x="27109" y="68707"/>
                    <a:pt x="27109" y="62405"/>
                  </a:cubicBezTo>
                  <a:cubicBezTo>
                    <a:pt x="27109" y="56719"/>
                    <a:pt x="32156" y="51057"/>
                    <a:pt x="38458" y="51057"/>
                  </a:cubicBezTo>
                  <a:close/>
                  <a:moveTo>
                    <a:pt x="68072" y="63020"/>
                  </a:moveTo>
                  <a:cubicBezTo>
                    <a:pt x="68072" y="56718"/>
                    <a:pt x="73119" y="51672"/>
                    <a:pt x="79421" y="51672"/>
                  </a:cubicBezTo>
                  <a:cubicBezTo>
                    <a:pt x="85723" y="51672"/>
                    <a:pt x="90770" y="56718"/>
                    <a:pt x="90770" y="63020"/>
                  </a:cubicBezTo>
                  <a:cubicBezTo>
                    <a:pt x="90770" y="69322"/>
                    <a:pt x="85723" y="74369"/>
                    <a:pt x="79421" y="74369"/>
                  </a:cubicBezTo>
                  <a:cubicBezTo>
                    <a:pt x="73119" y="74369"/>
                    <a:pt x="68072" y="69322"/>
                    <a:pt x="68072" y="63020"/>
                  </a:cubicBezTo>
                  <a:close/>
                </a:path>
              </a:pathLst>
            </a:custGeom>
            <a:solidFill>
              <a:srgbClr val="98733A"/>
            </a:solidFill>
            <a:ln w="6287" cap="flat">
              <a:solidFill>
                <a:sysClr val="window" lastClr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207112">
                <a:defRPr/>
              </a:pPr>
              <a:endParaRPr lang="nl-NL" sz="1359" kern="0" dirty="0">
                <a:solidFill>
                  <a:srgbClr val="7C7C7C"/>
                </a:solidFill>
                <a:latin typeface="Roboto Condensed"/>
              </a:endParaRPr>
            </a:p>
          </p:txBody>
        </p:sp>
      </p:grpSp>
      <p:sp>
        <p:nvSpPr>
          <p:cNvPr id="1049" name="Rectangle 1048">
            <a:extLst>
              <a:ext uri="{FF2B5EF4-FFF2-40B4-BE49-F238E27FC236}">
                <a16:creationId xmlns:a16="http://schemas.microsoft.com/office/drawing/2014/main" id="{2D0716FB-484C-C7E1-268F-E5FBCF9FAF5A}"/>
              </a:ext>
            </a:extLst>
          </p:cNvPr>
          <p:cNvSpPr/>
          <p:nvPr/>
        </p:nvSpPr>
        <p:spPr>
          <a:xfrm>
            <a:off x="1758789" y="1949975"/>
            <a:ext cx="1386314" cy="285418"/>
          </a:xfrm>
          <a:prstGeom prst="rect">
            <a:avLst/>
          </a:prstGeom>
          <a:solidFill>
            <a:srgbClr val="60B3BB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815" dirty="0">
              <a:solidFill>
                <a:schemeClr val="bg1"/>
              </a:solidFill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1E398CF-231E-A5AC-5393-32865D94CABB}"/>
              </a:ext>
            </a:extLst>
          </p:cNvPr>
          <p:cNvSpPr txBox="1">
            <a:spLocks/>
          </p:cNvSpPr>
          <p:nvPr/>
        </p:nvSpPr>
        <p:spPr>
          <a:xfrm>
            <a:off x="1747860" y="1958432"/>
            <a:ext cx="1386314" cy="2854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55375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815" dirty="0">
                <a:solidFill>
                  <a:schemeClr val="bg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Arial" panose="020B0604020202020204" pitchFamily="34" charset="0"/>
              </a:rPr>
              <a:t>“Werken bij” website</a:t>
            </a:r>
          </a:p>
        </p:txBody>
      </p:sp>
      <p:sp>
        <p:nvSpPr>
          <p:cNvPr id="1052" name="Rectangle 1051">
            <a:extLst>
              <a:ext uri="{FF2B5EF4-FFF2-40B4-BE49-F238E27FC236}">
                <a16:creationId xmlns:a16="http://schemas.microsoft.com/office/drawing/2014/main" id="{787148F5-79A1-415C-D6D7-92DB05C858E4}"/>
              </a:ext>
            </a:extLst>
          </p:cNvPr>
          <p:cNvSpPr/>
          <p:nvPr/>
        </p:nvSpPr>
        <p:spPr>
          <a:xfrm>
            <a:off x="1758789" y="2258985"/>
            <a:ext cx="1386314" cy="285418"/>
          </a:xfrm>
          <a:prstGeom prst="rect">
            <a:avLst/>
          </a:prstGeom>
          <a:solidFill>
            <a:srgbClr val="60B3BB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815" dirty="0">
              <a:solidFill>
                <a:schemeClr val="bg1"/>
              </a:solidFill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1053" name="Content Placeholder 2">
            <a:extLst>
              <a:ext uri="{FF2B5EF4-FFF2-40B4-BE49-F238E27FC236}">
                <a16:creationId xmlns:a16="http://schemas.microsoft.com/office/drawing/2014/main" id="{B5FCFE85-C698-4353-B899-01CE2B44A508}"/>
              </a:ext>
            </a:extLst>
          </p:cNvPr>
          <p:cNvSpPr txBox="1">
            <a:spLocks/>
          </p:cNvSpPr>
          <p:nvPr/>
        </p:nvSpPr>
        <p:spPr>
          <a:xfrm>
            <a:off x="1747860" y="2260760"/>
            <a:ext cx="1386314" cy="2854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815" dirty="0">
                <a:solidFill>
                  <a:schemeClr val="bg1"/>
                </a:solidFill>
                <a:latin typeface="Roboto Condensed"/>
                <a:cs typeface="Arial" panose="020B0604020202020204" pitchFamily="34" charset="0"/>
              </a:rPr>
              <a:t>Vacatures </a:t>
            </a:r>
          </a:p>
          <a:p>
            <a:pPr marL="0" indent="0" algn="ctr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634" dirty="0">
                <a:solidFill>
                  <a:schemeClr val="bg1"/>
                </a:solidFill>
                <a:latin typeface="Roboto Condensed"/>
                <a:cs typeface="Arial" panose="020B0604020202020204" pitchFamily="34" charset="0"/>
              </a:rPr>
              <a:t>(website, job boards, </a:t>
            </a:r>
            <a:r>
              <a:rPr lang="nl-NL" sz="634" dirty="0" err="1">
                <a:solidFill>
                  <a:schemeClr val="bg1"/>
                </a:solidFill>
                <a:latin typeface="Roboto Condensed"/>
                <a:cs typeface="Arial" panose="020B0604020202020204" pitchFamily="34" charset="0"/>
              </a:rPr>
              <a:t>social</a:t>
            </a:r>
            <a:r>
              <a:rPr lang="nl-NL" sz="634" dirty="0">
                <a:solidFill>
                  <a:schemeClr val="bg1"/>
                </a:solidFill>
                <a:latin typeface="Roboto Condensed"/>
                <a:cs typeface="Arial" panose="020B0604020202020204" pitchFamily="34" charset="0"/>
              </a:rPr>
              <a:t> media)</a:t>
            </a:r>
            <a:endParaRPr lang="nl-NL" sz="815" dirty="0">
              <a:solidFill>
                <a:schemeClr val="bg1"/>
              </a:solidFill>
              <a:latin typeface="Roboto Condensed"/>
              <a:cs typeface="Arial" panose="020B0604020202020204" pitchFamily="34" charset="0"/>
            </a:endParaRPr>
          </a:p>
        </p:txBody>
      </p:sp>
      <p:sp>
        <p:nvSpPr>
          <p:cNvPr id="1055" name="Rectangle 1054">
            <a:extLst>
              <a:ext uri="{FF2B5EF4-FFF2-40B4-BE49-F238E27FC236}">
                <a16:creationId xmlns:a16="http://schemas.microsoft.com/office/drawing/2014/main" id="{56C5EDB6-E81C-B4BD-CF37-B93E8C97E66E}"/>
              </a:ext>
            </a:extLst>
          </p:cNvPr>
          <p:cNvSpPr/>
          <p:nvPr/>
        </p:nvSpPr>
        <p:spPr>
          <a:xfrm>
            <a:off x="1758789" y="2567994"/>
            <a:ext cx="1386314" cy="285418"/>
          </a:xfrm>
          <a:prstGeom prst="rect">
            <a:avLst/>
          </a:prstGeom>
          <a:solidFill>
            <a:srgbClr val="60B3BB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815" dirty="0">
              <a:solidFill>
                <a:schemeClr val="bg1"/>
              </a:solidFill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1056" name="Content Placeholder 2">
            <a:extLst>
              <a:ext uri="{FF2B5EF4-FFF2-40B4-BE49-F238E27FC236}">
                <a16:creationId xmlns:a16="http://schemas.microsoft.com/office/drawing/2014/main" id="{F987F863-FE00-AEC3-4BE8-A759C34EEA96}"/>
              </a:ext>
            </a:extLst>
          </p:cNvPr>
          <p:cNvSpPr txBox="1">
            <a:spLocks/>
          </p:cNvSpPr>
          <p:nvPr/>
        </p:nvSpPr>
        <p:spPr>
          <a:xfrm>
            <a:off x="1747860" y="2576451"/>
            <a:ext cx="1386314" cy="2854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55375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815" dirty="0">
                <a:solidFill>
                  <a:schemeClr val="bg1"/>
                </a:solidFill>
                <a:latin typeface="Roboto Condensed"/>
                <a:cs typeface="Arial" panose="020B0604020202020204" pitchFamily="34" charset="0"/>
              </a:rPr>
              <a:t>Online solliciteren/</a:t>
            </a:r>
          </a:p>
          <a:p>
            <a:pPr marL="0" indent="0" algn="ctr" defTabSz="155375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815" dirty="0">
                <a:solidFill>
                  <a:schemeClr val="bg1"/>
                </a:solidFill>
                <a:latin typeface="Roboto Condensed"/>
                <a:cs typeface="Arial" panose="020B0604020202020204" pitchFamily="34" charset="0"/>
              </a:rPr>
              <a:t>documenten uploaden</a:t>
            </a:r>
          </a:p>
        </p:txBody>
      </p:sp>
      <p:sp>
        <p:nvSpPr>
          <p:cNvPr id="1058" name="Rectangle 1057">
            <a:extLst>
              <a:ext uri="{FF2B5EF4-FFF2-40B4-BE49-F238E27FC236}">
                <a16:creationId xmlns:a16="http://schemas.microsoft.com/office/drawing/2014/main" id="{A29216F1-23BE-3C0E-BDA1-26517D51B887}"/>
              </a:ext>
            </a:extLst>
          </p:cNvPr>
          <p:cNvSpPr/>
          <p:nvPr/>
        </p:nvSpPr>
        <p:spPr>
          <a:xfrm>
            <a:off x="1758789" y="2877003"/>
            <a:ext cx="1386314" cy="285418"/>
          </a:xfrm>
          <a:prstGeom prst="rect">
            <a:avLst/>
          </a:prstGeom>
          <a:solidFill>
            <a:srgbClr val="60B3BB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815" dirty="0">
              <a:solidFill>
                <a:schemeClr val="bg1"/>
              </a:solidFill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1059" name="Content Placeholder 2">
            <a:extLst>
              <a:ext uri="{FF2B5EF4-FFF2-40B4-BE49-F238E27FC236}">
                <a16:creationId xmlns:a16="http://schemas.microsoft.com/office/drawing/2014/main" id="{B09B8D40-E1F1-E221-FE9A-F2D19810C86B}"/>
              </a:ext>
            </a:extLst>
          </p:cNvPr>
          <p:cNvSpPr txBox="1">
            <a:spLocks/>
          </p:cNvSpPr>
          <p:nvPr/>
        </p:nvSpPr>
        <p:spPr>
          <a:xfrm>
            <a:off x="1747860" y="2878778"/>
            <a:ext cx="1386314" cy="2854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55375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815" dirty="0">
                <a:solidFill>
                  <a:schemeClr val="bg1"/>
                </a:solidFill>
                <a:latin typeface="Roboto Condensed"/>
                <a:cs typeface="Arial" panose="020B0604020202020204" pitchFamily="34" charset="0"/>
              </a:rPr>
              <a:t>Eerste screening/</a:t>
            </a:r>
          </a:p>
          <a:p>
            <a:pPr marL="0" indent="0" algn="ctr" defTabSz="155375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815" dirty="0">
                <a:solidFill>
                  <a:schemeClr val="bg1"/>
                </a:solidFill>
                <a:latin typeface="Roboto Condensed"/>
                <a:cs typeface="Arial" panose="020B0604020202020204" pitchFamily="34" charset="0"/>
              </a:rPr>
              <a:t>(capaciteiten)test</a:t>
            </a:r>
          </a:p>
        </p:txBody>
      </p:sp>
      <p:sp>
        <p:nvSpPr>
          <p:cNvPr id="1061" name="Rectangle 1060">
            <a:extLst>
              <a:ext uri="{FF2B5EF4-FFF2-40B4-BE49-F238E27FC236}">
                <a16:creationId xmlns:a16="http://schemas.microsoft.com/office/drawing/2014/main" id="{F0971E73-4807-85FC-65A0-B4BBADF07BF3}"/>
              </a:ext>
            </a:extLst>
          </p:cNvPr>
          <p:cNvSpPr/>
          <p:nvPr/>
        </p:nvSpPr>
        <p:spPr>
          <a:xfrm>
            <a:off x="1758789" y="3186012"/>
            <a:ext cx="1386314" cy="285418"/>
          </a:xfrm>
          <a:prstGeom prst="rect">
            <a:avLst/>
          </a:prstGeom>
          <a:solidFill>
            <a:srgbClr val="60B3BB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815" dirty="0">
              <a:solidFill>
                <a:schemeClr val="bg1"/>
              </a:solidFill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1062" name="Content Placeholder 2">
            <a:extLst>
              <a:ext uri="{FF2B5EF4-FFF2-40B4-BE49-F238E27FC236}">
                <a16:creationId xmlns:a16="http://schemas.microsoft.com/office/drawing/2014/main" id="{12822263-31FD-0510-6B82-382A0CA601A6}"/>
              </a:ext>
            </a:extLst>
          </p:cNvPr>
          <p:cNvSpPr txBox="1">
            <a:spLocks/>
          </p:cNvSpPr>
          <p:nvPr/>
        </p:nvSpPr>
        <p:spPr>
          <a:xfrm>
            <a:off x="1747860" y="3201151"/>
            <a:ext cx="1386314" cy="2854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55375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815" dirty="0">
                <a:solidFill>
                  <a:schemeClr val="bg1"/>
                </a:solidFill>
                <a:latin typeface="Roboto Condensed"/>
                <a:cs typeface="Arial" panose="020B0604020202020204" pitchFamily="34" charset="0"/>
              </a:rPr>
              <a:t>Gesprek(ken) </a:t>
            </a:r>
          </a:p>
          <a:p>
            <a:pPr marL="0" indent="0" algn="ctr" defTabSz="155375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634" dirty="0">
                <a:solidFill>
                  <a:schemeClr val="bg1"/>
                </a:solidFill>
                <a:latin typeface="Roboto Condensed"/>
                <a:cs typeface="Arial" panose="020B0604020202020204" pitchFamily="34" charset="0"/>
              </a:rPr>
              <a:t>(en evt. meeloopmoment)</a:t>
            </a:r>
          </a:p>
        </p:txBody>
      </p:sp>
      <p:sp>
        <p:nvSpPr>
          <p:cNvPr id="1064" name="Rectangle 1063">
            <a:extLst>
              <a:ext uri="{FF2B5EF4-FFF2-40B4-BE49-F238E27FC236}">
                <a16:creationId xmlns:a16="http://schemas.microsoft.com/office/drawing/2014/main" id="{F8886603-B717-4174-B010-FC84E3D21D05}"/>
              </a:ext>
            </a:extLst>
          </p:cNvPr>
          <p:cNvSpPr/>
          <p:nvPr/>
        </p:nvSpPr>
        <p:spPr>
          <a:xfrm>
            <a:off x="1758789" y="3495022"/>
            <a:ext cx="1386314" cy="285418"/>
          </a:xfrm>
          <a:prstGeom prst="rect">
            <a:avLst/>
          </a:prstGeom>
          <a:solidFill>
            <a:srgbClr val="60B3BB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815" dirty="0">
              <a:solidFill>
                <a:schemeClr val="bg1"/>
              </a:solidFill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1065" name="Content Placeholder 2">
            <a:extLst>
              <a:ext uri="{FF2B5EF4-FFF2-40B4-BE49-F238E27FC236}">
                <a16:creationId xmlns:a16="http://schemas.microsoft.com/office/drawing/2014/main" id="{4AA9B28E-CA0F-2ABD-0618-9C33FFB7A555}"/>
              </a:ext>
            </a:extLst>
          </p:cNvPr>
          <p:cNvSpPr txBox="1">
            <a:spLocks/>
          </p:cNvSpPr>
          <p:nvPr/>
        </p:nvSpPr>
        <p:spPr>
          <a:xfrm>
            <a:off x="1747860" y="3496797"/>
            <a:ext cx="1386314" cy="2854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55375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815" dirty="0">
                <a:solidFill>
                  <a:schemeClr val="bg1"/>
                </a:solidFill>
                <a:latin typeface="Roboto Condensed"/>
                <a:cs typeface="Arial" panose="020B0604020202020204" pitchFamily="34" charset="0"/>
              </a:rPr>
              <a:t>Feedback</a:t>
            </a:r>
          </a:p>
        </p:txBody>
      </p:sp>
      <p:sp>
        <p:nvSpPr>
          <p:cNvPr id="1067" name="Rectangle 1066">
            <a:extLst>
              <a:ext uri="{FF2B5EF4-FFF2-40B4-BE49-F238E27FC236}">
                <a16:creationId xmlns:a16="http://schemas.microsoft.com/office/drawing/2014/main" id="{28433291-FF8F-B8D7-B5CD-39D56C0ACDB0}"/>
              </a:ext>
            </a:extLst>
          </p:cNvPr>
          <p:cNvSpPr/>
          <p:nvPr/>
        </p:nvSpPr>
        <p:spPr>
          <a:xfrm>
            <a:off x="1758789" y="3804031"/>
            <a:ext cx="1386314" cy="285418"/>
          </a:xfrm>
          <a:prstGeom prst="rect">
            <a:avLst/>
          </a:prstGeom>
          <a:solidFill>
            <a:srgbClr val="60B3BB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815" dirty="0">
              <a:solidFill>
                <a:schemeClr val="bg1"/>
              </a:solidFill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1068" name="Content Placeholder 2">
            <a:extLst>
              <a:ext uri="{FF2B5EF4-FFF2-40B4-BE49-F238E27FC236}">
                <a16:creationId xmlns:a16="http://schemas.microsoft.com/office/drawing/2014/main" id="{8E53F868-F0A9-460B-79F8-929EA43716C8}"/>
              </a:ext>
            </a:extLst>
          </p:cNvPr>
          <p:cNvSpPr txBox="1">
            <a:spLocks/>
          </p:cNvSpPr>
          <p:nvPr/>
        </p:nvSpPr>
        <p:spPr>
          <a:xfrm>
            <a:off x="1747860" y="3799124"/>
            <a:ext cx="1386314" cy="2854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55375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815" dirty="0">
                <a:solidFill>
                  <a:schemeClr val="bg1"/>
                </a:solidFill>
                <a:latin typeface="Roboto Condensed"/>
                <a:cs typeface="Arial" panose="020B0604020202020204" pitchFamily="34" charset="0"/>
              </a:rPr>
              <a:t>Afwijzing</a:t>
            </a:r>
          </a:p>
        </p:txBody>
      </p:sp>
      <p:sp>
        <p:nvSpPr>
          <p:cNvPr id="1070" name="Rectangle 1069">
            <a:extLst>
              <a:ext uri="{FF2B5EF4-FFF2-40B4-BE49-F238E27FC236}">
                <a16:creationId xmlns:a16="http://schemas.microsoft.com/office/drawing/2014/main" id="{45BFC5B0-F545-3FEB-0D9D-146E130C1E96}"/>
              </a:ext>
            </a:extLst>
          </p:cNvPr>
          <p:cNvSpPr/>
          <p:nvPr/>
        </p:nvSpPr>
        <p:spPr>
          <a:xfrm>
            <a:off x="1747304" y="4113040"/>
            <a:ext cx="1386314" cy="285418"/>
          </a:xfrm>
          <a:prstGeom prst="rect">
            <a:avLst/>
          </a:prstGeom>
          <a:solidFill>
            <a:srgbClr val="60B3BB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815" dirty="0">
              <a:solidFill>
                <a:schemeClr val="bg1"/>
              </a:solidFill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1071" name="Content Placeholder 2">
            <a:extLst>
              <a:ext uri="{FF2B5EF4-FFF2-40B4-BE49-F238E27FC236}">
                <a16:creationId xmlns:a16="http://schemas.microsoft.com/office/drawing/2014/main" id="{0CA1D2C5-D122-AEB6-89AA-82C6AA3597D1}"/>
              </a:ext>
            </a:extLst>
          </p:cNvPr>
          <p:cNvSpPr txBox="1">
            <a:spLocks/>
          </p:cNvSpPr>
          <p:nvPr/>
        </p:nvSpPr>
        <p:spPr>
          <a:xfrm>
            <a:off x="1736375" y="4121497"/>
            <a:ext cx="1386314" cy="2854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55375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815" dirty="0">
                <a:solidFill>
                  <a:schemeClr val="bg1"/>
                </a:solidFill>
                <a:latin typeface="Roboto Condensed"/>
                <a:cs typeface="Arial" panose="020B0604020202020204" pitchFamily="34" charset="0"/>
              </a:rPr>
              <a:t>Aanbod </a:t>
            </a:r>
          </a:p>
          <a:p>
            <a:pPr marL="0" indent="0" algn="ctr" defTabSz="155375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634" dirty="0">
                <a:solidFill>
                  <a:schemeClr val="bg1"/>
                </a:solidFill>
                <a:latin typeface="Roboto Condensed"/>
                <a:cs typeface="Arial" panose="020B0604020202020204" pitchFamily="34" charset="0"/>
              </a:rPr>
              <a:t>(salaris, secundaire voorwaarden) incl. onderhandeling</a:t>
            </a:r>
          </a:p>
        </p:txBody>
      </p:sp>
      <p:pic>
        <p:nvPicPr>
          <p:cNvPr id="1073" name="Graphic 1072" descr="Blind with solid fill">
            <a:extLst>
              <a:ext uri="{FF2B5EF4-FFF2-40B4-BE49-F238E27FC236}">
                <a16:creationId xmlns:a16="http://schemas.microsoft.com/office/drawing/2014/main" id="{BD6243C4-4A84-80D2-C28A-36C1D181AB8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383930" y="5002964"/>
            <a:ext cx="277263" cy="277263"/>
          </a:xfrm>
          <a:prstGeom prst="rect">
            <a:avLst/>
          </a:prstGeom>
        </p:spPr>
      </p:pic>
      <p:sp>
        <p:nvSpPr>
          <p:cNvPr id="1076" name="TextBox 1075">
            <a:extLst>
              <a:ext uri="{FF2B5EF4-FFF2-40B4-BE49-F238E27FC236}">
                <a16:creationId xmlns:a16="http://schemas.microsoft.com/office/drawing/2014/main" id="{3A066AAE-B544-9CAD-4FCF-8EAD7F0E2307}"/>
              </a:ext>
            </a:extLst>
          </p:cNvPr>
          <p:cNvSpPr txBox="1"/>
          <p:nvPr/>
        </p:nvSpPr>
        <p:spPr>
          <a:xfrm flipH="1">
            <a:off x="1746752" y="5016346"/>
            <a:ext cx="1992853" cy="2596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1050" dirty="0">
                <a:solidFill>
                  <a:schemeClr val="bg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Onzichtbaar voor de medewerker</a:t>
            </a:r>
          </a:p>
        </p:txBody>
      </p:sp>
      <p:sp>
        <p:nvSpPr>
          <p:cNvPr id="1078" name="Rectangle 1077">
            <a:extLst>
              <a:ext uri="{FF2B5EF4-FFF2-40B4-BE49-F238E27FC236}">
                <a16:creationId xmlns:a16="http://schemas.microsoft.com/office/drawing/2014/main" id="{3DA984AC-D43C-0BBF-FDB9-084D593D3FAE}"/>
              </a:ext>
            </a:extLst>
          </p:cNvPr>
          <p:cNvSpPr/>
          <p:nvPr/>
        </p:nvSpPr>
        <p:spPr>
          <a:xfrm>
            <a:off x="3277989" y="1949975"/>
            <a:ext cx="1386314" cy="285418"/>
          </a:xfrm>
          <a:prstGeom prst="rect">
            <a:avLst/>
          </a:prstGeom>
          <a:solidFill>
            <a:srgbClr val="60B3BB">
              <a:alpha val="85098"/>
            </a:srgb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815" dirty="0">
              <a:solidFill>
                <a:schemeClr val="bg1"/>
              </a:solidFill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1079" name="Content Placeholder 2">
            <a:extLst>
              <a:ext uri="{FF2B5EF4-FFF2-40B4-BE49-F238E27FC236}">
                <a16:creationId xmlns:a16="http://schemas.microsoft.com/office/drawing/2014/main" id="{894FD82C-3A63-F9AD-FD14-28389D836D13}"/>
              </a:ext>
            </a:extLst>
          </p:cNvPr>
          <p:cNvSpPr txBox="1">
            <a:spLocks/>
          </p:cNvSpPr>
          <p:nvPr/>
        </p:nvSpPr>
        <p:spPr>
          <a:xfrm>
            <a:off x="3267060" y="1958432"/>
            <a:ext cx="1386314" cy="2854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55375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815" dirty="0">
                <a:solidFill>
                  <a:schemeClr val="bg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Arial" panose="020B0604020202020204" pitchFamily="34" charset="0"/>
              </a:rPr>
              <a:t>Gegevens, diploma, VOG, ID, bankrekening aanleveren</a:t>
            </a:r>
          </a:p>
        </p:txBody>
      </p:sp>
      <p:sp>
        <p:nvSpPr>
          <p:cNvPr id="1081" name="Rectangle 1080">
            <a:extLst>
              <a:ext uri="{FF2B5EF4-FFF2-40B4-BE49-F238E27FC236}">
                <a16:creationId xmlns:a16="http://schemas.microsoft.com/office/drawing/2014/main" id="{53685576-D994-F7DD-5933-B8959141BE13}"/>
              </a:ext>
            </a:extLst>
          </p:cNvPr>
          <p:cNvSpPr/>
          <p:nvPr/>
        </p:nvSpPr>
        <p:spPr>
          <a:xfrm>
            <a:off x="3277989" y="2258985"/>
            <a:ext cx="1386314" cy="285418"/>
          </a:xfrm>
          <a:prstGeom prst="rect">
            <a:avLst/>
          </a:prstGeom>
          <a:solidFill>
            <a:srgbClr val="60B3BB">
              <a:alpha val="85098"/>
            </a:srgb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815" dirty="0">
              <a:solidFill>
                <a:schemeClr val="bg1"/>
              </a:solidFill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1082" name="Content Placeholder 2">
            <a:extLst>
              <a:ext uri="{FF2B5EF4-FFF2-40B4-BE49-F238E27FC236}">
                <a16:creationId xmlns:a16="http://schemas.microsoft.com/office/drawing/2014/main" id="{30EEA770-353B-2750-3B71-1F6800A76975}"/>
              </a:ext>
            </a:extLst>
          </p:cNvPr>
          <p:cNvSpPr txBox="1">
            <a:spLocks/>
          </p:cNvSpPr>
          <p:nvPr/>
        </p:nvSpPr>
        <p:spPr>
          <a:xfrm>
            <a:off x="3267060" y="2267442"/>
            <a:ext cx="1386314" cy="2854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815" dirty="0">
                <a:solidFill>
                  <a:schemeClr val="bg1"/>
                </a:solidFill>
                <a:latin typeface="Roboto Condensed"/>
                <a:cs typeface="Arial" panose="020B0604020202020204" pitchFamily="34" charset="0"/>
              </a:rPr>
              <a:t>Arbeidsovereenkomst met bijlages tekenen</a:t>
            </a:r>
            <a:endParaRPr lang="nl-NL" sz="634" dirty="0">
              <a:solidFill>
                <a:schemeClr val="bg1"/>
              </a:solidFill>
              <a:latin typeface="Roboto Condensed"/>
              <a:cs typeface="Arial" panose="020B0604020202020204" pitchFamily="34" charset="0"/>
            </a:endParaRPr>
          </a:p>
        </p:txBody>
      </p:sp>
      <p:sp>
        <p:nvSpPr>
          <p:cNvPr id="1084" name="Rectangle 1083">
            <a:extLst>
              <a:ext uri="{FF2B5EF4-FFF2-40B4-BE49-F238E27FC236}">
                <a16:creationId xmlns:a16="http://schemas.microsoft.com/office/drawing/2014/main" id="{D271838A-713F-618C-EBA2-356FCBDC00F9}"/>
              </a:ext>
            </a:extLst>
          </p:cNvPr>
          <p:cNvSpPr/>
          <p:nvPr/>
        </p:nvSpPr>
        <p:spPr>
          <a:xfrm>
            <a:off x="3277989" y="2567994"/>
            <a:ext cx="1386314" cy="285418"/>
          </a:xfrm>
          <a:prstGeom prst="rect">
            <a:avLst/>
          </a:prstGeom>
          <a:solidFill>
            <a:srgbClr val="60B3BB">
              <a:alpha val="85098"/>
            </a:srgb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815" dirty="0">
              <a:solidFill>
                <a:schemeClr val="bg1"/>
              </a:solidFill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1085" name="Content Placeholder 2">
            <a:extLst>
              <a:ext uri="{FF2B5EF4-FFF2-40B4-BE49-F238E27FC236}">
                <a16:creationId xmlns:a16="http://schemas.microsoft.com/office/drawing/2014/main" id="{A2EABC3A-E29A-D861-35DC-B83A3C1C1D30}"/>
              </a:ext>
            </a:extLst>
          </p:cNvPr>
          <p:cNvSpPr txBox="1">
            <a:spLocks/>
          </p:cNvSpPr>
          <p:nvPr/>
        </p:nvSpPr>
        <p:spPr>
          <a:xfrm>
            <a:off x="3267060" y="2576451"/>
            <a:ext cx="1386314" cy="2854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55375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815" dirty="0">
                <a:solidFill>
                  <a:schemeClr val="bg1"/>
                </a:solidFill>
                <a:latin typeface="Roboto Condensed"/>
                <a:cs typeface="Arial" panose="020B0604020202020204" pitchFamily="34" charset="0"/>
              </a:rPr>
              <a:t>Welkomstpakket</a:t>
            </a:r>
          </a:p>
        </p:txBody>
      </p:sp>
      <p:sp>
        <p:nvSpPr>
          <p:cNvPr id="1087" name="Rectangle 1086">
            <a:extLst>
              <a:ext uri="{FF2B5EF4-FFF2-40B4-BE49-F238E27FC236}">
                <a16:creationId xmlns:a16="http://schemas.microsoft.com/office/drawing/2014/main" id="{6B62BDBC-A468-C9BB-4757-0A9C1CB859C8}"/>
              </a:ext>
            </a:extLst>
          </p:cNvPr>
          <p:cNvSpPr/>
          <p:nvPr/>
        </p:nvSpPr>
        <p:spPr>
          <a:xfrm>
            <a:off x="3275494" y="2877003"/>
            <a:ext cx="1386314" cy="285418"/>
          </a:xfrm>
          <a:prstGeom prst="rect">
            <a:avLst/>
          </a:prstGeom>
          <a:solidFill>
            <a:srgbClr val="60B3BB">
              <a:alpha val="85098"/>
            </a:srgb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815" dirty="0">
              <a:solidFill>
                <a:schemeClr val="bg1"/>
              </a:solidFill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720" name="Content Placeholder 2">
            <a:extLst>
              <a:ext uri="{FF2B5EF4-FFF2-40B4-BE49-F238E27FC236}">
                <a16:creationId xmlns:a16="http://schemas.microsoft.com/office/drawing/2014/main" id="{3C75A1F5-904A-53A4-80C0-4FB9D616F5A9}"/>
              </a:ext>
            </a:extLst>
          </p:cNvPr>
          <p:cNvSpPr txBox="1">
            <a:spLocks/>
          </p:cNvSpPr>
          <p:nvPr/>
        </p:nvSpPr>
        <p:spPr>
          <a:xfrm>
            <a:off x="3264565" y="2885460"/>
            <a:ext cx="1386314" cy="2854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55375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815" dirty="0">
                <a:solidFill>
                  <a:schemeClr val="bg1"/>
                </a:solidFill>
                <a:latin typeface="Roboto Condensed"/>
                <a:cs typeface="Arial" panose="020B0604020202020204" pitchFamily="34" charset="0"/>
              </a:rPr>
              <a:t>Informatie eerste werkdag</a:t>
            </a:r>
          </a:p>
        </p:txBody>
      </p:sp>
      <p:sp>
        <p:nvSpPr>
          <p:cNvPr id="722" name="Rectangle 721">
            <a:extLst>
              <a:ext uri="{FF2B5EF4-FFF2-40B4-BE49-F238E27FC236}">
                <a16:creationId xmlns:a16="http://schemas.microsoft.com/office/drawing/2014/main" id="{FB1E4767-7B6E-343F-EB52-3A23EC6AEFF6}"/>
              </a:ext>
            </a:extLst>
          </p:cNvPr>
          <p:cNvSpPr/>
          <p:nvPr/>
        </p:nvSpPr>
        <p:spPr>
          <a:xfrm>
            <a:off x="4792199" y="1949975"/>
            <a:ext cx="1386314" cy="285418"/>
          </a:xfrm>
          <a:prstGeom prst="rect">
            <a:avLst/>
          </a:prstGeom>
          <a:solidFill>
            <a:srgbClr val="60B3BB">
              <a:alpha val="69804"/>
            </a:srgb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815" dirty="0"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723" name="Content Placeholder 2">
            <a:extLst>
              <a:ext uri="{FF2B5EF4-FFF2-40B4-BE49-F238E27FC236}">
                <a16:creationId xmlns:a16="http://schemas.microsoft.com/office/drawing/2014/main" id="{26946D4F-01CF-AE03-FDE3-730686FF6711}"/>
              </a:ext>
            </a:extLst>
          </p:cNvPr>
          <p:cNvSpPr txBox="1">
            <a:spLocks/>
          </p:cNvSpPr>
          <p:nvPr/>
        </p:nvSpPr>
        <p:spPr>
          <a:xfrm>
            <a:off x="4781269" y="1965114"/>
            <a:ext cx="1386314" cy="2854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55375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815" dirty="0">
                <a:solidFill>
                  <a:schemeClr val="bg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Arial" panose="020B0604020202020204" pitchFamily="34" charset="0"/>
              </a:rPr>
              <a:t>Eerste werkdag </a:t>
            </a:r>
          </a:p>
          <a:p>
            <a:pPr marL="0" indent="0" algn="ctr" defTabSz="155375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634" dirty="0">
                <a:solidFill>
                  <a:schemeClr val="bg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Arial" panose="020B0604020202020204" pitchFamily="34" charset="0"/>
              </a:rPr>
              <a:t>(rondleiding, kennismaking, ....)</a:t>
            </a:r>
          </a:p>
        </p:txBody>
      </p:sp>
      <p:sp>
        <p:nvSpPr>
          <p:cNvPr id="725" name="Rectangle 724">
            <a:extLst>
              <a:ext uri="{FF2B5EF4-FFF2-40B4-BE49-F238E27FC236}">
                <a16:creationId xmlns:a16="http://schemas.microsoft.com/office/drawing/2014/main" id="{C5FE0B99-44F1-D423-56B4-3890A4116BE1}"/>
              </a:ext>
            </a:extLst>
          </p:cNvPr>
          <p:cNvSpPr/>
          <p:nvPr/>
        </p:nvSpPr>
        <p:spPr>
          <a:xfrm>
            <a:off x="4792199" y="2258985"/>
            <a:ext cx="1386314" cy="285418"/>
          </a:xfrm>
          <a:prstGeom prst="rect">
            <a:avLst/>
          </a:prstGeom>
          <a:solidFill>
            <a:srgbClr val="60B3BB">
              <a:alpha val="69804"/>
            </a:srgb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815" dirty="0"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726" name="Content Placeholder 2">
            <a:extLst>
              <a:ext uri="{FF2B5EF4-FFF2-40B4-BE49-F238E27FC236}">
                <a16:creationId xmlns:a16="http://schemas.microsoft.com/office/drawing/2014/main" id="{29CFB781-5C10-BF6D-D5A1-DB267ECF2BCB}"/>
              </a:ext>
            </a:extLst>
          </p:cNvPr>
          <p:cNvSpPr txBox="1">
            <a:spLocks/>
          </p:cNvSpPr>
          <p:nvPr/>
        </p:nvSpPr>
        <p:spPr>
          <a:xfrm>
            <a:off x="4781269" y="2267442"/>
            <a:ext cx="1386314" cy="2854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815" dirty="0">
                <a:solidFill>
                  <a:schemeClr val="bg1"/>
                </a:solidFill>
                <a:latin typeface="Roboto Condensed"/>
                <a:cs typeface="Arial" panose="020B0604020202020204" pitchFamily="34" charset="0"/>
              </a:rPr>
              <a:t>Ontvangst bedrijfsmiddelen</a:t>
            </a:r>
          </a:p>
          <a:p>
            <a:pPr marL="0" indent="0" algn="ctr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634" dirty="0">
                <a:solidFill>
                  <a:schemeClr val="bg1"/>
                </a:solidFill>
                <a:latin typeface="Roboto Condensed"/>
                <a:cs typeface="Arial" panose="020B0604020202020204" pitchFamily="34" charset="0"/>
              </a:rPr>
              <a:t>(badge, laptop, telefoon, werkkleding, ...)</a:t>
            </a:r>
          </a:p>
        </p:txBody>
      </p:sp>
      <p:sp>
        <p:nvSpPr>
          <p:cNvPr id="728" name="Rectangle 727">
            <a:extLst>
              <a:ext uri="{FF2B5EF4-FFF2-40B4-BE49-F238E27FC236}">
                <a16:creationId xmlns:a16="http://schemas.microsoft.com/office/drawing/2014/main" id="{50277E29-316B-FFD0-A32B-FCBFBD699F11}"/>
              </a:ext>
            </a:extLst>
          </p:cNvPr>
          <p:cNvSpPr/>
          <p:nvPr/>
        </p:nvSpPr>
        <p:spPr>
          <a:xfrm>
            <a:off x="4792199" y="2567994"/>
            <a:ext cx="1386314" cy="285418"/>
          </a:xfrm>
          <a:prstGeom prst="rect">
            <a:avLst/>
          </a:prstGeom>
          <a:solidFill>
            <a:srgbClr val="60B3BB">
              <a:alpha val="69804"/>
            </a:srgb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815" dirty="0"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729" name="Content Placeholder 2">
            <a:extLst>
              <a:ext uri="{FF2B5EF4-FFF2-40B4-BE49-F238E27FC236}">
                <a16:creationId xmlns:a16="http://schemas.microsoft.com/office/drawing/2014/main" id="{471B0D44-6164-C556-0271-04316CBB1DEA}"/>
              </a:ext>
            </a:extLst>
          </p:cNvPr>
          <p:cNvSpPr txBox="1">
            <a:spLocks/>
          </p:cNvSpPr>
          <p:nvPr/>
        </p:nvSpPr>
        <p:spPr>
          <a:xfrm>
            <a:off x="4781269" y="2576451"/>
            <a:ext cx="1386314" cy="2854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55375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815" dirty="0">
                <a:solidFill>
                  <a:schemeClr val="bg1"/>
                </a:solidFill>
                <a:latin typeface="Roboto Condensed"/>
                <a:cs typeface="Arial" panose="020B0604020202020204" pitchFamily="34" charset="0"/>
              </a:rPr>
              <a:t>Toegang (IT) systemen</a:t>
            </a:r>
          </a:p>
        </p:txBody>
      </p:sp>
      <p:sp>
        <p:nvSpPr>
          <p:cNvPr id="754" name="Rectangle 753">
            <a:extLst>
              <a:ext uri="{FF2B5EF4-FFF2-40B4-BE49-F238E27FC236}">
                <a16:creationId xmlns:a16="http://schemas.microsoft.com/office/drawing/2014/main" id="{8A319AF1-96DB-E520-9BD0-BE0A8B68D39A}"/>
              </a:ext>
            </a:extLst>
          </p:cNvPr>
          <p:cNvSpPr/>
          <p:nvPr/>
        </p:nvSpPr>
        <p:spPr>
          <a:xfrm>
            <a:off x="4792199" y="2877003"/>
            <a:ext cx="1386314" cy="285418"/>
          </a:xfrm>
          <a:prstGeom prst="rect">
            <a:avLst/>
          </a:prstGeom>
          <a:solidFill>
            <a:srgbClr val="60B3BB">
              <a:alpha val="69804"/>
            </a:srgb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815" dirty="0">
              <a:solidFill>
                <a:schemeClr val="bg1"/>
              </a:solidFill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755" name="Content Placeholder 2">
            <a:extLst>
              <a:ext uri="{FF2B5EF4-FFF2-40B4-BE49-F238E27FC236}">
                <a16:creationId xmlns:a16="http://schemas.microsoft.com/office/drawing/2014/main" id="{D648479B-8270-1193-6471-6D1D97BE7CA8}"/>
              </a:ext>
            </a:extLst>
          </p:cNvPr>
          <p:cNvSpPr txBox="1">
            <a:spLocks/>
          </p:cNvSpPr>
          <p:nvPr/>
        </p:nvSpPr>
        <p:spPr>
          <a:xfrm>
            <a:off x="4781269" y="2872097"/>
            <a:ext cx="1386314" cy="2854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55375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815" dirty="0">
                <a:solidFill>
                  <a:schemeClr val="bg1"/>
                </a:solidFill>
                <a:latin typeface="Roboto Condensed"/>
                <a:cs typeface="Arial" panose="020B0604020202020204" pitchFamily="34" charset="0"/>
              </a:rPr>
              <a:t>Onboarding/</a:t>
            </a:r>
            <a:br>
              <a:rPr lang="nl-NL" sz="815" dirty="0">
                <a:solidFill>
                  <a:schemeClr val="bg1"/>
                </a:solidFill>
                <a:latin typeface="Roboto Condensed"/>
                <a:cs typeface="Arial" panose="020B0604020202020204" pitchFamily="34" charset="0"/>
              </a:rPr>
            </a:br>
            <a:r>
              <a:rPr lang="nl-NL" sz="815" dirty="0">
                <a:solidFill>
                  <a:schemeClr val="bg1"/>
                </a:solidFill>
                <a:latin typeface="Roboto Condensed"/>
                <a:cs typeface="Arial" panose="020B0604020202020204" pitchFamily="34" charset="0"/>
              </a:rPr>
              <a:t>inwerkprogramma</a:t>
            </a:r>
          </a:p>
        </p:txBody>
      </p:sp>
      <p:sp>
        <p:nvSpPr>
          <p:cNvPr id="757" name="Rectangle 756">
            <a:extLst>
              <a:ext uri="{FF2B5EF4-FFF2-40B4-BE49-F238E27FC236}">
                <a16:creationId xmlns:a16="http://schemas.microsoft.com/office/drawing/2014/main" id="{B07BCBDD-F343-C695-D1D8-D08278B95E98}"/>
              </a:ext>
            </a:extLst>
          </p:cNvPr>
          <p:cNvSpPr/>
          <p:nvPr/>
        </p:nvSpPr>
        <p:spPr>
          <a:xfrm>
            <a:off x="4792199" y="3186012"/>
            <a:ext cx="1386314" cy="285418"/>
          </a:xfrm>
          <a:prstGeom prst="rect">
            <a:avLst/>
          </a:prstGeom>
          <a:solidFill>
            <a:srgbClr val="60B3BB">
              <a:alpha val="69804"/>
            </a:srgb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815" dirty="0"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758" name="Content Placeholder 2">
            <a:extLst>
              <a:ext uri="{FF2B5EF4-FFF2-40B4-BE49-F238E27FC236}">
                <a16:creationId xmlns:a16="http://schemas.microsoft.com/office/drawing/2014/main" id="{92C6C5D2-31F2-F860-4A0B-98082AD5173D}"/>
              </a:ext>
            </a:extLst>
          </p:cNvPr>
          <p:cNvSpPr txBox="1">
            <a:spLocks/>
          </p:cNvSpPr>
          <p:nvPr/>
        </p:nvSpPr>
        <p:spPr>
          <a:xfrm>
            <a:off x="4781269" y="3189563"/>
            <a:ext cx="1386314" cy="2854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55375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815" dirty="0">
                <a:solidFill>
                  <a:schemeClr val="bg1"/>
                </a:solidFill>
                <a:latin typeface="Roboto Condensed"/>
                <a:cs typeface="Arial" panose="020B0604020202020204" pitchFamily="34" charset="0"/>
              </a:rPr>
              <a:t>Mobiliteit </a:t>
            </a:r>
          </a:p>
          <a:p>
            <a:pPr marL="0" indent="0" algn="ctr" defTabSz="155375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634" dirty="0">
                <a:solidFill>
                  <a:schemeClr val="bg1"/>
                </a:solidFill>
                <a:latin typeface="Roboto Condensed"/>
                <a:cs typeface="Arial" panose="020B0604020202020204" pitchFamily="34" charset="0"/>
              </a:rPr>
              <a:t>(auto, leasefiets, OV,...)</a:t>
            </a:r>
          </a:p>
        </p:txBody>
      </p:sp>
      <p:sp>
        <p:nvSpPr>
          <p:cNvPr id="810" name="Rectangle 809">
            <a:extLst>
              <a:ext uri="{FF2B5EF4-FFF2-40B4-BE49-F238E27FC236}">
                <a16:creationId xmlns:a16="http://schemas.microsoft.com/office/drawing/2014/main" id="{92DA8544-F1B9-689A-FD9B-5F2AA9659F67}"/>
              </a:ext>
            </a:extLst>
          </p:cNvPr>
          <p:cNvSpPr/>
          <p:nvPr/>
        </p:nvSpPr>
        <p:spPr>
          <a:xfrm>
            <a:off x="4792199" y="3495022"/>
            <a:ext cx="1386314" cy="285418"/>
          </a:xfrm>
          <a:prstGeom prst="rect">
            <a:avLst/>
          </a:prstGeom>
          <a:solidFill>
            <a:srgbClr val="60B3BB">
              <a:alpha val="69804"/>
            </a:srgb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815" dirty="0"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811" name="Content Placeholder 2">
            <a:extLst>
              <a:ext uri="{FF2B5EF4-FFF2-40B4-BE49-F238E27FC236}">
                <a16:creationId xmlns:a16="http://schemas.microsoft.com/office/drawing/2014/main" id="{7E5711AA-A75C-46B6-DF9C-5F24ED945244}"/>
              </a:ext>
            </a:extLst>
          </p:cNvPr>
          <p:cNvSpPr txBox="1">
            <a:spLocks/>
          </p:cNvSpPr>
          <p:nvPr/>
        </p:nvSpPr>
        <p:spPr>
          <a:xfrm>
            <a:off x="4781269" y="3496555"/>
            <a:ext cx="1386314" cy="2854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55375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815" dirty="0">
                <a:solidFill>
                  <a:schemeClr val="bg1"/>
                </a:solidFill>
                <a:latin typeface="Roboto Condensed"/>
                <a:cs typeface="Arial" panose="020B0604020202020204" pitchFamily="34" charset="0"/>
              </a:rPr>
              <a:t>Thuiswerkplek</a:t>
            </a:r>
          </a:p>
        </p:txBody>
      </p:sp>
      <p:sp>
        <p:nvSpPr>
          <p:cNvPr id="813" name="Rectangle 812">
            <a:extLst>
              <a:ext uri="{FF2B5EF4-FFF2-40B4-BE49-F238E27FC236}">
                <a16:creationId xmlns:a16="http://schemas.microsoft.com/office/drawing/2014/main" id="{DF95DE85-6A1F-2AC4-1CB7-9FB38FE91B54}"/>
              </a:ext>
            </a:extLst>
          </p:cNvPr>
          <p:cNvSpPr/>
          <p:nvPr/>
        </p:nvSpPr>
        <p:spPr>
          <a:xfrm>
            <a:off x="4792199" y="3804031"/>
            <a:ext cx="1386314" cy="285418"/>
          </a:xfrm>
          <a:prstGeom prst="rect">
            <a:avLst/>
          </a:prstGeom>
          <a:solidFill>
            <a:srgbClr val="60B3BB">
              <a:alpha val="69804"/>
            </a:srgb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815" dirty="0"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814" name="Content Placeholder 2">
            <a:extLst>
              <a:ext uri="{FF2B5EF4-FFF2-40B4-BE49-F238E27FC236}">
                <a16:creationId xmlns:a16="http://schemas.microsoft.com/office/drawing/2014/main" id="{A1C598B4-6435-ADFE-9B00-03AA24D0681E}"/>
              </a:ext>
            </a:extLst>
          </p:cNvPr>
          <p:cNvSpPr txBox="1">
            <a:spLocks/>
          </p:cNvSpPr>
          <p:nvPr/>
        </p:nvSpPr>
        <p:spPr>
          <a:xfrm>
            <a:off x="4781269" y="3812488"/>
            <a:ext cx="1386314" cy="2854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55375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815" dirty="0">
                <a:solidFill>
                  <a:schemeClr val="bg1"/>
                </a:solidFill>
                <a:latin typeface="Roboto Condensed"/>
                <a:cs typeface="Arial" panose="020B0604020202020204" pitchFamily="34" charset="0"/>
              </a:rPr>
              <a:t>Verplichte cursussen/certificaten</a:t>
            </a:r>
          </a:p>
        </p:txBody>
      </p:sp>
      <p:sp>
        <p:nvSpPr>
          <p:cNvPr id="857" name="Rectangle 856">
            <a:extLst>
              <a:ext uri="{FF2B5EF4-FFF2-40B4-BE49-F238E27FC236}">
                <a16:creationId xmlns:a16="http://schemas.microsoft.com/office/drawing/2014/main" id="{ABF7463E-44D1-ACF9-0627-CC5DCD9E14D3}"/>
              </a:ext>
            </a:extLst>
          </p:cNvPr>
          <p:cNvSpPr/>
          <p:nvPr/>
        </p:nvSpPr>
        <p:spPr>
          <a:xfrm>
            <a:off x="4792199" y="4113040"/>
            <a:ext cx="1386314" cy="285418"/>
          </a:xfrm>
          <a:prstGeom prst="rect">
            <a:avLst/>
          </a:prstGeom>
          <a:solidFill>
            <a:srgbClr val="60B3BB">
              <a:alpha val="69804"/>
            </a:srgb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815" dirty="0"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858" name="Content Placeholder 2">
            <a:extLst>
              <a:ext uri="{FF2B5EF4-FFF2-40B4-BE49-F238E27FC236}">
                <a16:creationId xmlns:a16="http://schemas.microsoft.com/office/drawing/2014/main" id="{C87852AD-370F-77E1-36A8-653DD9C0331F}"/>
              </a:ext>
            </a:extLst>
          </p:cNvPr>
          <p:cNvSpPr txBox="1">
            <a:spLocks/>
          </p:cNvSpPr>
          <p:nvPr/>
        </p:nvSpPr>
        <p:spPr>
          <a:xfrm>
            <a:off x="4781269" y="4121497"/>
            <a:ext cx="1386314" cy="2854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55375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815" dirty="0">
                <a:solidFill>
                  <a:schemeClr val="bg1"/>
                </a:solidFill>
                <a:latin typeface="Roboto Condensed"/>
                <a:cs typeface="Arial" panose="020B0604020202020204" pitchFamily="34" charset="0"/>
              </a:rPr>
              <a:t>Contactgegevens collega's, </a:t>
            </a:r>
            <a:r>
              <a:rPr lang="nl-NL" sz="634" dirty="0">
                <a:solidFill>
                  <a:schemeClr val="bg1"/>
                </a:solidFill>
                <a:latin typeface="Roboto Condensed"/>
                <a:cs typeface="Arial" panose="020B0604020202020204" pitchFamily="34" charset="0"/>
              </a:rPr>
              <a:t>smoelenboek, organogrammen</a:t>
            </a:r>
          </a:p>
        </p:txBody>
      </p:sp>
      <p:sp>
        <p:nvSpPr>
          <p:cNvPr id="860" name="Rectangle 859">
            <a:extLst>
              <a:ext uri="{FF2B5EF4-FFF2-40B4-BE49-F238E27FC236}">
                <a16:creationId xmlns:a16="http://schemas.microsoft.com/office/drawing/2014/main" id="{3DB8EB25-F196-48F5-BECC-B768150399FE}"/>
              </a:ext>
            </a:extLst>
          </p:cNvPr>
          <p:cNvSpPr/>
          <p:nvPr/>
        </p:nvSpPr>
        <p:spPr>
          <a:xfrm>
            <a:off x="4792198" y="4422049"/>
            <a:ext cx="1386314" cy="285418"/>
          </a:xfrm>
          <a:prstGeom prst="rect">
            <a:avLst/>
          </a:prstGeom>
          <a:solidFill>
            <a:srgbClr val="60B3BB">
              <a:alpha val="69804"/>
            </a:srgb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815" dirty="0"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861" name="Content Placeholder 2">
            <a:extLst>
              <a:ext uri="{FF2B5EF4-FFF2-40B4-BE49-F238E27FC236}">
                <a16:creationId xmlns:a16="http://schemas.microsoft.com/office/drawing/2014/main" id="{4A9C4EB6-3F55-4534-3570-2A2ED40306DE}"/>
              </a:ext>
            </a:extLst>
          </p:cNvPr>
          <p:cNvSpPr txBox="1">
            <a:spLocks/>
          </p:cNvSpPr>
          <p:nvPr/>
        </p:nvSpPr>
        <p:spPr>
          <a:xfrm>
            <a:off x="4781269" y="4417143"/>
            <a:ext cx="1386314" cy="2854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55375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815" dirty="0">
                <a:solidFill>
                  <a:schemeClr val="bg1"/>
                </a:solidFill>
                <a:latin typeface="Roboto Condensed"/>
                <a:cs typeface="Arial" panose="020B0604020202020204" pitchFamily="34" charset="0"/>
              </a:rPr>
              <a:t>Einde proeftijd</a:t>
            </a:r>
            <a:endParaRPr lang="nl-NL" sz="634" dirty="0">
              <a:solidFill>
                <a:schemeClr val="bg1"/>
              </a:solidFill>
              <a:latin typeface="Roboto Condensed"/>
              <a:cs typeface="Arial" panose="020B0604020202020204" pitchFamily="34" charset="0"/>
            </a:endParaRPr>
          </a:p>
        </p:txBody>
      </p:sp>
      <p:sp>
        <p:nvSpPr>
          <p:cNvPr id="863" name="Rectangle 862">
            <a:extLst>
              <a:ext uri="{FF2B5EF4-FFF2-40B4-BE49-F238E27FC236}">
                <a16:creationId xmlns:a16="http://schemas.microsoft.com/office/drawing/2014/main" id="{244058F2-31CE-D223-D3CB-707E384A77F1}"/>
              </a:ext>
            </a:extLst>
          </p:cNvPr>
          <p:cNvSpPr/>
          <p:nvPr/>
        </p:nvSpPr>
        <p:spPr>
          <a:xfrm>
            <a:off x="6335343" y="1949975"/>
            <a:ext cx="1386314" cy="285418"/>
          </a:xfrm>
          <a:prstGeom prst="rect">
            <a:avLst/>
          </a:prstGeom>
          <a:solidFill>
            <a:srgbClr val="60B3BB">
              <a:alpha val="54902"/>
            </a:srgb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815" dirty="0"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864" name="Content Placeholder 2">
            <a:extLst>
              <a:ext uri="{FF2B5EF4-FFF2-40B4-BE49-F238E27FC236}">
                <a16:creationId xmlns:a16="http://schemas.microsoft.com/office/drawing/2014/main" id="{A5B9137A-5BA3-768C-1AC5-3D7E738B86E4}"/>
              </a:ext>
            </a:extLst>
          </p:cNvPr>
          <p:cNvSpPr txBox="1">
            <a:spLocks/>
          </p:cNvSpPr>
          <p:nvPr/>
        </p:nvSpPr>
        <p:spPr>
          <a:xfrm>
            <a:off x="6335343" y="1949975"/>
            <a:ext cx="1386314" cy="2854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55375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815" dirty="0">
                <a:solidFill>
                  <a:schemeClr val="bg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Arial" panose="020B0604020202020204" pitchFamily="34" charset="0"/>
              </a:rPr>
              <a:t>Roosters</a:t>
            </a:r>
            <a:endParaRPr lang="nl-NL" sz="634" dirty="0">
              <a:solidFill>
                <a:schemeClr val="bg1"/>
              </a:solidFill>
              <a:latin typeface="Roboto Condensed" panose="02000000000000000000" pitchFamily="2" charset="0"/>
              <a:ea typeface="Roboto Condensed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866" name="Rectangle 865">
            <a:extLst>
              <a:ext uri="{FF2B5EF4-FFF2-40B4-BE49-F238E27FC236}">
                <a16:creationId xmlns:a16="http://schemas.microsoft.com/office/drawing/2014/main" id="{43764915-E0C0-7361-331D-3E87595A32B5}"/>
              </a:ext>
            </a:extLst>
          </p:cNvPr>
          <p:cNvSpPr/>
          <p:nvPr/>
        </p:nvSpPr>
        <p:spPr>
          <a:xfrm>
            <a:off x="6335343" y="2258985"/>
            <a:ext cx="1386314" cy="285418"/>
          </a:xfrm>
          <a:prstGeom prst="rect">
            <a:avLst/>
          </a:prstGeom>
          <a:solidFill>
            <a:srgbClr val="60B3BB">
              <a:alpha val="54902"/>
            </a:srgb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815" dirty="0"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867" name="Content Placeholder 2">
            <a:extLst>
              <a:ext uri="{FF2B5EF4-FFF2-40B4-BE49-F238E27FC236}">
                <a16:creationId xmlns:a16="http://schemas.microsoft.com/office/drawing/2014/main" id="{C01B360E-0879-E1CC-7C19-D7FF60324A84}"/>
              </a:ext>
            </a:extLst>
          </p:cNvPr>
          <p:cNvSpPr txBox="1">
            <a:spLocks/>
          </p:cNvSpPr>
          <p:nvPr/>
        </p:nvSpPr>
        <p:spPr>
          <a:xfrm>
            <a:off x="6335343" y="2258985"/>
            <a:ext cx="1386314" cy="2854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815" dirty="0">
                <a:solidFill>
                  <a:schemeClr val="bg1"/>
                </a:solidFill>
                <a:latin typeface="Roboto Condensed"/>
                <a:cs typeface="Arial" panose="020B0604020202020204" pitchFamily="34" charset="0"/>
              </a:rPr>
              <a:t>Declaraties</a:t>
            </a:r>
          </a:p>
          <a:p>
            <a:pPr marL="0" indent="0" algn="ctr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634" dirty="0">
                <a:solidFill>
                  <a:schemeClr val="bg1"/>
                </a:solidFill>
                <a:latin typeface="Roboto Condensed"/>
                <a:cs typeface="Arial" panose="020B0604020202020204" pitchFamily="34" charset="0"/>
              </a:rPr>
              <a:t>Uren, kilometers, privé-gebruik auto, thuiswerken, ... (registratie)</a:t>
            </a:r>
          </a:p>
        </p:txBody>
      </p:sp>
      <p:sp>
        <p:nvSpPr>
          <p:cNvPr id="869" name="Rectangle 868">
            <a:extLst>
              <a:ext uri="{FF2B5EF4-FFF2-40B4-BE49-F238E27FC236}">
                <a16:creationId xmlns:a16="http://schemas.microsoft.com/office/drawing/2014/main" id="{5041B69B-0701-B44D-5F7C-028F3AB4B756}"/>
              </a:ext>
            </a:extLst>
          </p:cNvPr>
          <p:cNvSpPr/>
          <p:nvPr/>
        </p:nvSpPr>
        <p:spPr>
          <a:xfrm>
            <a:off x="6335343" y="2567994"/>
            <a:ext cx="1386314" cy="285418"/>
          </a:xfrm>
          <a:prstGeom prst="rect">
            <a:avLst/>
          </a:prstGeom>
          <a:solidFill>
            <a:srgbClr val="60B3BB">
              <a:alpha val="54902"/>
            </a:srgb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815" dirty="0"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870" name="Content Placeholder 2">
            <a:extLst>
              <a:ext uri="{FF2B5EF4-FFF2-40B4-BE49-F238E27FC236}">
                <a16:creationId xmlns:a16="http://schemas.microsoft.com/office/drawing/2014/main" id="{CF0C6FC1-B0E7-3E83-429F-F88FF0C90F5B}"/>
              </a:ext>
            </a:extLst>
          </p:cNvPr>
          <p:cNvSpPr txBox="1">
            <a:spLocks/>
          </p:cNvSpPr>
          <p:nvPr/>
        </p:nvSpPr>
        <p:spPr>
          <a:xfrm>
            <a:off x="6335343" y="2567994"/>
            <a:ext cx="1386314" cy="2854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55375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815" dirty="0">
                <a:solidFill>
                  <a:schemeClr val="bg1"/>
                </a:solidFill>
                <a:latin typeface="Roboto Condensed"/>
                <a:cs typeface="Arial" panose="020B0604020202020204" pitchFamily="34" charset="0"/>
              </a:rPr>
              <a:t>Salarisbetaling en jaaropgaven</a:t>
            </a:r>
          </a:p>
        </p:txBody>
      </p:sp>
      <p:sp>
        <p:nvSpPr>
          <p:cNvPr id="872" name="Rectangle 871">
            <a:extLst>
              <a:ext uri="{FF2B5EF4-FFF2-40B4-BE49-F238E27FC236}">
                <a16:creationId xmlns:a16="http://schemas.microsoft.com/office/drawing/2014/main" id="{7AC7C6AF-6800-746C-6F30-FDE63EC13BFC}"/>
              </a:ext>
            </a:extLst>
          </p:cNvPr>
          <p:cNvSpPr/>
          <p:nvPr/>
        </p:nvSpPr>
        <p:spPr>
          <a:xfrm>
            <a:off x="6335343" y="2877003"/>
            <a:ext cx="1386314" cy="285418"/>
          </a:xfrm>
          <a:prstGeom prst="rect">
            <a:avLst/>
          </a:prstGeom>
          <a:solidFill>
            <a:srgbClr val="60B3BB">
              <a:alpha val="54902"/>
            </a:srgb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815" dirty="0"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873" name="Content Placeholder 2">
            <a:extLst>
              <a:ext uri="{FF2B5EF4-FFF2-40B4-BE49-F238E27FC236}">
                <a16:creationId xmlns:a16="http://schemas.microsoft.com/office/drawing/2014/main" id="{6E8A8B80-C30B-0FFF-617C-6E4EE92E0745}"/>
              </a:ext>
            </a:extLst>
          </p:cNvPr>
          <p:cNvSpPr txBox="1">
            <a:spLocks/>
          </p:cNvSpPr>
          <p:nvPr/>
        </p:nvSpPr>
        <p:spPr>
          <a:xfrm>
            <a:off x="6335343" y="2877003"/>
            <a:ext cx="1386314" cy="2854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55375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815" dirty="0">
                <a:solidFill>
                  <a:schemeClr val="bg1"/>
                </a:solidFill>
                <a:latin typeface="Roboto Condensed"/>
                <a:cs typeface="Arial" panose="020B0604020202020204" pitchFamily="34" charset="0"/>
              </a:rPr>
              <a:t>Vakantie</a:t>
            </a:r>
          </a:p>
        </p:txBody>
      </p:sp>
      <p:sp>
        <p:nvSpPr>
          <p:cNvPr id="875" name="Rectangle 874">
            <a:extLst>
              <a:ext uri="{FF2B5EF4-FFF2-40B4-BE49-F238E27FC236}">
                <a16:creationId xmlns:a16="http://schemas.microsoft.com/office/drawing/2014/main" id="{B73BAAC7-356D-2E83-7FAB-9CB2B8B14F4F}"/>
              </a:ext>
            </a:extLst>
          </p:cNvPr>
          <p:cNvSpPr/>
          <p:nvPr/>
        </p:nvSpPr>
        <p:spPr>
          <a:xfrm>
            <a:off x="6335343" y="3186012"/>
            <a:ext cx="1386314" cy="285418"/>
          </a:xfrm>
          <a:prstGeom prst="rect">
            <a:avLst/>
          </a:prstGeom>
          <a:solidFill>
            <a:srgbClr val="60B3BB">
              <a:alpha val="54902"/>
            </a:srgb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815" dirty="0"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876" name="Content Placeholder 2">
            <a:extLst>
              <a:ext uri="{FF2B5EF4-FFF2-40B4-BE49-F238E27FC236}">
                <a16:creationId xmlns:a16="http://schemas.microsoft.com/office/drawing/2014/main" id="{7CCCA4EC-E17A-3197-0EBA-F469C0202DD9}"/>
              </a:ext>
            </a:extLst>
          </p:cNvPr>
          <p:cNvSpPr txBox="1">
            <a:spLocks/>
          </p:cNvSpPr>
          <p:nvPr/>
        </p:nvSpPr>
        <p:spPr>
          <a:xfrm>
            <a:off x="6335343" y="3186012"/>
            <a:ext cx="1386314" cy="2854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55375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815" dirty="0">
                <a:solidFill>
                  <a:schemeClr val="bg1"/>
                </a:solidFill>
                <a:latin typeface="Roboto Condensed"/>
                <a:cs typeface="Arial" panose="020B0604020202020204" pitchFamily="34" charset="0"/>
              </a:rPr>
              <a:t>Overig verlof</a:t>
            </a:r>
          </a:p>
          <a:p>
            <a:pPr marL="0" indent="0" algn="ctr" defTabSz="155375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634" dirty="0">
                <a:solidFill>
                  <a:schemeClr val="bg1"/>
                </a:solidFill>
                <a:latin typeface="Roboto Condensed"/>
                <a:cs typeface="Arial" panose="020B0604020202020204" pitchFamily="34" charset="0"/>
              </a:rPr>
              <a:t> (bijzonder, geboorte, ouderschap, zorg, ...)</a:t>
            </a:r>
          </a:p>
        </p:txBody>
      </p:sp>
      <p:sp>
        <p:nvSpPr>
          <p:cNvPr id="878" name="Rectangle 877">
            <a:extLst>
              <a:ext uri="{FF2B5EF4-FFF2-40B4-BE49-F238E27FC236}">
                <a16:creationId xmlns:a16="http://schemas.microsoft.com/office/drawing/2014/main" id="{FCF4DEAD-858C-1980-EBAA-A16B1ED93CC6}"/>
              </a:ext>
            </a:extLst>
          </p:cNvPr>
          <p:cNvSpPr/>
          <p:nvPr/>
        </p:nvSpPr>
        <p:spPr>
          <a:xfrm>
            <a:off x="6335343" y="3495022"/>
            <a:ext cx="1386314" cy="285418"/>
          </a:xfrm>
          <a:prstGeom prst="rect">
            <a:avLst/>
          </a:prstGeom>
          <a:solidFill>
            <a:srgbClr val="60B3BB">
              <a:alpha val="54902"/>
            </a:srgb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815" dirty="0"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879" name="Content Placeholder 2">
            <a:extLst>
              <a:ext uri="{FF2B5EF4-FFF2-40B4-BE49-F238E27FC236}">
                <a16:creationId xmlns:a16="http://schemas.microsoft.com/office/drawing/2014/main" id="{2F5BE669-BF63-DF6C-8EE1-607584CAF293}"/>
              </a:ext>
            </a:extLst>
          </p:cNvPr>
          <p:cNvSpPr txBox="1">
            <a:spLocks/>
          </p:cNvSpPr>
          <p:nvPr/>
        </p:nvSpPr>
        <p:spPr>
          <a:xfrm>
            <a:off x="6335343" y="3495022"/>
            <a:ext cx="1386314" cy="2854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55375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815" dirty="0">
                <a:solidFill>
                  <a:schemeClr val="bg1"/>
                </a:solidFill>
                <a:latin typeface="Roboto Condensed"/>
                <a:cs typeface="Arial" panose="020B0604020202020204" pitchFamily="34" charset="0"/>
              </a:rPr>
              <a:t>Vitaliteit en duurzame </a:t>
            </a:r>
          </a:p>
          <a:p>
            <a:pPr marL="0" indent="0" algn="ctr" defTabSz="155375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815" dirty="0">
                <a:solidFill>
                  <a:schemeClr val="bg1"/>
                </a:solidFill>
                <a:latin typeface="Roboto Condensed"/>
                <a:cs typeface="Arial" panose="020B0604020202020204" pitchFamily="34" charset="0"/>
              </a:rPr>
              <a:t>inzetbaarheid</a:t>
            </a:r>
          </a:p>
        </p:txBody>
      </p:sp>
      <p:sp>
        <p:nvSpPr>
          <p:cNvPr id="881" name="Rectangle 880">
            <a:extLst>
              <a:ext uri="{FF2B5EF4-FFF2-40B4-BE49-F238E27FC236}">
                <a16:creationId xmlns:a16="http://schemas.microsoft.com/office/drawing/2014/main" id="{185579C4-5564-04B7-2C75-F710811840D9}"/>
              </a:ext>
            </a:extLst>
          </p:cNvPr>
          <p:cNvSpPr/>
          <p:nvPr/>
        </p:nvSpPr>
        <p:spPr>
          <a:xfrm>
            <a:off x="6335343" y="3804031"/>
            <a:ext cx="1386314" cy="285418"/>
          </a:xfrm>
          <a:prstGeom prst="rect">
            <a:avLst/>
          </a:prstGeom>
          <a:solidFill>
            <a:srgbClr val="60B3BB">
              <a:alpha val="54902"/>
            </a:srgb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815" dirty="0"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882" name="Content Placeholder 2">
            <a:extLst>
              <a:ext uri="{FF2B5EF4-FFF2-40B4-BE49-F238E27FC236}">
                <a16:creationId xmlns:a16="http://schemas.microsoft.com/office/drawing/2014/main" id="{6AC3A852-F0FD-CB1A-8F21-D9EDB43DF43E}"/>
              </a:ext>
            </a:extLst>
          </p:cNvPr>
          <p:cNvSpPr txBox="1">
            <a:spLocks/>
          </p:cNvSpPr>
          <p:nvPr/>
        </p:nvSpPr>
        <p:spPr>
          <a:xfrm>
            <a:off x="6335343" y="3804031"/>
            <a:ext cx="1386314" cy="2854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55375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815" dirty="0">
                <a:solidFill>
                  <a:schemeClr val="bg1"/>
                </a:solidFill>
                <a:latin typeface="Roboto Condensed"/>
                <a:cs typeface="Arial" panose="020B0604020202020204" pitchFamily="34" charset="0"/>
              </a:rPr>
              <a:t>Verzuim</a:t>
            </a:r>
          </a:p>
        </p:txBody>
      </p:sp>
      <p:sp>
        <p:nvSpPr>
          <p:cNvPr id="884" name="Rectangle 883">
            <a:extLst>
              <a:ext uri="{FF2B5EF4-FFF2-40B4-BE49-F238E27FC236}">
                <a16:creationId xmlns:a16="http://schemas.microsoft.com/office/drawing/2014/main" id="{65987636-9CEB-42DD-1B9C-763A3E5B82AF}"/>
              </a:ext>
            </a:extLst>
          </p:cNvPr>
          <p:cNvSpPr/>
          <p:nvPr/>
        </p:nvSpPr>
        <p:spPr>
          <a:xfrm>
            <a:off x="6335343" y="4113040"/>
            <a:ext cx="1386314" cy="285418"/>
          </a:xfrm>
          <a:prstGeom prst="rect">
            <a:avLst/>
          </a:prstGeom>
          <a:solidFill>
            <a:srgbClr val="60B3BB">
              <a:alpha val="54902"/>
            </a:srgb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815" dirty="0"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885" name="Content Placeholder 2">
            <a:extLst>
              <a:ext uri="{FF2B5EF4-FFF2-40B4-BE49-F238E27FC236}">
                <a16:creationId xmlns:a16="http://schemas.microsoft.com/office/drawing/2014/main" id="{86696B30-AF87-BCCB-4336-E4E96AD8BF4E}"/>
              </a:ext>
            </a:extLst>
          </p:cNvPr>
          <p:cNvSpPr txBox="1">
            <a:spLocks/>
          </p:cNvSpPr>
          <p:nvPr/>
        </p:nvSpPr>
        <p:spPr>
          <a:xfrm>
            <a:off x="6335343" y="4113040"/>
            <a:ext cx="1386314" cy="2854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55375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815" dirty="0">
                <a:solidFill>
                  <a:schemeClr val="bg1"/>
                </a:solidFill>
                <a:latin typeface="Roboto Condensed"/>
                <a:cs typeface="Arial" panose="020B0604020202020204" pitchFamily="34" charset="0"/>
              </a:rPr>
              <a:t>Aanpassingen in arbeidsovereenkomst</a:t>
            </a:r>
            <a:endParaRPr lang="nl-NL" sz="634" dirty="0">
              <a:solidFill>
                <a:schemeClr val="bg1"/>
              </a:solidFill>
              <a:latin typeface="Roboto Condensed"/>
              <a:cs typeface="Arial" panose="020B0604020202020204" pitchFamily="34" charset="0"/>
            </a:endParaRPr>
          </a:p>
        </p:txBody>
      </p:sp>
      <p:sp>
        <p:nvSpPr>
          <p:cNvPr id="887" name="Rectangle 886">
            <a:extLst>
              <a:ext uri="{FF2B5EF4-FFF2-40B4-BE49-F238E27FC236}">
                <a16:creationId xmlns:a16="http://schemas.microsoft.com/office/drawing/2014/main" id="{590B0AD3-690F-4AA0-E7F6-E6043CDBDB9C}"/>
              </a:ext>
            </a:extLst>
          </p:cNvPr>
          <p:cNvSpPr/>
          <p:nvPr/>
        </p:nvSpPr>
        <p:spPr>
          <a:xfrm>
            <a:off x="6335343" y="4422049"/>
            <a:ext cx="1386314" cy="285418"/>
          </a:xfrm>
          <a:prstGeom prst="rect">
            <a:avLst/>
          </a:prstGeom>
          <a:solidFill>
            <a:srgbClr val="60B3BB">
              <a:alpha val="54902"/>
            </a:srgb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815" dirty="0"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888" name="Content Placeholder 2">
            <a:extLst>
              <a:ext uri="{FF2B5EF4-FFF2-40B4-BE49-F238E27FC236}">
                <a16:creationId xmlns:a16="http://schemas.microsoft.com/office/drawing/2014/main" id="{AE064FB4-D42F-250C-AF37-14E4C6916680}"/>
              </a:ext>
            </a:extLst>
          </p:cNvPr>
          <p:cNvSpPr txBox="1">
            <a:spLocks/>
          </p:cNvSpPr>
          <p:nvPr/>
        </p:nvSpPr>
        <p:spPr>
          <a:xfrm>
            <a:off x="6335343" y="4422049"/>
            <a:ext cx="1386314" cy="2854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55375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815" dirty="0">
                <a:solidFill>
                  <a:schemeClr val="bg1"/>
                </a:solidFill>
                <a:latin typeface="Roboto Condensed"/>
                <a:cs typeface="Arial" panose="020B0604020202020204" pitchFamily="34" charset="0"/>
              </a:rPr>
              <a:t>Attenties</a:t>
            </a:r>
          </a:p>
        </p:txBody>
      </p:sp>
      <p:sp>
        <p:nvSpPr>
          <p:cNvPr id="890" name="Rectangle 889">
            <a:extLst>
              <a:ext uri="{FF2B5EF4-FFF2-40B4-BE49-F238E27FC236}">
                <a16:creationId xmlns:a16="http://schemas.microsoft.com/office/drawing/2014/main" id="{8F5A5790-79FF-31A7-6A29-D95BDF4D291F}"/>
              </a:ext>
            </a:extLst>
          </p:cNvPr>
          <p:cNvSpPr/>
          <p:nvPr/>
        </p:nvSpPr>
        <p:spPr>
          <a:xfrm>
            <a:off x="6335343" y="4731058"/>
            <a:ext cx="1386314" cy="285418"/>
          </a:xfrm>
          <a:prstGeom prst="rect">
            <a:avLst/>
          </a:prstGeom>
          <a:solidFill>
            <a:srgbClr val="60B3BB">
              <a:alpha val="54902"/>
            </a:srgb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815" dirty="0"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891" name="Content Placeholder 2">
            <a:extLst>
              <a:ext uri="{FF2B5EF4-FFF2-40B4-BE49-F238E27FC236}">
                <a16:creationId xmlns:a16="http://schemas.microsoft.com/office/drawing/2014/main" id="{54934034-6558-FF89-701D-E8747C84FA7A}"/>
              </a:ext>
            </a:extLst>
          </p:cNvPr>
          <p:cNvSpPr txBox="1">
            <a:spLocks/>
          </p:cNvSpPr>
          <p:nvPr/>
        </p:nvSpPr>
        <p:spPr>
          <a:xfrm>
            <a:off x="6335343" y="4731058"/>
            <a:ext cx="1386314" cy="2854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55375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815" dirty="0">
                <a:solidFill>
                  <a:schemeClr val="bg1"/>
                </a:solidFill>
                <a:latin typeface="Roboto Condensed"/>
                <a:cs typeface="Arial" panose="020B0604020202020204" pitchFamily="34" charset="0"/>
              </a:rPr>
              <a:t>Contact met HR &amp; </a:t>
            </a:r>
            <a:br>
              <a:rPr lang="nl-NL" sz="815" dirty="0">
                <a:solidFill>
                  <a:schemeClr val="bg1"/>
                </a:solidFill>
                <a:latin typeface="Roboto Condensed"/>
                <a:cs typeface="Arial" panose="020B0604020202020204" pitchFamily="34" charset="0"/>
              </a:rPr>
            </a:br>
            <a:r>
              <a:rPr lang="nl-NL" sz="815" dirty="0">
                <a:solidFill>
                  <a:schemeClr val="bg1"/>
                </a:solidFill>
                <a:latin typeface="Roboto Condensed"/>
                <a:cs typeface="Arial" panose="020B0604020202020204" pitchFamily="34" charset="0"/>
              </a:rPr>
              <a:t>berichten vanuit HR</a:t>
            </a:r>
          </a:p>
        </p:txBody>
      </p:sp>
      <p:sp>
        <p:nvSpPr>
          <p:cNvPr id="893" name="Rectangle 892">
            <a:extLst>
              <a:ext uri="{FF2B5EF4-FFF2-40B4-BE49-F238E27FC236}">
                <a16:creationId xmlns:a16="http://schemas.microsoft.com/office/drawing/2014/main" id="{DA3FA31C-9CD0-D689-D738-823ED7841B87}"/>
              </a:ext>
            </a:extLst>
          </p:cNvPr>
          <p:cNvSpPr/>
          <p:nvPr/>
        </p:nvSpPr>
        <p:spPr>
          <a:xfrm>
            <a:off x="7821061" y="2260760"/>
            <a:ext cx="1386314" cy="285418"/>
          </a:xfrm>
          <a:prstGeom prst="rect">
            <a:avLst/>
          </a:prstGeom>
          <a:solidFill>
            <a:srgbClr val="60B3BB">
              <a:alpha val="40000"/>
            </a:srgb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815" dirty="0"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894" name="Content Placeholder 2">
            <a:extLst>
              <a:ext uri="{FF2B5EF4-FFF2-40B4-BE49-F238E27FC236}">
                <a16:creationId xmlns:a16="http://schemas.microsoft.com/office/drawing/2014/main" id="{A0F1E281-C65A-3F2A-E25D-542147B50BC2}"/>
              </a:ext>
            </a:extLst>
          </p:cNvPr>
          <p:cNvSpPr txBox="1">
            <a:spLocks/>
          </p:cNvSpPr>
          <p:nvPr/>
        </p:nvSpPr>
        <p:spPr>
          <a:xfrm>
            <a:off x="7821061" y="2260760"/>
            <a:ext cx="1386314" cy="2854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55375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815" dirty="0">
                <a:solidFill>
                  <a:srgbClr val="8098AA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Arial" panose="020B0604020202020204" pitchFamily="34" charset="0"/>
              </a:rPr>
              <a:t>Opleiding &amp; training</a:t>
            </a:r>
          </a:p>
          <a:p>
            <a:pPr marL="0" indent="0" algn="ctr" defTabSz="155375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634" dirty="0">
                <a:solidFill>
                  <a:srgbClr val="8098AA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Arial" panose="020B0604020202020204" pitchFamily="34" charset="0"/>
              </a:rPr>
              <a:t>incl. vernieuwen verplichte cursussen/certificaten</a:t>
            </a:r>
          </a:p>
        </p:txBody>
      </p:sp>
      <p:sp>
        <p:nvSpPr>
          <p:cNvPr id="1088" name="Rectangle 1087">
            <a:extLst>
              <a:ext uri="{FF2B5EF4-FFF2-40B4-BE49-F238E27FC236}">
                <a16:creationId xmlns:a16="http://schemas.microsoft.com/office/drawing/2014/main" id="{545C316A-F3FB-ADE8-DE45-660749F5DD56}"/>
              </a:ext>
            </a:extLst>
          </p:cNvPr>
          <p:cNvSpPr/>
          <p:nvPr/>
        </p:nvSpPr>
        <p:spPr>
          <a:xfrm>
            <a:off x="7821061" y="2569769"/>
            <a:ext cx="1386314" cy="285418"/>
          </a:xfrm>
          <a:prstGeom prst="rect">
            <a:avLst/>
          </a:prstGeom>
          <a:solidFill>
            <a:srgbClr val="60B3BB">
              <a:alpha val="40000"/>
            </a:srgb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815" dirty="0"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1089" name="Content Placeholder 2">
            <a:extLst>
              <a:ext uri="{FF2B5EF4-FFF2-40B4-BE49-F238E27FC236}">
                <a16:creationId xmlns:a16="http://schemas.microsoft.com/office/drawing/2014/main" id="{223C4A50-295F-0887-CBC3-4E7EB8F82AC6}"/>
              </a:ext>
            </a:extLst>
          </p:cNvPr>
          <p:cNvSpPr txBox="1">
            <a:spLocks/>
          </p:cNvSpPr>
          <p:nvPr/>
        </p:nvSpPr>
        <p:spPr>
          <a:xfrm>
            <a:off x="7821061" y="2569769"/>
            <a:ext cx="1386314" cy="2854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815" dirty="0">
                <a:solidFill>
                  <a:srgbClr val="8098AA"/>
                </a:solidFill>
                <a:latin typeface="Roboto Condensed"/>
                <a:cs typeface="Arial" panose="020B0604020202020204" pitchFamily="34" charset="0"/>
              </a:rPr>
              <a:t>Ontwikkeldoelen (competenties)</a:t>
            </a:r>
            <a:endParaRPr lang="nl-NL" sz="634" dirty="0">
              <a:solidFill>
                <a:srgbClr val="8098AA"/>
              </a:solidFill>
              <a:latin typeface="Roboto Condensed"/>
              <a:cs typeface="Arial" panose="020B0604020202020204" pitchFamily="34" charset="0"/>
            </a:endParaRPr>
          </a:p>
        </p:txBody>
      </p:sp>
      <p:sp>
        <p:nvSpPr>
          <p:cNvPr id="1091" name="Rectangle 1090">
            <a:extLst>
              <a:ext uri="{FF2B5EF4-FFF2-40B4-BE49-F238E27FC236}">
                <a16:creationId xmlns:a16="http://schemas.microsoft.com/office/drawing/2014/main" id="{3170C798-EE88-FEEF-877E-7D867343DCB4}"/>
              </a:ext>
            </a:extLst>
          </p:cNvPr>
          <p:cNvSpPr/>
          <p:nvPr/>
        </p:nvSpPr>
        <p:spPr>
          <a:xfrm>
            <a:off x="7821061" y="2878778"/>
            <a:ext cx="1386314" cy="285418"/>
          </a:xfrm>
          <a:prstGeom prst="rect">
            <a:avLst/>
          </a:prstGeom>
          <a:solidFill>
            <a:srgbClr val="60B3BB">
              <a:alpha val="40000"/>
            </a:srgb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815" dirty="0"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1092" name="Content Placeholder 2">
            <a:extLst>
              <a:ext uri="{FF2B5EF4-FFF2-40B4-BE49-F238E27FC236}">
                <a16:creationId xmlns:a16="http://schemas.microsoft.com/office/drawing/2014/main" id="{FF551EEC-D09C-FB5C-13E2-EC4CFFF11F1D}"/>
              </a:ext>
            </a:extLst>
          </p:cNvPr>
          <p:cNvSpPr txBox="1">
            <a:spLocks/>
          </p:cNvSpPr>
          <p:nvPr/>
        </p:nvSpPr>
        <p:spPr>
          <a:xfrm>
            <a:off x="7821061" y="2878778"/>
            <a:ext cx="1386314" cy="2854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55375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815" dirty="0">
                <a:solidFill>
                  <a:srgbClr val="8098AA"/>
                </a:solidFill>
                <a:latin typeface="Roboto Condensed"/>
                <a:cs typeface="Arial" panose="020B0604020202020204" pitchFamily="34" charset="0"/>
              </a:rPr>
              <a:t>Evaluatie &amp; beoordeling</a:t>
            </a:r>
          </a:p>
        </p:txBody>
      </p:sp>
      <p:sp>
        <p:nvSpPr>
          <p:cNvPr id="1094" name="Rectangle 1093">
            <a:extLst>
              <a:ext uri="{FF2B5EF4-FFF2-40B4-BE49-F238E27FC236}">
                <a16:creationId xmlns:a16="http://schemas.microsoft.com/office/drawing/2014/main" id="{9AA1C67C-D884-DB7B-99C6-360BB534758D}"/>
              </a:ext>
            </a:extLst>
          </p:cNvPr>
          <p:cNvSpPr/>
          <p:nvPr/>
        </p:nvSpPr>
        <p:spPr>
          <a:xfrm>
            <a:off x="7821061" y="3187788"/>
            <a:ext cx="1386314" cy="285418"/>
          </a:xfrm>
          <a:prstGeom prst="rect">
            <a:avLst/>
          </a:prstGeom>
          <a:solidFill>
            <a:srgbClr val="60B3BB">
              <a:alpha val="40000"/>
            </a:srgb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815" dirty="0"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1095" name="Content Placeholder 2">
            <a:extLst>
              <a:ext uri="{FF2B5EF4-FFF2-40B4-BE49-F238E27FC236}">
                <a16:creationId xmlns:a16="http://schemas.microsoft.com/office/drawing/2014/main" id="{BDA79852-91FE-2D23-9FB9-BF5E9788AFC1}"/>
              </a:ext>
            </a:extLst>
          </p:cNvPr>
          <p:cNvSpPr txBox="1">
            <a:spLocks/>
          </p:cNvSpPr>
          <p:nvPr/>
        </p:nvSpPr>
        <p:spPr>
          <a:xfrm>
            <a:off x="7821061" y="3187788"/>
            <a:ext cx="1386314" cy="2854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55375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815" dirty="0">
                <a:solidFill>
                  <a:srgbClr val="8098AA"/>
                </a:solidFill>
                <a:latin typeface="Roboto Condensed"/>
                <a:cs typeface="Arial" panose="020B0604020202020204" pitchFamily="34" charset="0"/>
              </a:rPr>
              <a:t>Loonsverhoging en bonus</a:t>
            </a:r>
          </a:p>
        </p:txBody>
      </p:sp>
      <p:sp>
        <p:nvSpPr>
          <p:cNvPr id="1097" name="Rectangle 1096">
            <a:extLst>
              <a:ext uri="{FF2B5EF4-FFF2-40B4-BE49-F238E27FC236}">
                <a16:creationId xmlns:a16="http://schemas.microsoft.com/office/drawing/2014/main" id="{7A3EAF44-A255-8A97-5E06-B6709CAACC13}"/>
              </a:ext>
            </a:extLst>
          </p:cNvPr>
          <p:cNvSpPr/>
          <p:nvPr/>
        </p:nvSpPr>
        <p:spPr>
          <a:xfrm>
            <a:off x="7821061" y="3496797"/>
            <a:ext cx="1386314" cy="285418"/>
          </a:xfrm>
          <a:prstGeom prst="rect">
            <a:avLst/>
          </a:prstGeom>
          <a:solidFill>
            <a:srgbClr val="60B3BB">
              <a:alpha val="40000"/>
            </a:srgb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815" dirty="0"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1098" name="Content Placeholder 2">
            <a:extLst>
              <a:ext uri="{FF2B5EF4-FFF2-40B4-BE49-F238E27FC236}">
                <a16:creationId xmlns:a16="http://schemas.microsoft.com/office/drawing/2014/main" id="{96D20F84-ECF1-63FC-A8A7-C6A66601903F}"/>
              </a:ext>
            </a:extLst>
          </p:cNvPr>
          <p:cNvSpPr txBox="1">
            <a:spLocks/>
          </p:cNvSpPr>
          <p:nvPr/>
        </p:nvSpPr>
        <p:spPr>
          <a:xfrm>
            <a:off x="7821061" y="3496797"/>
            <a:ext cx="1386314" cy="2854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55375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815" dirty="0">
                <a:solidFill>
                  <a:srgbClr val="8098AA"/>
                </a:solidFill>
                <a:latin typeface="Roboto Condensed"/>
                <a:cs typeface="Arial" panose="020B0604020202020204" pitchFamily="34" charset="0"/>
              </a:rPr>
              <a:t>Functiewijziging en promotie</a:t>
            </a:r>
            <a:endParaRPr lang="nl-NL" sz="634" dirty="0">
              <a:solidFill>
                <a:srgbClr val="8098AA"/>
              </a:solidFill>
              <a:latin typeface="Roboto Condensed"/>
              <a:cs typeface="Arial" panose="020B0604020202020204" pitchFamily="34" charset="0"/>
            </a:endParaRPr>
          </a:p>
        </p:txBody>
      </p:sp>
      <p:sp>
        <p:nvSpPr>
          <p:cNvPr id="1103" name="Rectangle 1102">
            <a:extLst>
              <a:ext uri="{FF2B5EF4-FFF2-40B4-BE49-F238E27FC236}">
                <a16:creationId xmlns:a16="http://schemas.microsoft.com/office/drawing/2014/main" id="{C4DFD9C7-6FD4-2BF2-7392-C268A2594336}"/>
              </a:ext>
            </a:extLst>
          </p:cNvPr>
          <p:cNvSpPr/>
          <p:nvPr/>
        </p:nvSpPr>
        <p:spPr>
          <a:xfrm>
            <a:off x="9323115" y="2877003"/>
            <a:ext cx="1386314" cy="285418"/>
          </a:xfrm>
          <a:prstGeom prst="rect">
            <a:avLst/>
          </a:prstGeom>
          <a:solidFill>
            <a:srgbClr val="60B3BB">
              <a:alpha val="25098"/>
            </a:srgb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815" dirty="0"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1104" name="Content Placeholder 2">
            <a:extLst>
              <a:ext uri="{FF2B5EF4-FFF2-40B4-BE49-F238E27FC236}">
                <a16:creationId xmlns:a16="http://schemas.microsoft.com/office/drawing/2014/main" id="{E52E9E76-CB7F-66CA-3085-6943B72B3EE3}"/>
              </a:ext>
            </a:extLst>
          </p:cNvPr>
          <p:cNvSpPr txBox="1">
            <a:spLocks/>
          </p:cNvSpPr>
          <p:nvPr/>
        </p:nvSpPr>
        <p:spPr>
          <a:xfrm>
            <a:off x="9323115" y="2877003"/>
            <a:ext cx="1386314" cy="2854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815" dirty="0">
                <a:solidFill>
                  <a:srgbClr val="8098AA"/>
                </a:solidFill>
                <a:latin typeface="Roboto Condensed"/>
                <a:cs typeface="Arial" panose="020B0604020202020204" pitchFamily="34" charset="0"/>
              </a:rPr>
              <a:t>Bedrijfsmiddelen inleveren</a:t>
            </a:r>
            <a:endParaRPr lang="nl-NL" sz="634" dirty="0">
              <a:solidFill>
                <a:srgbClr val="8098AA"/>
              </a:solidFill>
              <a:latin typeface="Roboto Condensed"/>
              <a:cs typeface="Arial" panose="020B0604020202020204" pitchFamily="34" charset="0"/>
            </a:endParaRPr>
          </a:p>
        </p:txBody>
      </p:sp>
      <p:sp>
        <p:nvSpPr>
          <p:cNvPr id="1106" name="Rectangle 1105">
            <a:extLst>
              <a:ext uri="{FF2B5EF4-FFF2-40B4-BE49-F238E27FC236}">
                <a16:creationId xmlns:a16="http://schemas.microsoft.com/office/drawing/2014/main" id="{D91AE434-1278-73F9-BB95-E3B59E90E39D}"/>
              </a:ext>
            </a:extLst>
          </p:cNvPr>
          <p:cNvSpPr/>
          <p:nvPr/>
        </p:nvSpPr>
        <p:spPr>
          <a:xfrm>
            <a:off x="9323115" y="3186012"/>
            <a:ext cx="1386314" cy="285418"/>
          </a:xfrm>
          <a:prstGeom prst="rect">
            <a:avLst/>
          </a:prstGeom>
          <a:solidFill>
            <a:srgbClr val="60B3BB">
              <a:alpha val="25098"/>
            </a:srgb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815" dirty="0"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1107" name="Content Placeholder 2">
            <a:extLst>
              <a:ext uri="{FF2B5EF4-FFF2-40B4-BE49-F238E27FC236}">
                <a16:creationId xmlns:a16="http://schemas.microsoft.com/office/drawing/2014/main" id="{EEB658BE-6AE0-7B96-C001-6AE128C77027}"/>
              </a:ext>
            </a:extLst>
          </p:cNvPr>
          <p:cNvSpPr txBox="1">
            <a:spLocks/>
          </p:cNvSpPr>
          <p:nvPr/>
        </p:nvSpPr>
        <p:spPr>
          <a:xfrm>
            <a:off x="9323115" y="3186012"/>
            <a:ext cx="1386314" cy="2854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55375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815" dirty="0">
                <a:solidFill>
                  <a:srgbClr val="8098AA"/>
                </a:solidFill>
                <a:latin typeface="Roboto Condensed"/>
                <a:cs typeface="Arial" panose="020B0604020202020204" pitchFamily="34" charset="0"/>
              </a:rPr>
              <a:t>Afscheid</a:t>
            </a:r>
          </a:p>
        </p:txBody>
      </p:sp>
      <p:sp>
        <p:nvSpPr>
          <p:cNvPr id="1109" name="Rectangle 1108">
            <a:extLst>
              <a:ext uri="{FF2B5EF4-FFF2-40B4-BE49-F238E27FC236}">
                <a16:creationId xmlns:a16="http://schemas.microsoft.com/office/drawing/2014/main" id="{D71CE6CE-D1AB-67DF-9364-3C02C4954D57}"/>
              </a:ext>
            </a:extLst>
          </p:cNvPr>
          <p:cNvSpPr/>
          <p:nvPr/>
        </p:nvSpPr>
        <p:spPr>
          <a:xfrm>
            <a:off x="9323115" y="3495022"/>
            <a:ext cx="1386314" cy="285418"/>
          </a:xfrm>
          <a:prstGeom prst="rect">
            <a:avLst/>
          </a:prstGeom>
          <a:solidFill>
            <a:srgbClr val="60B3BB">
              <a:alpha val="25098"/>
            </a:srgb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815" dirty="0"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1110" name="Content Placeholder 2">
            <a:extLst>
              <a:ext uri="{FF2B5EF4-FFF2-40B4-BE49-F238E27FC236}">
                <a16:creationId xmlns:a16="http://schemas.microsoft.com/office/drawing/2014/main" id="{6F624444-82D8-EC05-206B-AA60CC983DDC}"/>
              </a:ext>
            </a:extLst>
          </p:cNvPr>
          <p:cNvSpPr txBox="1">
            <a:spLocks/>
          </p:cNvSpPr>
          <p:nvPr/>
        </p:nvSpPr>
        <p:spPr>
          <a:xfrm>
            <a:off x="9323115" y="3495022"/>
            <a:ext cx="1386314" cy="2854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55375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815" dirty="0">
                <a:solidFill>
                  <a:srgbClr val="8098AA"/>
                </a:solidFill>
                <a:latin typeface="Roboto Condensed"/>
                <a:cs typeface="Arial" panose="020B0604020202020204" pitchFamily="34" charset="0"/>
              </a:rPr>
              <a:t>Exit gesprek</a:t>
            </a:r>
          </a:p>
        </p:txBody>
      </p:sp>
      <p:sp>
        <p:nvSpPr>
          <p:cNvPr id="1112" name="Rectangle 1111">
            <a:extLst>
              <a:ext uri="{FF2B5EF4-FFF2-40B4-BE49-F238E27FC236}">
                <a16:creationId xmlns:a16="http://schemas.microsoft.com/office/drawing/2014/main" id="{6181596D-BA00-B16A-30DA-E731A019E624}"/>
              </a:ext>
            </a:extLst>
          </p:cNvPr>
          <p:cNvSpPr/>
          <p:nvPr/>
        </p:nvSpPr>
        <p:spPr>
          <a:xfrm>
            <a:off x="9323115" y="1949975"/>
            <a:ext cx="1386314" cy="285418"/>
          </a:xfrm>
          <a:prstGeom prst="rect">
            <a:avLst/>
          </a:prstGeom>
          <a:solidFill>
            <a:srgbClr val="60B3BB">
              <a:alpha val="25098"/>
            </a:srgb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815" dirty="0"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1113" name="Content Placeholder 2">
            <a:extLst>
              <a:ext uri="{FF2B5EF4-FFF2-40B4-BE49-F238E27FC236}">
                <a16:creationId xmlns:a16="http://schemas.microsoft.com/office/drawing/2014/main" id="{4560E70F-F0B1-55E3-810E-D6D29673C761}"/>
              </a:ext>
            </a:extLst>
          </p:cNvPr>
          <p:cNvSpPr txBox="1">
            <a:spLocks/>
          </p:cNvSpPr>
          <p:nvPr/>
        </p:nvSpPr>
        <p:spPr>
          <a:xfrm>
            <a:off x="9323115" y="1949975"/>
            <a:ext cx="1386314" cy="2854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55375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815" dirty="0">
                <a:solidFill>
                  <a:srgbClr val="8098AA"/>
                </a:solidFill>
                <a:latin typeface="Roboto Condensed"/>
                <a:cs typeface="Arial" panose="020B0604020202020204" pitchFamily="34" charset="0"/>
              </a:rPr>
              <a:t>Ontslagen worden</a:t>
            </a:r>
            <a:endParaRPr lang="nl-NL" sz="634" dirty="0">
              <a:solidFill>
                <a:srgbClr val="8098AA"/>
              </a:solidFill>
              <a:latin typeface="Roboto Condensed"/>
              <a:cs typeface="Arial" panose="020B0604020202020204" pitchFamily="34" charset="0"/>
            </a:endParaRPr>
          </a:p>
        </p:txBody>
      </p:sp>
      <p:sp>
        <p:nvSpPr>
          <p:cNvPr id="1115" name="Rectangle 1114">
            <a:extLst>
              <a:ext uri="{FF2B5EF4-FFF2-40B4-BE49-F238E27FC236}">
                <a16:creationId xmlns:a16="http://schemas.microsoft.com/office/drawing/2014/main" id="{0C094A2D-0664-BA07-64CB-BB87455D34F9}"/>
              </a:ext>
            </a:extLst>
          </p:cNvPr>
          <p:cNvSpPr/>
          <p:nvPr/>
        </p:nvSpPr>
        <p:spPr>
          <a:xfrm>
            <a:off x="9323115" y="2258985"/>
            <a:ext cx="1386314" cy="285418"/>
          </a:xfrm>
          <a:prstGeom prst="rect">
            <a:avLst/>
          </a:prstGeom>
          <a:solidFill>
            <a:srgbClr val="60B3BB">
              <a:alpha val="25098"/>
            </a:srgb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815" dirty="0"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1116" name="Content Placeholder 2">
            <a:extLst>
              <a:ext uri="{FF2B5EF4-FFF2-40B4-BE49-F238E27FC236}">
                <a16:creationId xmlns:a16="http://schemas.microsoft.com/office/drawing/2014/main" id="{3AE317AC-5479-D889-E7F3-986F9BAB10B7}"/>
              </a:ext>
            </a:extLst>
          </p:cNvPr>
          <p:cNvSpPr txBox="1">
            <a:spLocks/>
          </p:cNvSpPr>
          <p:nvPr/>
        </p:nvSpPr>
        <p:spPr>
          <a:xfrm>
            <a:off x="9323115" y="2258985"/>
            <a:ext cx="1386314" cy="2854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55375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815" dirty="0">
                <a:solidFill>
                  <a:srgbClr val="8098AA"/>
                </a:solidFill>
                <a:latin typeface="Roboto Condensed"/>
                <a:cs typeface="Arial" panose="020B0604020202020204" pitchFamily="34" charset="0"/>
              </a:rPr>
              <a:t>Ontslag nemen</a:t>
            </a:r>
            <a:endParaRPr lang="nl-NL" sz="634" dirty="0">
              <a:solidFill>
                <a:srgbClr val="8098AA"/>
              </a:solidFill>
              <a:latin typeface="Roboto Condensed"/>
              <a:cs typeface="Arial" panose="020B0604020202020204" pitchFamily="34" charset="0"/>
            </a:endParaRPr>
          </a:p>
        </p:txBody>
      </p:sp>
      <p:sp>
        <p:nvSpPr>
          <p:cNvPr id="1119" name="Rectangle 1118">
            <a:extLst>
              <a:ext uri="{FF2B5EF4-FFF2-40B4-BE49-F238E27FC236}">
                <a16:creationId xmlns:a16="http://schemas.microsoft.com/office/drawing/2014/main" id="{3F95C745-66E3-A097-4CF9-03AB9CF8A4D8}"/>
              </a:ext>
            </a:extLst>
          </p:cNvPr>
          <p:cNvSpPr/>
          <p:nvPr/>
        </p:nvSpPr>
        <p:spPr>
          <a:xfrm>
            <a:off x="6335343" y="5040068"/>
            <a:ext cx="1386314" cy="285418"/>
          </a:xfrm>
          <a:prstGeom prst="rect">
            <a:avLst/>
          </a:prstGeom>
          <a:solidFill>
            <a:srgbClr val="60B3BB">
              <a:alpha val="54902"/>
            </a:srgb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815" dirty="0"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1120" name="Content Placeholder 2">
            <a:extLst>
              <a:ext uri="{FF2B5EF4-FFF2-40B4-BE49-F238E27FC236}">
                <a16:creationId xmlns:a16="http://schemas.microsoft.com/office/drawing/2014/main" id="{7092753F-D1BE-4206-8940-E422C8ED4571}"/>
              </a:ext>
            </a:extLst>
          </p:cNvPr>
          <p:cNvSpPr txBox="1">
            <a:spLocks/>
          </p:cNvSpPr>
          <p:nvPr/>
        </p:nvSpPr>
        <p:spPr>
          <a:xfrm>
            <a:off x="6335343" y="5048525"/>
            <a:ext cx="1386314" cy="2854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55375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815" dirty="0">
                <a:solidFill>
                  <a:schemeClr val="bg1"/>
                </a:solidFill>
                <a:latin typeface="Roboto Condensed"/>
                <a:cs typeface="Arial" panose="020B0604020202020204" pitchFamily="34" charset="0"/>
              </a:rPr>
              <a:t>Contractverlenging/ </a:t>
            </a:r>
            <a:br>
              <a:rPr lang="nl-NL" sz="815" dirty="0">
                <a:solidFill>
                  <a:schemeClr val="bg1"/>
                </a:solidFill>
                <a:latin typeface="Roboto Condensed"/>
                <a:cs typeface="Arial" panose="020B0604020202020204" pitchFamily="34" charset="0"/>
              </a:rPr>
            </a:br>
            <a:r>
              <a:rPr lang="nl-NL" sz="815" dirty="0">
                <a:solidFill>
                  <a:schemeClr val="bg1"/>
                </a:solidFill>
                <a:latin typeface="Roboto Condensed"/>
                <a:cs typeface="Arial" panose="020B0604020202020204" pitchFamily="34" charset="0"/>
              </a:rPr>
              <a:t>vast contract </a:t>
            </a:r>
          </a:p>
        </p:txBody>
      </p:sp>
      <p:sp>
        <p:nvSpPr>
          <p:cNvPr id="1123" name="Rectangle 1122">
            <a:extLst>
              <a:ext uri="{FF2B5EF4-FFF2-40B4-BE49-F238E27FC236}">
                <a16:creationId xmlns:a16="http://schemas.microsoft.com/office/drawing/2014/main" id="{7F83590F-914E-AB1C-F13D-2DBAC1E14416}"/>
              </a:ext>
            </a:extLst>
          </p:cNvPr>
          <p:cNvSpPr/>
          <p:nvPr/>
        </p:nvSpPr>
        <p:spPr>
          <a:xfrm>
            <a:off x="9323115" y="2567994"/>
            <a:ext cx="1386314" cy="285418"/>
          </a:xfrm>
          <a:prstGeom prst="rect">
            <a:avLst/>
          </a:prstGeom>
          <a:solidFill>
            <a:srgbClr val="60B3BB">
              <a:alpha val="25098"/>
            </a:srgb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815" dirty="0"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1124" name="Content Placeholder 2">
            <a:extLst>
              <a:ext uri="{FF2B5EF4-FFF2-40B4-BE49-F238E27FC236}">
                <a16:creationId xmlns:a16="http://schemas.microsoft.com/office/drawing/2014/main" id="{A0CA6938-1D1E-DA8C-C30B-55159350F59D}"/>
              </a:ext>
            </a:extLst>
          </p:cNvPr>
          <p:cNvSpPr txBox="1">
            <a:spLocks/>
          </p:cNvSpPr>
          <p:nvPr/>
        </p:nvSpPr>
        <p:spPr>
          <a:xfrm>
            <a:off x="9323115" y="2567994"/>
            <a:ext cx="1386314" cy="2854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55375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815" dirty="0">
                <a:solidFill>
                  <a:srgbClr val="8098AA"/>
                </a:solidFill>
                <a:latin typeface="Roboto Condensed"/>
                <a:cs typeface="Arial" panose="020B0604020202020204" pitchFamily="34" charset="0"/>
              </a:rPr>
              <a:t>Met pensioen gaan</a:t>
            </a:r>
            <a:endParaRPr lang="nl-NL" sz="634" dirty="0">
              <a:solidFill>
                <a:srgbClr val="8098AA"/>
              </a:solidFill>
              <a:latin typeface="Roboto Condensed"/>
              <a:cs typeface="Arial" panose="020B0604020202020204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A78AD00-F6B0-75AA-C151-3369317093C3}"/>
              </a:ext>
            </a:extLst>
          </p:cNvPr>
          <p:cNvGrpSpPr/>
          <p:nvPr/>
        </p:nvGrpSpPr>
        <p:grpSpPr>
          <a:xfrm>
            <a:off x="1736375" y="5446010"/>
            <a:ext cx="8973054" cy="864968"/>
            <a:chOff x="2046518" y="24525435"/>
            <a:chExt cx="39612295" cy="3818472"/>
          </a:xfrm>
        </p:grpSpPr>
        <p:grpSp>
          <p:nvGrpSpPr>
            <p:cNvPr id="1129" name="Group 1128">
              <a:extLst>
                <a:ext uri="{FF2B5EF4-FFF2-40B4-BE49-F238E27FC236}">
                  <a16:creationId xmlns:a16="http://schemas.microsoft.com/office/drawing/2014/main" id="{7BD00048-AF06-5849-0610-99E120FA5585}"/>
                </a:ext>
              </a:extLst>
            </p:cNvPr>
            <p:cNvGrpSpPr/>
            <p:nvPr/>
          </p:nvGrpSpPr>
          <p:grpSpPr>
            <a:xfrm>
              <a:off x="2046518" y="24525435"/>
              <a:ext cx="6120000" cy="1260000"/>
              <a:chOff x="2119248" y="10307782"/>
              <a:chExt cx="5062903" cy="1368120"/>
            </a:xfrm>
          </p:grpSpPr>
          <p:sp>
            <p:nvSpPr>
              <p:cNvPr id="1130" name="Rectangle 1129">
                <a:extLst>
                  <a:ext uri="{FF2B5EF4-FFF2-40B4-BE49-F238E27FC236}">
                    <a16:creationId xmlns:a16="http://schemas.microsoft.com/office/drawing/2014/main" id="{92C02AE2-9C56-B940-3111-A65F44BD07CF}"/>
                  </a:ext>
                </a:extLst>
              </p:cNvPr>
              <p:cNvSpPr/>
              <p:nvPr/>
            </p:nvSpPr>
            <p:spPr>
              <a:xfrm>
                <a:off x="2167497" y="10307782"/>
                <a:ext cx="5003639" cy="136812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815" dirty="0">
                  <a:latin typeface="Roboto Condensed" panose="02000000000000000000" pitchFamily="2" charset="0"/>
                  <a:ea typeface="Roboto Condensed" panose="02000000000000000000" pitchFamily="2" charset="0"/>
                </a:endParaRPr>
              </a:p>
            </p:txBody>
          </p:sp>
          <p:sp>
            <p:nvSpPr>
              <p:cNvPr id="1131" name="Content Placeholder 2">
                <a:extLst>
                  <a:ext uri="{FF2B5EF4-FFF2-40B4-BE49-F238E27FC236}">
                    <a16:creationId xmlns:a16="http://schemas.microsoft.com/office/drawing/2014/main" id="{651A5FA9-2CD3-BF28-EEBA-1A9A544EE9E2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119248" y="10579273"/>
                <a:ext cx="5062903" cy="825139"/>
              </a:xfrm>
              <a:prstGeom prst="rect">
                <a:avLst/>
              </a:prstGeom>
            </p:spPr>
            <p:txBody>
              <a:bodyPr vert="horz" lIns="0" tIns="0" rIns="0" bIns="0" rtlCol="0" anchor="ctr">
                <a:noAutofit/>
              </a:bodyPr>
              <a:lstStyle>
                <a:lvl1pPr marL="171496" indent="-171496" algn="l" defTabSz="685983" rtl="0" eaLnBrk="1" latinLnBrk="0" hangingPunct="1">
                  <a:lnSpc>
                    <a:spcPct val="90000"/>
                  </a:lnSpc>
                  <a:spcBef>
                    <a:spcPts val="750"/>
                  </a:spcBef>
                  <a:buClr>
                    <a:srgbClr val="1F94D1"/>
                  </a:buClr>
                  <a:buFont typeface="Arial"/>
                  <a:buChar char="•"/>
                  <a:defRPr sz="2101" kern="1200">
                    <a:solidFill>
                      <a:srgbClr val="00467B"/>
                    </a:solidFill>
                    <a:latin typeface="+mn-lt"/>
                    <a:ea typeface="+mn-ea"/>
                    <a:cs typeface="+mn-cs"/>
                  </a:defRPr>
                </a:lvl1pPr>
                <a:lvl2pPr marL="292100" indent="-112713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Clr>
                    <a:srgbClr val="1F94D1"/>
                  </a:buClr>
                  <a:buFont typeface="Arial" panose="020B0604020202020204" pitchFamily="34" charset="0"/>
                  <a:buChar char="–"/>
                  <a:tabLst/>
                  <a:defRPr sz="1800" kern="1200">
                    <a:solidFill>
                      <a:srgbClr val="00467B"/>
                    </a:solidFill>
                    <a:latin typeface="+mn-lt"/>
                    <a:ea typeface="+mn-ea"/>
                    <a:cs typeface="+mn-cs"/>
                  </a:defRPr>
                </a:lvl2pPr>
                <a:lvl3pPr marL="460375" indent="-112713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Clr>
                    <a:srgbClr val="1F94D1"/>
                  </a:buClr>
                  <a:buSzPct val="60000"/>
                  <a:buFont typeface="Arial" panose="020B0604020202020204" pitchFamily="34" charset="0"/>
                  <a:buChar char="►"/>
                  <a:tabLst/>
                  <a:defRPr sz="1500" kern="1200">
                    <a:solidFill>
                      <a:srgbClr val="00467B"/>
                    </a:solidFill>
                    <a:latin typeface="+mn-lt"/>
                    <a:ea typeface="+mn-ea"/>
                    <a:cs typeface="+mn-cs"/>
                  </a:defRPr>
                </a:lvl3pPr>
                <a:lvl4pPr marL="573088" indent="-112713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Clr>
                    <a:srgbClr val="1F94D1"/>
                  </a:buClr>
                  <a:buFont typeface="Wingdings" panose="05000000000000000000" pitchFamily="2" charset="2"/>
                  <a:buChar char="§"/>
                  <a:tabLst/>
                  <a:defRPr sz="1350" kern="1200">
                    <a:solidFill>
                      <a:srgbClr val="00467B"/>
                    </a:solidFill>
                    <a:latin typeface="+mn-lt"/>
                    <a:ea typeface="+mn-ea"/>
                    <a:cs typeface="+mn-cs"/>
                  </a:defRPr>
                </a:lvl4pPr>
                <a:lvl5pPr marL="695325" indent="-122238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Clr>
                    <a:srgbClr val="1F94D1"/>
                  </a:buClr>
                  <a:buSzPct val="80000"/>
                  <a:buFont typeface="Courier New" panose="02070309020205020404" pitchFamily="49" charset="0"/>
                  <a:buChar char="o"/>
                  <a:tabLst/>
                  <a:defRPr sz="1350" kern="1200">
                    <a:solidFill>
                      <a:srgbClr val="00467B"/>
                    </a:solidFill>
                    <a:latin typeface="+mn-lt"/>
                    <a:ea typeface="+mn-ea"/>
                    <a:cs typeface="+mn-cs"/>
                  </a:defRPr>
                </a:lvl5pPr>
                <a:lvl6pPr marL="1886453" indent="-171496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9444" indent="-171496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2436" indent="-171496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5427" indent="-171496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 defTabSz="155375">
                  <a:lnSpc>
                    <a:spcPct val="85000"/>
                  </a:lnSpc>
                  <a:spcBef>
                    <a:spcPts val="23"/>
                  </a:spcBef>
                  <a:buNone/>
                  <a:defRPr/>
                </a:pPr>
                <a:r>
                  <a:rPr lang="nl-NL" sz="815" dirty="0">
                    <a:solidFill>
                      <a:srgbClr val="8098AA"/>
                    </a:solidFill>
                    <a:latin typeface="Roboto Condensed"/>
                    <a:cs typeface="Arial" panose="020B0604020202020204" pitchFamily="34" charset="0"/>
                  </a:rPr>
                  <a:t>Kandidaten database</a:t>
                </a:r>
              </a:p>
            </p:txBody>
          </p:sp>
        </p:grpSp>
        <p:grpSp>
          <p:nvGrpSpPr>
            <p:cNvPr id="1132" name="Group 1131">
              <a:extLst>
                <a:ext uri="{FF2B5EF4-FFF2-40B4-BE49-F238E27FC236}">
                  <a16:creationId xmlns:a16="http://schemas.microsoft.com/office/drawing/2014/main" id="{A541BDBF-4597-3834-3E8B-8CC88BA86D7E}"/>
                </a:ext>
              </a:extLst>
            </p:cNvPr>
            <p:cNvGrpSpPr/>
            <p:nvPr/>
          </p:nvGrpSpPr>
          <p:grpSpPr>
            <a:xfrm>
              <a:off x="8862299" y="24525435"/>
              <a:ext cx="6120000" cy="1260000"/>
              <a:chOff x="2119248" y="10307782"/>
              <a:chExt cx="5062903" cy="1368120"/>
            </a:xfrm>
          </p:grpSpPr>
          <p:sp>
            <p:nvSpPr>
              <p:cNvPr id="1133" name="Rectangle 1132">
                <a:extLst>
                  <a:ext uri="{FF2B5EF4-FFF2-40B4-BE49-F238E27FC236}">
                    <a16:creationId xmlns:a16="http://schemas.microsoft.com/office/drawing/2014/main" id="{3421FF08-AD0A-B8B6-05E6-7B287D7EAC17}"/>
                  </a:ext>
                </a:extLst>
              </p:cNvPr>
              <p:cNvSpPr/>
              <p:nvPr/>
            </p:nvSpPr>
            <p:spPr>
              <a:xfrm>
                <a:off x="2167497" y="10307782"/>
                <a:ext cx="5003639" cy="136812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815" dirty="0">
                  <a:latin typeface="Roboto Condensed" panose="02000000000000000000" pitchFamily="2" charset="0"/>
                  <a:ea typeface="Roboto Condensed" panose="02000000000000000000" pitchFamily="2" charset="0"/>
                </a:endParaRPr>
              </a:p>
            </p:txBody>
          </p:sp>
          <p:sp>
            <p:nvSpPr>
              <p:cNvPr id="1134" name="Content Placeholder 2">
                <a:extLst>
                  <a:ext uri="{FF2B5EF4-FFF2-40B4-BE49-F238E27FC236}">
                    <a16:creationId xmlns:a16="http://schemas.microsoft.com/office/drawing/2014/main" id="{86C04387-3319-DBBF-8FEB-A0736647439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119248" y="10579273"/>
                <a:ext cx="5062903" cy="825139"/>
              </a:xfrm>
              <a:prstGeom prst="rect">
                <a:avLst/>
              </a:prstGeom>
            </p:spPr>
            <p:txBody>
              <a:bodyPr vert="horz" lIns="0" tIns="0" rIns="0" bIns="0" rtlCol="0" anchor="ctr">
                <a:noAutofit/>
              </a:bodyPr>
              <a:lstStyle>
                <a:lvl1pPr marL="171496" indent="-171496" algn="l" defTabSz="685983" rtl="0" eaLnBrk="1" latinLnBrk="0" hangingPunct="1">
                  <a:lnSpc>
                    <a:spcPct val="90000"/>
                  </a:lnSpc>
                  <a:spcBef>
                    <a:spcPts val="750"/>
                  </a:spcBef>
                  <a:buClr>
                    <a:srgbClr val="1F94D1"/>
                  </a:buClr>
                  <a:buFont typeface="Arial"/>
                  <a:buChar char="•"/>
                  <a:defRPr sz="2101" kern="1200">
                    <a:solidFill>
                      <a:srgbClr val="00467B"/>
                    </a:solidFill>
                    <a:latin typeface="+mn-lt"/>
                    <a:ea typeface="+mn-ea"/>
                    <a:cs typeface="+mn-cs"/>
                  </a:defRPr>
                </a:lvl1pPr>
                <a:lvl2pPr marL="292100" indent="-112713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Clr>
                    <a:srgbClr val="1F94D1"/>
                  </a:buClr>
                  <a:buFont typeface="Arial" panose="020B0604020202020204" pitchFamily="34" charset="0"/>
                  <a:buChar char="–"/>
                  <a:tabLst/>
                  <a:defRPr sz="1800" kern="1200">
                    <a:solidFill>
                      <a:srgbClr val="00467B"/>
                    </a:solidFill>
                    <a:latin typeface="+mn-lt"/>
                    <a:ea typeface="+mn-ea"/>
                    <a:cs typeface="+mn-cs"/>
                  </a:defRPr>
                </a:lvl2pPr>
                <a:lvl3pPr marL="460375" indent="-112713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Clr>
                    <a:srgbClr val="1F94D1"/>
                  </a:buClr>
                  <a:buSzPct val="60000"/>
                  <a:buFont typeface="Arial" panose="020B0604020202020204" pitchFamily="34" charset="0"/>
                  <a:buChar char="►"/>
                  <a:tabLst/>
                  <a:defRPr sz="1500" kern="1200">
                    <a:solidFill>
                      <a:srgbClr val="00467B"/>
                    </a:solidFill>
                    <a:latin typeface="+mn-lt"/>
                    <a:ea typeface="+mn-ea"/>
                    <a:cs typeface="+mn-cs"/>
                  </a:defRPr>
                </a:lvl3pPr>
                <a:lvl4pPr marL="573088" indent="-112713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Clr>
                    <a:srgbClr val="1F94D1"/>
                  </a:buClr>
                  <a:buFont typeface="Wingdings" panose="05000000000000000000" pitchFamily="2" charset="2"/>
                  <a:buChar char="§"/>
                  <a:tabLst/>
                  <a:defRPr sz="1350" kern="1200">
                    <a:solidFill>
                      <a:srgbClr val="00467B"/>
                    </a:solidFill>
                    <a:latin typeface="+mn-lt"/>
                    <a:ea typeface="+mn-ea"/>
                    <a:cs typeface="+mn-cs"/>
                  </a:defRPr>
                </a:lvl4pPr>
                <a:lvl5pPr marL="695325" indent="-122238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Clr>
                    <a:srgbClr val="1F94D1"/>
                  </a:buClr>
                  <a:buSzPct val="80000"/>
                  <a:buFont typeface="Courier New" panose="02070309020205020404" pitchFamily="49" charset="0"/>
                  <a:buChar char="o"/>
                  <a:tabLst/>
                  <a:defRPr sz="1350" kern="1200">
                    <a:solidFill>
                      <a:srgbClr val="00467B"/>
                    </a:solidFill>
                    <a:latin typeface="+mn-lt"/>
                    <a:ea typeface="+mn-ea"/>
                    <a:cs typeface="+mn-cs"/>
                  </a:defRPr>
                </a:lvl5pPr>
                <a:lvl6pPr marL="1886453" indent="-171496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9444" indent="-171496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2436" indent="-171496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5427" indent="-171496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 defTabSz="155375">
                  <a:lnSpc>
                    <a:spcPct val="85000"/>
                  </a:lnSpc>
                  <a:spcBef>
                    <a:spcPts val="23"/>
                  </a:spcBef>
                  <a:buNone/>
                  <a:defRPr/>
                </a:pPr>
                <a:r>
                  <a:rPr lang="nl-NL" sz="815" dirty="0">
                    <a:solidFill>
                      <a:srgbClr val="8098AA"/>
                    </a:solidFill>
                    <a:latin typeface="Roboto Condensed" panose="02000000000000000000" pitchFamily="2" charset="0"/>
                    <a:ea typeface="Roboto Condensed" panose="02000000000000000000" pitchFamily="2" charset="0"/>
                    <a:cs typeface="Arial" panose="020B0604020202020204" pitchFamily="34" charset="0"/>
                  </a:rPr>
                  <a:t>Aanmelding systemen (IT, HR,...)</a:t>
                </a:r>
              </a:p>
            </p:txBody>
          </p:sp>
        </p:grpSp>
        <p:grpSp>
          <p:nvGrpSpPr>
            <p:cNvPr id="1135" name="Group 1134">
              <a:extLst>
                <a:ext uri="{FF2B5EF4-FFF2-40B4-BE49-F238E27FC236}">
                  <a16:creationId xmlns:a16="http://schemas.microsoft.com/office/drawing/2014/main" id="{59D756BC-925A-1445-071F-A061A70C1D88}"/>
                </a:ext>
              </a:extLst>
            </p:cNvPr>
            <p:cNvGrpSpPr/>
            <p:nvPr/>
          </p:nvGrpSpPr>
          <p:grpSpPr>
            <a:xfrm>
              <a:off x="8862299" y="25804671"/>
              <a:ext cx="6120000" cy="1260000"/>
              <a:chOff x="2119248" y="10307782"/>
              <a:chExt cx="5062903" cy="1368120"/>
            </a:xfrm>
          </p:grpSpPr>
          <p:sp>
            <p:nvSpPr>
              <p:cNvPr id="1136" name="Rectangle 1135">
                <a:extLst>
                  <a:ext uri="{FF2B5EF4-FFF2-40B4-BE49-F238E27FC236}">
                    <a16:creationId xmlns:a16="http://schemas.microsoft.com/office/drawing/2014/main" id="{E1216285-4D4B-0613-5AA3-C701469BAE88}"/>
                  </a:ext>
                </a:extLst>
              </p:cNvPr>
              <p:cNvSpPr/>
              <p:nvPr/>
            </p:nvSpPr>
            <p:spPr>
              <a:xfrm>
                <a:off x="2167497" y="10307782"/>
                <a:ext cx="5003639" cy="136812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815" dirty="0">
                  <a:latin typeface="Roboto Condensed" panose="02000000000000000000" pitchFamily="2" charset="0"/>
                  <a:ea typeface="Roboto Condensed" panose="02000000000000000000" pitchFamily="2" charset="0"/>
                </a:endParaRPr>
              </a:p>
            </p:txBody>
          </p:sp>
          <p:sp>
            <p:nvSpPr>
              <p:cNvPr id="1137" name="Content Placeholder 2">
                <a:extLst>
                  <a:ext uri="{FF2B5EF4-FFF2-40B4-BE49-F238E27FC236}">
                    <a16:creationId xmlns:a16="http://schemas.microsoft.com/office/drawing/2014/main" id="{7461791C-EE06-433C-7BC1-9D24E6A8B55D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119248" y="10579273"/>
                <a:ext cx="5062903" cy="825139"/>
              </a:xfrm>
              <a:prstGeom prst="rect">
                <a:avLst/>
              </a:prstGeom>
            </p:spPr>
            <p:txBody>
              <a:bodyPr vert="horz" lIns="0" tIns="0" rIns="0" bIns="0" rtlCol="0" anchor="ctr">
                <a:noAutofit/>
              </a:bodyPr>
              <a:lstStyle>
                <a:lvl1pPr marL="171496" indent="-171496" algn="l" defTabSz="685983" rtl="0" eaLnBrk="1" latinLnBrk="0" hangingPunct="1">
                  <a:lnSpc>
                    <a:spcPct val="90000"/>
                  </a:lnSpc>
                  <a:spcBef>
                    <a:spcPts val="750"/>
                  </a:spcBef>
                  <a:buClr>
                    <a:srgbClr val="1F94D1"/>
                  </a:buClr>
                  <a:buFont typeface="Arial"/>
                  <a:buChar char="•"/>
                  <a:defRPr sz="2101" kern="1200">
                    <a:solidFill>
                      <a:srgbClr val="00467B"/>
                    </a:solidFill>
                    <a:latin typeface="+mn-lt"/>
                    <a:ea typeface="+mn-ea"/>
                    <a:cs typeface="+mn-cs"/>
                  </a:defRPr>
                </a:lvl1pPr>
                <a:lvl2pPr marL="292100" indent="-112713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Clr>
                    <a:srgbClr val="1F94D1"/>
                  </a:buClr>
                  <a:buFont typeface="Arial" panose="020B0604020202020204" pitchFamily="34" charset="0"/>
                  <a:buChar char="–"/>
                  <a:tabLst/>
                  <a:defRPr sz="1800" kern="1200">
                    <a:solidFill>
                      <a:srgbClr val="00467B"/>
                    </a:solidFill>
                    <a:latin typeface="+mn-lt"/>
                    <a:ea typeface="+mn-ea"/>
                    <a:cs typeface="+mn-cs"/>
                  </a:defRPr>
                </a:lvl2pPr>
                <a:lvl3pPr marL="460375" indent="-112713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Clr>
                    <a:srgbClr val="1F94D1"/>
                  </a:buClr>
                  <a:buSzPct val="60000"/>
                  <a:buFont typeface="Arial" panose="020B0604020202020204" pitchFamily="34" charset="0"/>
                  <a:buChar char="►"/>
                  <a:tabLst/>
                  <a:defRPr sz="1500" kern="1200">
                    <a:solidFill>
                      <a:srgbClr val="00467B"/>
                    </a:solidFill>
                    <a:latin typeface="+mn-lt"/>
                    <a:ea typeface="+mn-ea"/>
                    <a:cs typeface="+mn-cs"/>
                  </a:defRPr>
                </a:lvl3pPr>
                <a:lvl4pPr marL="573088" indent="-112713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Clr>
                    <a:srgbClr val="1F94D1"/>
                  </a:buClr>
                  <a:buFont typeface="Wingdings" panose="05000000000000000000" pitchFamily="2" charset="2"/>
                  <a:buChar char="§"/>
                  <a:tabLst/>
                  <a:defRPr sz="1350" kern="1200">
                    <a:solidFill>
                      <a:srgbClr val="00467B"/>
                    </a:solidFill>
                    <a:latin typeface="+mn-lt"/>
                    <a:ea typeface="+mn-ea"/>
                    <a:cs typeface="+mn-cs"/>
                  </a:defRPr>
                </a:lvl4pPr>
                <a:lvl5pPr marL="695325" indent="-122238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Clr>
                    <a:srgbClr val="1F94D1"/>
                  </a:buClr>
                  <a:buSzPct val="80000"/>
                  <a:buFont typeface="Courier New" panose="02070309020205020404" pitchFamily="49" charset="0"/>
                  <a:buChar char="o"/>
                  <a:tabLst/>
                  <a:defRPr sz="1350" kern="1200">
                    <a:solidFill>
                      <a:srgbClr val="00467B"/>
                    </a:solidFill>
                    <a:latin typeface="+mn-lt"/>
                    <a:ea typeface="+mn-ea"/>
                    <a:cs typeface="+mn-cs"/>
                  </a:defRPr>
                </a:lvl5pPr>
                <a:lvl6pPr marL="1886453" indent="-171496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9444" indent="-171496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2436" indent="-171496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5427" indent="-171496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>
                  <a:lnSpc>
                    <a:spcPct val="85000"/>
                  </a:lnSpc>
                  <a:spcBef>
                    <a:spcPts val="23"/>
                  </a:spcBef>
                  <a:buNone/>
                  <a:defRPr/>
                </a:pPr>
                <a:r>
                  <a:rPr lang="nl-NL" sz="815" dirty="0">
                    <a:solidFill>
                      <a:srgbClr val="8098AA"/>
                    </a:solidFill>
                    <a:latin typeface="Roboto Condensed"/>
                    <a:cs typeface="Arial" panose="020B0604020202020204" pitchFamily="34" charset="0"/>
                  </a:rPr>
                  <a:t>Aanmelden bij pensioenfonds, verzekeringen, ...</a:t>
                </a:r>
              </a:p>
            </p:txBody>
          </p:sp>
        </p:grpSp>
        <p:grpSp>
          <p:nvGrpSpPr>
            <p:cNvPr id="1138" name="Group 1137">
              <a:extLst>
                <a:ext uri="{FF2B5EF4-FFF2-40B4-BE49-F238E27FC236}">
                  <a16:creationId xmlns:a16="http://schemas.microsoft.com/office/drawing/2014/main" id="{70421EED-7DF6-7D3F-92F6-F7E17B890D67}"/>
                </a:ext>
              </a:extLst>
            </p:cNvPr>
            <p:cNvGrpSpPr/>
            <p:nvPr/>
          </p:nvGrpSpPr>
          <p:grpSpPr>
            <a:xfrm>
              <a:off x="22349045" y="24525435"/>
              <a:ext cx="6120000" cy="1260000"/>
              <a:chOff x="2119248" y="10307782"/>
              <a:chExt cx="5062903" cy="1368120"/>
            </a:xfrm>
          </p:grpSpPr>
          <p:sp>
            <p:nvSpPr>
              <p:cNvPr id="1139" name="Rectangle 1138">
                <a:extLst>
                  <a:ext uri="{FF2B5EF4-FFF2-40B4-BE49-F238E27FC236}">
                    <a16:creationId xmlns:a16="http://schemas.microsoft.com/office/drawing/2014/main" id="{9613550E-F05A-3F8B-9330-7B8AE0DE7EF7}"/>
                  </a:ext>
                </a:extLst>
              </p:cNvPr>
              <p:cNvSpPr/>
              <p:nvPr/>
            </p:nvSpPr>
            <p:spPr>
              <a:xfrm>
                <a:off x="2167497" y="10307782"/>
                <a:ext cx="5003639" cy="136812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815" dirty="0">
                  <a:latin typeface="Roboto Condensed" panose="02000000000000000000" pitchFamily="2" charset="0"/>
                  <a:ea typeface="Roboto Condensed" panose="02000000000000000000" pitchFamily="2" charset="0"/>
                </a:endParaRPr>
              </a:p>
            </p:txBody>
          </p:sp>
          <p:sp>
            <p:nvSpPr>
              <p:cNvPr id="1140" name="Content Placeholder 2">
                <a:extLst>
                  <a:ext uri="{FF2B5EF4-FFF2-40B4-BE49-F238E27FC236}">
                    <a16:creationId xmlns:a16="http://schemas.microsoft.com/office/drawing/2014/main" id="{E3CF5571-EAF0-0016-921F-6C1AC91B658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119248" y="10579273"/>
                <a:ext cx="5062903" cy="825139"/>
              </a:xfrm>
              <a:prstGeom prst="rect">
                <a:avLst/>
              </a:prstGeom>
            </p:spPr>
            <p:txBody>
              <a:bodyPr vert="horz" lIns="0" tIns="0" rIns="0" bIns="0" rtlCol="0" anchor="ctr">
                <a:noAutofit/>
              </a:bodyPr>
              <a:lstStyle>
                <a:lvl1pPr marL="171496" indent="-171496" algn="l" defTabSz="685983" rtl="0" eaLnBrk="1" latinLnBrk="0" hangingPunct="1">
                  <a:lnSpc>
                    <a:spcPct val="90000"/>
                  </a:lnSpc>
                  <a:spcBef>
                    <a:spcPts val="750"/>
                  </a:spcBef>
                  <a:buClr>
                    <a:srgbClr val="1F94D1"/>
                  </a:buClr>
                  <a:buFont typeface="Arial"/>
                  <a:buChar char="•"/>
                  <a:defRPr sz="2101" kern="1200">
                    <a:solidFill>
                      <a:srgbClr val="00467B"/>
                    </a:solidFill>
                    <a:latin typeface="+mn-lt"/>
                    <a:ea typeface="+mn-ea"/>
                    <a:cs typeface="+mn-cs"/>
                  </a:defRPr>
                </a:lvl1pPr>
                <a:lvl2pPr marL="292100" indent="-112713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Clr>
                    <a:srgbClr val="1F94D1"/>
                  </a:buClr>
                  <a:buFont typeface="Arial" panose="020B0604020202020204" pitchFamily="34" charset="0"/>
                  <a:buChar char="–"/>
                  <a:tabLst/>
                  <a:defRPr sz="1800" kern="1200">
                    <a:solidFill>
                      <a:srgbClr val="00467B"/>
                    </a:solidFill>
                    <a:latin typeface="+mn-lt"/>
                    <a:ea typeface="+mn-ea"/>
                    <a:cs typeface="+mn-cs"/>
                  </a:defRPr>
                </a:lvl2pPr>
                <a:lvl3pPr marL="460375" indent="-112713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Clr>
                    <a:srgbClr val="1F94D1"/>
                  </a:buClr>
                  <a:buSzPct val="60000"/>
                  <a:buFont typeface="Arial" panose="020B0604020202020204" pitchFamily="34" charset="0"/>
                  <a:buChar char="►"/>
                  <a:tabLst/>
                  <a:defRPr sz="1500" kern="1200">
                    <a:solidFill>
                      <a:srgbClr val="00467B"/>
                    </a:solidFill>
                    <a:latin typeface="+mn-lt"/>
                    <a:ea typeface="+mn-ea"/>
                    <a:cs typeface="+mn-cs"/>
                  </a:defRPr>
                </a:lvl3pPr>
                <a:lvl4pPr marL="573088" indent="-112713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Clr>
                    <a:srgbClr val="1F94D1"/>
                  </a:buClr>
                  <a:buFont typeface="Wingdings" panose="05000000000000000000" pitchFamily="2" charset="2"/>
                  <a:buChar char="§"/>
                  <a:tabLst/>
                  <a:defRPr sz="1350" kern="1200">
                    <a:solidFill>
                      <a:srgbClr val="00467B"/>
                    </a:solidFill>
                    <a:latin typeface="+mn-lt"/>
                    <a:ea typeface="+mn-ea"/>
                    <a:cs typeface="+mn-cs"/>
                  </a:defRPr>
                </a:lvl4pPr>
                <a:lvl5pPr marL="695325" indent="-122238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Clr>
                    <a:srgbClr val="1F94D1"/>
                  </a:buClr>
                  <a:buSzPct val="80000"/>
                  <a:buFont typeface="Courier New" panose="02070309020205020404" pitchFamily="49" charset="0"/>
                  <a:buChar char="o"/>
                  <a:tabLst/>
                  <a:defRPr sz="1350" kern="1200">
                    <a:solidFill>
                      <a:srgbClr val="00467B"/>
                    </a:solidFill>
                    <a:latin typeface="+mn-lt"/>
                    <a:ea typeface="+mn-ea"/>
                    <a:cs typeface="+mn-cs"/>
                  </a:defRPr>
                </a:lvl5pPr>
                <a:lvl6pPr marL="1886453" indent="-171496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9444" indent="-171496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2436" indent="-171496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5427" indent="-171496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 defTabSz="155375">
                  <a:lnSpc>
                    <a:spcPct val="85000"/>
                  </a:lnSpc>
                  <a:spcBef>
                    <a:spcPts val="23"/>
                  </a:spcBef>
                  <a:buNone/>
                  <a:defRPr/>
                </a:pPr>
                <a:r>
                  <a:rPr lang="nl-NL" sz="815" dirty="0">
                    <a:solidFill>
                      <a:srgbClr val="8098AA"/>
                    </a:solidFill>
                    <a:latin typeface="Roboto Condensed" panose="02000000000000000000" pitchFamily="2" charset="0"/>
                    <a:ea typeface="Roboto Condensed" panose="02000000000000000000" pitchFamily="2" charset="0"/>
                    <a:cs typeface="Arial" panose="020B0604020202020204" pitchFamily="34" charset="0"/>
                  </a:rPr>
                  <a:t>Belastingaangiftes</a:t>
                </a:r>
              </a:p>
            </p:txBody>
          </p:sp>
        </p:grpSp>
        <p:grpSp>
          <p:nvGrpSpPr>
            <p:cNvPr id="1141" name="Group 1140">
              <a:extLst>
                <a:ext uri="{FF2B5EF4-FFF2-40B4-BE49-F238E27FC236}">
                  <a16:creationId xmlns:a16="http://schemas.microsoft.com/office/drawing/2014/main" id="{AF060101-9238-4740-B459-0A96B60FC7FC}"/>
                </a:ext>
              </a:extLst>
            </p:cNvPr>
            <p:cNvGrpSpPr/>
            <p:nvPr/>
          </p:nvGrpSpPr>
          <p:grpSpPr>
            <a:xfrm>
              <a:off x="22349045" y="25804671"/>
              <a:ext cx="6120000" cy="1260000"/>
              <a:chOff x="2119248" y="10307782"/>
              <a:chExt cx="5062903" cy="1368120"/>
            </a:xfrm>
          </p:grpSpPr>
          <p:sp>
            <p:nvSpPr>
              <p:cNvPr id="1142" name="Rectangle 1141">
                <a:extLst>
                  <a:ext uri="{FF2B5EF4-FFF2-40B4-BE49-F238E27FC236}">
                    <a16:creationId xmlns:a16="http://schemas.microsoft.com/office/drawing/2014/main" id="{4F2B6043-91DA-2EF8-AFEE-0BA9298AAD9C}"/>
                  </a:ext>
                </a:extLst>
              </p:cNvPr>
              <p:cNvSpPr/>
              <p:nvPr/>
            </p:nvSpPr>
            <p:spPr>
              <a:xfrm>
                <a:off x="2167497" y="10307782"/>
                <a:ext cx="5003639" cy="136812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815" dirty="0">
                  <a:latin typeface="Roboto Condensed" panose="02000000000000000000" pitchFamily="2" charset="0"/>
                  <a:ea typeface="Roboto Condensed" panose="02000000000000000000" pitchFamily="2" charset="0"/>
                </a:endParaRPr>
              </a:p>
            </p:txBody>
          </p:sp>
          <p:sp>
            <p:nvSpPr>
              <p:cNvPr id="1143" name="Content Placeholder 2">
                <a:extLst>
                  <a:ext uri="{FF2B5EF4-FFF2-40B4-BE49-F238E27FC236}">
                    <a16:creationId xmlns:a16="http://schemas.microsoft.com/office/drawing/2014/main" id="{4823443A-60CD-514E-A76E-76FA358946C5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119248" y="10579273"/>
                <a:ext cx="5062903" cy="825139"/>
              </a:xfrm>
              <a:prstGeom prst="rect">
                <a:avLst/>
              </a:prstGeom>
            </p:spPr>
            <p:txBody>
              <a:bodyPr vert="horz" lIns="0" tIns="0" rIns="0" bIns="0" rtlCol="0" anchor="ctr">
                <a:noAutofit/>
              </a:bodyPr>
              <a:lstStyle>
                <a:lvl1pPr marL="171496" indent="-171496" algn="l" defTabSz="685983" rtl="0" eaLnBrk="1" latinLnBrk="0" hangingPunct="1">
                  <a:lnSpc>
                    <a:spcPct val="90000"/>
                  </a:lnSpc>
                  <a:spcBef>
                    <a:spcPts val="750"/>
                  </a:spcBef>
                  <a:buClr>
                    <a:srgbClr val="1F94D1"/>
                  </a:buClr>
                  <a:buFont typeface="Arial"/>
                  <a:buChar char="•"/>
                  <a:defRPr sz="2101" kern="1200">
                    <a:solidFill>
                      <a:srgbClr val="00467B"/>
                    </a:solidFill>
                    <a:latin typeface="+mn-lt"/>
                    <a:ea typeface="+mn-ea"/>
                    <a:cs typeface="+mn-cs"/>
                  </a:defRPr>
                </a:lvl1pPr>
                <a:lvl2pPr marL="292100" indent="-112713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Clr>
                    <a:srgbClr val="1F94D1"/>
                  </a:buClr>
                  <a:buFont typeface="Arial" panose="020B0604020202020204" pitchFamily="34" charset="0"/>
                  <a:buChar char="–"/>
                  <a:tabLst/>
                  <a:defRPr sz="1800" kern="1200">
                    <a:solidFill>
                      <a:srgbClr val="00467B"/>
                    </a:solidFill>
                    <a:latin typeface="+mn-lt"/>
                    <a:ea typeface="+mn-ea"/>
                    <a:cs typeface="+mn-cs"/>
                  </a:defRPr>
                </a:lvl2pPr>
                <a:lvl3pPr marL="460375" indent="-112713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Clr>
                    <a:srgbClr val="1F94D1"/>
                  </a:buClr>
                  <a:buSzPct val="60000"/>
                  <a:buFont typeface="Arial" panose="020B0604020202020204" pitchFamily="34" charset="0"/>
                  <a:buChar char="►"/>
                  <a:tabLst/>
                  <a:defRPr sz="1500" kern="1200">
                    <a:solidFill>
                      <a:srgbClr val="00467B"/>
                    </a:solidFill>
                    <a:latin typeface="+mn-lt"/>
                    <a:ea typeface="+mn-ea"/>
                    <a:cs typeface="+mn-cs"/>
                  </a:defRPr>
                </a:lvl3pPr>
                <a:lvl4pPr marL="573088" indent="-112713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Clr>
                    <a:srgbClr val="1F94D1"/>
                  </a:buClr>
                  <a:buFont typeface="Wingdings" panose="05000000000000000000" pitchFamily="2" charset="2"/>
                  <a:buChar char="§"/>
                  <a:tabLst/>
                  <a:defRPr sz="1350" kern="1200">
                    <a:solidFill>
                      <a:srgbClr val="00467B"/>
                    </a:solidFill>
                    <a:latin typeface="+mn-lt"/>
                    <a:ea typeface="+mn-ea"/>
                    <a:cs typeface="+mn-cs"/>
                  </a:defRPr>
                </a:lvl4pPr>
                <a:lvl5pPr marL="695325" indent="-122238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Clr>
                    <a:srgbClr val="1F94D1"/>
                  </a:buClr>
                  <a:buSzPct val="80000"/>
                  <a:buFont typeface="Courier New" panose="02070309020205020404" pitchFamily="49" charset="0"/>
                  <a:buChar char="o"/>
                  <a:tabLst/>
                  <a:defRPr sz="1350" kern="1200">
                    <a:solidFill>
                      <a:srgbClr val="00467B"/>
                    </a:solidFill>
                    <a:latin typeface="+mn-lt"/>
                    <a:ea typeface="+mn-ea"/>
                    <a:cs typeface="+mn-cs"/>
                  </a:defRPr>
                </a:lvl5pPr>
                <a:lvl6pPr marL="1886453" indent="-171496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9444" indent="-171496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2436" indent="-171496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5427" indent="-171496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>
                  <a:lnSpc>
                    <a:spcPct val="85000"/>
                  </a:lnSpc>
                  <a:spcBef>
                    <a:spcPts val="23"/>
                  </a:spcBef>
                  <a:buNone/>
                  <a:defRPr/>
                </a:pPr>
                <a:r>
                  <a:rPr lang="nl-NL" sz="815" dirty="0">
                    <a:solidFill>
                      <a:srgbClr val="8098AA"/>
                    </a:solidFill>
                    <a:latin typeface="Roboto Condensed"/>
                    <a:cs typeface="Arial" panose="020B0604020202020204" pitchFamily="34" charset="0"/>
                  </a:rPr>
                  <a:t>Verlofuren administratie, aanmaken reserves</a:t>
                </a:r>
              </a:p>
            </p:txBody>
          </p:sp>
        </p:grpSp>
        <p:grpSp>
          <p:nvGrpSpPr>
            <p:cNvPr id="1146" name="Group 1145">
              <a:extLst>
                <a:ext uri="{FF2B5EF4-FFF2-40B4-BE49-F238E27FC236}">
                  <a16:creationId xmlns:a16="http://schemas.microsoft.com/office/drawing/2014/main" id="{E01849D0-55D7-B635-C662-4A5C1B5C94C7}"/>
                </a:ext>
              </a:extLst>
            </p:cNvPr>
            <p:cNvGrpSpPr/>
            <p:nvPr/>
          </p:nvGrpSpPr>
          <p:grpSpPr>
            <a:xfrm>
              <a:off x="22349045" y="27083907"/>
              <a:ext cx="6120000" cy="1260000"/>
              <a:chOff x="2119248" y="10307782"/>
              <a:chExt cx="5062903" cy="1368120"/>
            </a:xfrm>
          </p:grpSpPr>
          <p:sp>
            <p:nvSpPr>
              <p:cNvPr id="1147" name="Rectangle 1146">
                <a:extLst>
                  <a:ext uri="{FF2B5EF4-FFF2-40B4-BE49-F238E27FC236}">
                    <a16:creationId xmlns:a16="http://schemas.microsoft.com/office/drawing/2014/main" id="{6029407B-D957-7187-ECC2-8332D83380D4}"/>
                  </a:ext>
                </a:extLst>
              </p:cNvPr>
              <p:cNvSpPr/>
              <p:nvPr/>
            </p:nvSpPr>
            <p:spPr>
              <a:xfrm>
                <a:off x="2167497" y="10307782"/>
                <a:ext cx="5003639" cy="136812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815" dirty="0">
                  <a:latin typeface="Roboto Condensed" panose="02000000000000000000" pitchFamily="2" charset="0"/>
                  <a:ea typeface="Roboto Condensed" panose="02000000000000000000" pitchFamily="2" charset="0"/>
                </a:endParaRPr>
              </a:p>
            </p:txBody>
          </p:sp>
          <p:sp>
            <p:nvSpPr>
              <p:cNvPr id="1148" name="Content Placeholder 2">
                <a:extLst>
                  <a:ext uri="{FF2B5EF4-FFF2-40B4-BE49-F238E27FC236}">
                    <a16:creationId xmlns:a16="http://schemas.microsoft.com/office/drawing/2014/main" id="{784EBC39-532A-CB75-4376-1FE30B7EF28D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119248" y="10579273"/>
                <a:ext cx="5062903" cy="825139"/>
              </a:xfrm>
              <a:prstGeom prst="rect">
                <a:avLst/>
              </a:prstGeom>
            </p:spPr>
            <p:txBody>
              <a:bodyPr vert="horz" lIns="0" tIns="0" rIns="0" bIns="0" rtlCol="0" anchor="ctr">
                <a:noAutofit/>
              </a:bodyPr>
              <a:lstStyle>
                <a:lvl1pPr marL="171496" indent="-171496" algn="l" defTabSz="685983" rtl="0" eaLnBrk="1" latinLnBrk="0" hangingPunct="1">
                  <a:lnSpc>
                    <a:spcPct val="90000"/>
                  </a:lnSpc>
                  <a:spcBef>
                    <a:spcPts val="750"/>
                  </a:spcBef>
                  <a:buClr>
                    <a:srgbClr val="1F94D1"/>
                  </a:buClr>
                  <a:buFont typeface="Arial"/>
                  <a:buChar char="•"/>
                  <a:defRPr sz="2101" kern="1200">
                    <a:solidFill>
                      <a:srgbClr val="00467B"/>
                    </a:solidFill>
                    <a:latin typeface="+mn-lt"/>
                    <a:ea typeface="+mn-ea"/>
                    <a:cs typeface="+mn-cs"/>
                  </a:defRPr>
                </a:lvl1pPr>
                <a:lvl2pPr marL="292100" indent="-112713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Clr>
                    <a:srgbClr val="1F94D1"/>
                  </a:buClr>
                  <a:buFont typeface="Arial" panose="020B0604020202020204" pitchFamily="34" charset="0"/>
                  <a:buChar char="–"/>
                  <a:tabLst/>
                  <a:defRPr sz="1800" kern="1200">
                    <a:solidFill>
                      <a:srgbClr val="00467B"/>
                    </a:solidFill>
                    <a:latin typeface="+mn-lt"/>
                    <a:ea typeface="+mn-ea"/>
                    <a:cs typeface="+mn-cs"/>
                  </a:defRPr>
                </a:lvl2pPr>
                <a:lvl3pPr marL="460375" indent="-112713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Clr>
                    <a:srgbClr val="1F94D1"/>
                  </a:buClr>
                  <a:buSzPct val="60000"/>
                  <a:buFont typeface="Arial" panose="020B0604020202020204" pitchFamily="34" charset="0"/>
                  <a:buChar char="►"/>
                  <a:tabLst/>
                  <a:defRPr sz="1500" kern="1200">
                    <a:solidFill>
                      <a:srgbClr val="00467B"/>
                    </a:solidFill>
                    <a:latin typeface="+mn-lt"/>
                    <a:ea typeface="+mn-ea"/>
                    <a:cs typeface="+mn-cs"/>
                  </a:defRPr>
                </a:lvl3pPr>
                <a:lvl4pPr marL="573088" indent="-112713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Clr>
                    <a:srgbClr val="1F94D1"/>
                  </a:buClr>
                  <a:buFont typeface="Wingdings" panose="05000000000000000000" pitchFamily="2" charset="2"/>
                  <a:buChar char="§"/>
                  <a:tabLst/>
                  <a:defRPr sz="1350" kern="1200">
                    <a:solidFill>
                      <a:srgbClr val="00467B"/>
                    </a:solidFill>
                    <a:latin typeface="+mn-lt"/>
                    <a:ea typeface="+mn-ea"/>
                    <a:cs typeface="+mn-cs"/>
                  </a:defRPr>
                </a:lvl4pPr>
                <a:lvl5pPr marL="695325" indent="-122238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Clr>
                    <a:srgbClr val="1F94D1"/>
                  </a:buClr>
                  <a:buSzPct val="80000"/>
                  <a:buFont typeface="Courier New" panose="02070309020205020404" pitchFamily="49" charset="0"/>
                  <a:buChar char="o"/>
                  <a:tabLst/>
                  <a:defRPr sz="1350" kern="1200">
                    <a:solidFill>
                      <a:srgbClr val="00467B"/>
                    </a:solidFill>
                    <a:latin typeface="+mn-lt"/>
                    <a:ea typeface="+mn-ea"/>
                    <a:cs typeface="+mn-cs"/>
                  </a:defRPr>
                </a:lvl5pPr>
                <a:lvl6pPr marL="1886453" indent="-171496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9444" indent="-171496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2436" indent="-171496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5427" indent="-171496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>
                  <a:lnSpc>
                    <a:spcPct val="85000"/>
                  </a:lnSpc>
                  <a:spcBef>
                    <a:spcPts val="23"/>
                  </a:spcBef>
                  <a:buNone/>
                  <a:defRPr/>
                </a:pPr>
                <a:r>
                  <a:rPr lang="nl-NL" sz="815" dirty="0">
                    <a:solidFill>
                      <a:srgbClr val="8098AA"/>
                    </a:solidFill>
                    <a:latin typeface="Roboto Condensed"/>
                    <a:cs typeface="Arial" panose="020B0604020202020204" pitchFamily="34" charset="0"/>
                  </a:rPr>
                  <a:t>UWV vergoedingen (verlof) aanvragen</a:t>
                </a:r>
              </a:p>
            </p:txBody>
          </p:sp>
        </p:grpSp>
        <p:grpSp>
          <p:nvGrpSpPr>
            <p:cNvPr id="1149" name="Group 1148">
              <a:extLst>
                <a:ext uri="{FF2B5EF4-FFF2-40B4-BE49-F238E27FC236}">
                  <a16:creationId xmlns:a16="http://schemas.microsoft.com/office/drawing/2014/main" id="{228C662E-7D05-69D4-45C0-3D857D72AB63}"/>
                </a:ext>
              </a:extLst>
            </p:cNvPr>
            <p:cNvGrpSpPr/>
            <p:nvPr/>
          </p:nvGrpSpPr>
          <p:grpSpPr>
            <a:xfrm>
              <a:off x="28907871" y="24525435"/>
              <a:ext cx="6120000" cy="1260000"/>
              <a:chOff x="2119248" y="10307782"/>
              <a:chExt cx="5062903" cy="1368120"/>
            </a:xfrm>
          </p:grpSpPr>
          <p:sp>
            <p:nvSpPr>
              <p:cNvPr id="1150" name="Rectangle 1149">
                <a:extLst>
                  <a:ext uri="{FF2B5EF4-FFF2-40B4-BE49-F238E27FC236}">
                    <a16:creationId xmlns:a16="http://schemas.microsoft.com/office/drawing/2014/main" id="{B9BA2E52-BE8B-57F4-F79E-E5E28CF5FEC7}"/>
                  </a:ext>
                </a:extLst>
              </p:cNvPr>
              <p:cNvSpPr/>
              <p:nvPr/>
            </p:nvSpPr>
            <p:spPr>
              <a:xfrm>
                <a:off x="2167497" y="10307782"/>
                <a:ext cx="5003639" cy="136812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815" dirty="0">
                  <a:latin typeface="Roboto Condensed" panose="02000000000000000000" pitchFamily="2" charset="0"/>
                  <a:ea typeface="Roboto Condensed" panose="02000000000000000000" pitchFamily="2" charset="0"/>
                </a:endParaRPr>
              </a:p>
            </p:txBody>
          </p:sp>
          <p:sp>
            <p:nvSpPr>
              <p:cNvPr id="1151" name="Content Placeholder 2">
                <a:extLst>
                  <a:ext uri="{FF2B5EF4-FFF2-40B4-BE49-F238E27FC236}">
                    <a16:creationId xmlns:a16="http://schemas.microsoft.com/office/drawing/2014/main" id="{89F17F04-3906-F00F-871F-D1945DCC5F2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119248" y="10579273"/>
                <a:ext cx="5062903" cy="825139"/>
              </a:xfrm>
              <a:prstGeom prst="rect">
                <a:avLst/>
              </a:prstGeom>
            </p:spPr>
            <p:txBody>
              <a:bodyPr vert="horz" lIns="0" tIns="0" rIns="0" bIns="0" rtlCol="0" anchor="ctr">
                <a:noAutofit/>
              </a:bodyPr>
              <a:lstStyle>
                <a:lvl1pPr marL="171496" indent="-171496" algn="l" defTabSz="685983" rtl="0" eaLnBrk="1" latinLnBrk="0" hangingPunct="1">
                  <a:lnSpc>
                    <a:spcPct val="90000"/>
                  </a:lnSpc>
                  <a:spcBef>
                    <a:spcPts val="750"/>
                  </a:spcBef>
                  <a:buClr>
                    <a:srgbClr val="1F94D1"/>
                  </a:buClr>
                  <a:buFont typeface="Arial"/>
                  <a:buChar char="•"/>
                  <a:defRPr sz="2101" kern="1200">
                    <a:solidFill>
                      <a:srgbClr val="00467B"/>
                    </a:solidFill>
                    <a:latin typeface="+mn-lt"/>
                    <a:ea typeface="+mn-ea"/>
                    <a:cs typeface="+mn-cs"/>
                  </a:defRPr>
                </a:lvl1pPr>
                <a:lvl2pPr marL="292100" indent="-112713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Clr>
                    <a:srgbClr val="1F94D1"/>
                  </a:buClr>
                  <a:buFont typeface="Arial" panose="020B0604020202020204" pitchFamily="34" charset="0"/>
                  <a:buChar char="–"/>
                  <a:tabLst/>
                  <a:defRPr sz="1800" kern="1200">
                    <a:solidFill>
                      <a:srgbClr val="00467B"/>
                    </a:solidFill>
                    <a:latin typeface="+mn-lt"/>
                    <a:ea typeface="+mn-ea"/>
                    <a:cs typeface="+mn-cs"/>
                  </a:defRPr>
                </a:lvl2pPr>
                <a:lvl3pPr marL="460375" indent="-112713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Clr>
                    <a:srgbClr val="1F94D1"/>
                  </a:buClr>
                  <a:buSzPct val="60000"/>
                  <a:buFont typeface="Arial" panose="020B0604020202020204" pitchFamily="34" charset="0"/>
                  <a:buChar char="►"/>
                  <a:tabLst/>
                  <a:defRPr sz="1500" kern="1200">
                    <a:solidFill>
                      <a:srgbClr val="00467B"/>
                    </a:solidFill>
                    <a:latin typeface="+mn-lt"/>
                    <a:ea typeface="+mn-ea"/>
                    <a:cs typeface="+mn-cs"/>
                  </a:defRPr>
                </a:lvl3pPr>
                <a:lvl4pPr marL="573088" indent="-112713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Clr>
                    <a:srgbClr val="1F94D1"/>
                  </a:buClr>
                  <a:buFont typeface="Wingdings" panose="05000000000000000000" pitchFamily="2" charset="2"/>
                  <a:buChar char="§"/>
                  <a:tabLst/>
                  <a:defRPr sz="1350" kern="1200">
                    <a:solidFill>
                      <a:srgbClr val="00467B"/>
                    </a:solidFill>
                    <a:latin typeface="+mn-lt"/>
                    <a:ea typeface="+mn-ea"/>
                    <a:cs typeface="+mn-cs"/>
                  </a:defRPr>
                </a:lvl4pPr>
                <a:lvl5pPr marL="695325" indent="-122238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Clr>
                    <a:srgbClr val="1F94D1"/>
                  </a:buClr>
                  <a:buSzPct val="80000"/>
                  <a:buFont typeface="Courier New" panose="02070309020205020404" pitchFamily="49" charset="0"/>
                  <a:buChar char="o"/>
                  <a:tabLst/>
                  <a:defRPr sz="1350" kern="1200">
                    <a:solidFill>
                      <a:srgbClr val="00467B"/>
                    </a:solidFill>
                    <a:latin typeface="+mn-lt"/>
                    <a:ea typeface="+mn-ea"/>
                    <a:cs typeface="+mn-cs"/>
                  </a:defRPr>
                </a:lvl5pPr>
                <a:lvl6pPr marL="1886453" indent="-171496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9444" indent="-171496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2436" indent="-171496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5427" indent="-171496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 defTabSz="155375">
                  <a:lnSpc>
                    <a:spcPct val="85000"/>
                  </a:lnSpc>
                  <a:spcBef>
                    <a:spcPts val="23"/>
                  </a:spcBef>
                  <a:buNone/>
                  <a:defRPr/>
                </a:pPr>
                <a:r>
                  <a:rPr lang="nl-NL" sz="815" dirty="0">
                    <a:solidFill>
                      <a:srgbClr val="8098AA"/>
                    </a:solidFill>
                    <a:latin typeface="Roboto Condensed" panose="02000000000000000000" pitchFamily="2" charset="0"/>
                    <a:ea typeface="Roboto Condensed" panose="02000000000000000000" pitchFamily="2" charset="0"/>
                    <a:cs typeface="Arial" panose="020B0604020202020204" pitchFamily="34" charset="0"/>
                  </a:rPr>
                  <a:t>Beheren opleidingsbudgetten</a:t>
                </a:r>
              </a:p>
            </p:txBody>
          </p:sp>
        </p:grpSp>
        <p:grpSp>
          <p:nvGrpSpPr>
            <p:cNvPr id="1152" name="Group 1151">
              <a:extLst>
                <a:ext uri="{FF2B5EF4-FFF2-40B4-BE49-F238E27FC236}">
                  <a16:creationId xmlns:a16="http://schemas.microsoft.com/office/drawing/2014/main" id="{BEAA7BE7-87B5-4698-CD7F-31591E6D9CBC}"/>
                </a:ext>
              </a:extLst>
            </p:cNvPr>
            <p:cNvGrpSpPr/>
            <p:nvPr/>
          </p:nvGrpSpPr>
          <p:grpSpPr>
            <a:xfrm>
              <a:off x="35538813" y="24525435"/>
              <a:ext cx="6120000" cy="1260000"/>
              <a:chOff x="2119248" y="10307782"/>
              <a:chExt cx="5062903" cy="1368120"/>
            </a:xfrm>
          </p:grpSpPr>
          <p:sp>
            <p:nvSpPr>
              <p:cNvPr id="1153" name="Rectangle 1152">
                <a:extLst>
                  <a:ext uri="{FF2B5EF4-FFF2-40B4-BE49-F238E27FC236}">
                    <a16:creationId xmlns:a16="http://schemas.microsoft.com/office/drawing/2014/main" id="{35701598-BC48-CC14-6DCE-418BE3A6271D}"/>
                  </a:ext>
                </a:extLst>
              </p:cNvPr>
              <p:cNvSpPr/>
              <p:nvPr/>
            </p:nvSpPr>
            <p:spPr>
              <a:xfrm>
                <a:off x="2167497" y="10307782"/>
                <a:ext cx="5003639" cy="136812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815" dirty="0">
                  <a:latin typeface="Roboto Condensed" panose="02000000000000000000" pitchFamily="2" charset="0"/>
                  <a:ea typeface="Roboto Condensed" panose="02000000000000000000" pitchFamily="2" charset="0"/>
                </a:endParaRPr>
              </a:p>
            </p:txBody>
          </p:sp>
          <p:sp>
            <p:nvSpPr>
              <p:cNvPr id="1154" name="Content Placeholder 2">
                <a:extLst>
                  <a:ext uri="{FF2B5EF4-FFF2-40B4-BE49-F238E27FC236}">
                    <a16:creationId xmlns:a16="http://schemas.microsoft.com/office/drawing/2014/main" id="{F4BFF5C5-2544-5F92-7E4D-3FBD1FB40825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119248" y="10579273"/>
                <a:ext cx="5062903" cy="825139"/>
              </a:xfrm>
              <a:prstGeom prst="rect">
                <a:avLst/>
              </a:prstGeom>
            </p:spPr>
            <p:txBody>
              <a:bodyPr vert="horz" lIns="0" tIns="0" rIns="0" bIns="0" rtlCol="0" anchor="ctr">
                <a:noAutofit/>
              </a:bodyPr>
              <a:lstStyle>
                <a:lvl1pPr marL="171496" indent="-171496" algn="l" defTabSz="685983" rtl="0" eaLnBrk="1" latinLnBrk="0" hangingPunct="1">
                  <a:lnSpc>
                    <a:spcPct val="90000"/>
                  </a:lnSpc>
                  <a:spcBef>
                    <a:spcPts val="750"/>
                  </a:spcBef>
                  <a:buClr>
                    <a:srgbClr val="1F94D1"/>
                  </a:buClr>
                  <a:buFont typeface="Arial"/>
                  <a:buChar char="•"/>
                  <a:defRPr sz="2101" kern="1200">
                    <a:solidFill>
                      <a:srgbClr val="00467B"/>
                    </a:solidFill>
                    <a:latin typeface="+mn-lt"/>
                    <a:ea typeface="+mn-ea"/>
                    <a:cs typeface="+mn-cs"/>
                  </a:defRPr>
                </a:lvl1pPr>
                <a:lvl2pPr marL="292100" indent="-112713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Clr>
                    <a:srgbClr val="1F94D1"/>
                  </a:buClr>
                  <a:buFont typeface="Arial" panose="020B0604020202020204" pitchFamily="34" charset="0"/>
                  <a:buChar char="–"/>
                  <a:tabLst/>
                  <a:defRPr sz="1800" kern="1200">
                    <a:solidFill>
                      <a:srgbClr val="00467B"/>
                    </a:solidFill>
                    <a:latin typeface="+mn-lt"/>
                    <a:ea typeface="+mn-ea"/>
                    <a:cs typeface="+mn-cs"/>
                  </a:defRPr>
                </a:lvl2pPr>
                <a:lvl3pPr marL="460375" indent="-112713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Clr>
                    <a:srgbClr val="1F94D1"/>
                  </a:buClr>
                  <a:buSzPct val="60000"/>
                  <a:buFont typeface="Arial" panose="020B0604020202020204" pitchFamily="34" charset="0"/>
                  <a:buChar char="►"/>
                  <a:tabLst/>
                  <a:defRPr sz="1500" kern="1200">
                    <a:solidFill>
                      <a:srgbClr val="00467B"/>
                    </a:solidFill>
                    <a:latin typeface="+mn-lt"/>
                    <a:ea typeface="+mn-ea"/>
                    <a:cs typeface="+mn-cs"/>
                  </a:defRPr>
                </a:lvl3pPr>
                <a:lvl4pPr marL="573088" indent="-112713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Clr>
                    <a:srgbClr val="1F94D1"/>
                  </a:buClr>
                  <a:buFont typeface="Wingdings" panose="05000000000000000000" pitchFamily="2" charset="2"/>
                  <a:buChar char="§"/>
                  <a:tabLst/>
                  <a:defRPr sz="1350" kern="1200">
                    <a:solidFill>
                      <a:srgbClr val="00467B"/>
                    </a:solidFill>
                    <a:latin typeface="+mn-lt"/>
                    <a:ea typeface="+mn-ea"/>
                    <a:cs typeface="+mn-cs"/>
                  </a:defRPr>
                </a:lvl4pPr>
                <a:lvl5pPr marL="695325" indent="-122238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Clr>
                    <a:srgbClr val="1F94D1"/>
                  </a:buClr>
                  <a:buSzPct val="80000"/>
                  <a:buFont typeface="Courier New" panose="02070309020205020404" pitchFamily="49" charset="0"/>
                  <a:buChar char="o"/>
                  <a:tabLst/>
                  <a:defRPr sz="1350" kern="1200">
                    <a:solidFill>
                      <a:srgbClr val="00467B"/>
                    </a:solidFill>
                    <a:latin typeface="+mn-lt"/>
                    <a:ea typeface="+mn-ea"/>
                    <a:cs typeface="+mn-cs"/>
                  </a:defRPr>
                </a:lvl5pPr>
                <a:lvl6pPr marL="1886453" indent="-171496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9444" indent="-171496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2436" indent="-171496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5427" indent="-171496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 defTabSz="155375">
                  <a:lnSpc>
                    <a:spcPct val="85000"/>
                  </a:lnSpc>
                  <a:spcBef>
                    <a:spcPts val="23"/>
                  </a:spcBef>
                  <a:buNone/>
                  <a:defRPr/>
                </a:pPr>
                <a:r>
                  <a:rPr lang="nl-NL" sz="815" dirty="0">
                    <a:solidFill>
                      <a:srgbClr val="8098AA"/>
                    </a:solidFill>
                    <a:latin typeface="Roboto Condensed" panose="02000000000000000000" pitchFamily="2" charset="0"/>
                    <a:ea typeface="Roboto Condensed" panose="02000000000000000000" pitchFamily="2" charset="0"/>
                    <a:cs typeface="Arial" panose="020B0604020202020204" pitchFamily="34" charset="0"/>
                  </a:rPr>
                  <a:t>Beëindiging toegang pand en systemen</a:t>
                </a:r>
              </a:p>
            </p:txBody>
          </p:sp>
        </p:grpSp>
        <p:grpSp>
          <p:nvGrpSpPr>
            <p:cNvPr id="1155" name="Group 1154">
              <a:extLst>
                <a:ext uri="{FF2B5EF4-FFF2-40B4-BE49-F238E27FC236}">
                  <a16:creationId xmlns:a16="http://schemas.microsoft.com/office/drawing/2014/main" id="{B4BCB49A-4A96-C090-F105-6E23947F6360}"/>
                </a:ext>
              </a:extLst>
            </p:cNvPr>
            <p:cNvGrpSpPr/>
            <p:nvPr/>
          </p:nvGrpSpPr>
          <p:grpSpPr>
            <a:xfrm>
              <a:off x="35538813" y="25804671"/>
              <a:ext cx="6120000" cy="1260000"/>
              <a:chOff x="2119248" y="10307782"/>
              <a:chExt cx="5062903" cy="1368120"/>
            </a:xfrm>
          </p:grpSpPr>
          <p:sp>
            <p:nvSpPr>
              <p:cNvPr id="1156" name="Rectangle 1155">
                <a:extLst>
                  <a:ext uri="{FF2B5EF4-FFF2-40B4-BE49-F238E27FC236}">
                    <a16:creationId xmlns:a16="http://schemas.microsoft.com/office/drawing/2014/main" id="{D42AD79D-AA92-7AFA-BF95-A17474FA6364}"/>
                  </a:ext>
                </a:extLst>
              </p:cNvPr>
              <p:cNvSpPr/>
              <p:nvPr/>
            </p:nvSpPr>
            <p:spPr>
              <a:xfrm>
                <a:off x="2167497" y="10307782"/>
                <a:ext cx="5003639" cy="136812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815" dirty="0">
                  <a:latin typeface="Roboto Condensed" panose="02000000000000000000" pitchFamily="2" charset="0"/>
                  <a:ea typeface="Roboto Condensed" panose="02000000000000000000" pitchFamily="2" charset="0"/>
                </a:endParaRPr>
              </a:p>
            </p:txBody>
          </p:sp>
          <p:sp>
            <p:nvSpPr>
              <p:cNvPr id="1157" name="Content Placeholder 2">
                <a:extLst>
                  <a:ext uri="{FF2B5EF4-FFF2-40B4-BE49-F238E27FC236}">
                    <a16:creationId xmlns:a16="http://schemas.microsoft.com/office/drawing/2014/main" id="{AA6A9A24-A9DE-4275-D260-FB1B2E43F4C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119248" y="10579273"/>
                <a:ext cx="5062903" cy="825139"/>
              </a:xfrm>
              <a:prstGeom prst="rect">
                <a:avLst/>
              </a:prstGeom>
            </p:spPr>
            <p:txBody>
              <a:bodyPr vert="horz" lIns="0" tIns="0" rIns="0" bIns="0" rtlCol="0" anchor="ctr">
                <a:noAutofit/>
              </a:bodyPr>
              <a:lstStyle>
                <a:lvl1pPr marL="171496" indent="-171496" algn="l" defTabSz="685983" rtl="0" eaLnBrk="1" latinLnBrk="0" hangingPunct="1">
                  <a:lnSpc>
                    <a:spcPct val="90000"/>
                  </a:lnSpc>
                  <a:spcBef>
                    <a:spcPts val="750"/>
                  </a:spcBef>
                  <a:buClr>
                    <a:srgbClr val="1F94D1"/>
                  </a:buClr>
                  <a:buFont typeface="Arial"/>
                  <a:buChar char="•"/>
                  <a:defRPr sz="2101" kern="1200">
                    <a:solidFill>
                      <a:srgbClr val="00467B"/>
                    </a:solidFill>
                    <a:latin typeface="+mn-lt"/>
                    <a:ea typeface="+mn-ea"/>
                    <a:cs typeface="+mn-cs"/>
                  </a:defRPr>
                </a:lvl1pPr>
                <a:lvl2pPr marL="292100" indent="-112713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Clr>
                    <a:srgbClr val="1F94D1"/>
                  </a:buClr>
                  <a:buFont typeface="Arial" panose="020B0604020202020204" pitchFamily="34" charset="0"/>
                  <a:buChar char="–"/>
                  <a:tabLst/>
                  <a:defRPr sz="1800" kern="1200">
                    <a:solidFill>
                      <a:srgbClr val="00467B"/>
                    </a:solidFill>
                    <a:latin typeface="+mn-lt"/>
                    <a:ea typeface="+mn-ea"/>
                    <a:cs typeface="+mn-cs"/>
                  </a:defRPr>
                </a:lvl2pPr>
                <a:lvl3pPr marL="460375" indent="-112713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Clr>
                    <a:srgbClr val="1F94D1"/>
                  </a:buClr>
                  <a:buSzPct val="60000"/>
                  <a:buFont typeface="Arial" panose="020B0604020202020204" pitchFamily="34" charset="0"/>
                  <a:buChar char="►"/>
                  <a:tabLst/>
                  <a:defRPr sz="1500" kern="1200">
                    <a:solidFill>
                      <a:srgbClr val="00467B"/>
                    </a:solidFill>
                    <a:latin typeface="+mn-lt"/>
                    <a:ea typeface="+mn-ea"/>
                    <a:cs typeface="+mn-cs"/>
                  </a:defRPr>
                </a:lvl3pPr>
                <a:lvl4pPr marL="573088" indent="-112713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Clr>
                    <a:srgbClr val="1F94D1"/>
                  </a:buClr>
                  <a:buFont typeface="Wingdings" panose="05000000000000000000" pitchFamily="2" charset="2"/>
                  <a:buChar char="§"/>
                  <a:tabLst/>
                  <a:defRPr sz="1350" kern="1200">
                    <a:solidFill>
                      <a:srgbClr val="00467B"/>
                    </a:solidFill>
                    <a:latin typeface="+mn-lt"/>
                    <a:ea typeface="+mn-ea"/>
                    <a:cs typeface="+mn-cs"/>
                  </a:defRPr>
                </a:lvl4pPr>
                <a:lvl5pPr marL="695325" indent="-122238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Clr>
                    <a:srgbClr val="1F94D1"/>
                  </a:buClr>
                  <a:buSzPct val="80000"/>
                  <a:buFont typeface="Courier New" panose="02070309020205020404" pitchFamily="49" charset="0"/>
                  <a:buChar char="o"/>
                  <a:tabLst/>
                  <a:defRPr sz="1350" kern="1200">
                    <a:solidFill>
                      <a:srgbClr val="00467B"/>
                    </a:solidFill>
                    <a:latin typeface="+mn-lt"/>
                    <a:ea typeface="+mn-ea"/>
                    <a:cs typeface="+mn-cs"/>
                  </a:defRPr>
                </a:lvl5pPr>
                <a:lvl6pPr marL="1886453" indent="-171496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9444" indent="-171496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2436" indent="-171496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5427" indent="-171496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 defTabSz="155375">
                  <a:lnSpc>
                    <a:spcPct val="85000"/>
                  </a:lnSpc>
                  <a:spcBef>
                    <a:spcPts val="23"/>
                  </a:spcBef>
                  <a:buNone/>
                  <a:defRPr/>
                </a:pPr>
                <a:r>
                  <a:rPr lang="nl-NL" sz="815" dirty="0">
                    <a:solidFill>
                      <a:srgbClr val="8098AA"/>
                    </a:solidFill>
                    <a:latin typeface="Roboto Condensed" panose="02000000000000000000" pitchFamily="2" charset="0"/>
                    <a:ea typeface="Roboto Condensed" panose="02000000000000000000" pitchFamily="2" charset="0"/>
                    <a:cs typeface="Arial" panose="020B0604020202020204" pitchFamily="34" charset="0"/>
                  </a:rPr>
                  <a:t>(Financiële) verrekeningen einde contract</a:t>
                </a:r>
              </a:p>
            </p:txBody>
          </p:sp>
        </p:grpSp>
        <p:grpSp>
          <p:nvGrpSpPr>
            <p:cNvPr id="1158" name="Group 1157">
              <a:extLst>
                <a:ext uri="{FF2B5EF4-FFF2-40B4-BE49-F238E27FC236}">
                  <a16:creationId xmlns:a16="http://schemas.microsoft.com/office/drawing/2014/main" id="{E4F1F4DF-63D8-88DD-BA4C-B06C9F46A20B}"/>
                </a:ext>
              </a:extLst>
            </p:cNvPr>
            <p:cNvGrpSpPr/>
            <p:nvPr/>
          </p:nvGrpSpPr>
          <p:grpSpPr>
            <a:xfrm>
              <a:off x="35538813" y="27083907"/>
              <a:ext cx="6120000" cy="1260000"/>
              <a:chOff x="2119248" y="10307782"/>
              <a:chExt cx="5062903" cy="1368120"/>
            </a:xfrm>
          </p:grpSpPr>
          <p:sp>
            <p:nvSpPr>
              <p:cNvPr id="1159" name="Rectangle 1158">
                <a:extLst>
                  <a:ext uri="{FF2B5EF4-FFF2-40B4-BE49-F238E27FC236}">
                    <a16:creationId xmlns:a16="http://schemas.microsoft.com/office/drawing/2014/main" id="{731A97DE-0EC2-4EA0-885C-69040961C9A4}"/>
                  </a:ext>
                </a:extLst>
              </p:cNvPr>
              <p:cNvSpPr/>
              <p:nvPr/>
            </p:nvSpPr>
            <p:spPr>
              <a:xfrm>
                <a:off x="2167497" y="10307782"/>
                <a:ext cx="5003639" cy="136812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815" dirty="0">
                  <a:latin typeface="Roboto Condensed" panose="02000000000000000000" pitchFamily="2" charset="0"/>
                  <a:ea typeface="Roboto Condensed" panose="02000000000000000000" pitchFamily="2" charset="0"/>
                </a:endParaRPr>
              </a:p>
            </p:txBody>
          </p:sp>
          <p:sp>
            <p:nvSpPr>
              <p:cNvPr id="1160" name="Content Placeholder 2">
                <a:extLst>
                  <a:ext uri="{FF2B5EF4-FFF2-40B4-BE49-F238E27FC236}">
                    <a16:creationId xmlns:a16="http://schemas.microsoft.com/office/drawing/2014/main" id="{9CE78903-DE30-5887-0E7A-56E6D73BA12F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119248" y="10579273"/>
                <a:ext cx="5062903" cy="825139"/>
              </a:xfrm>
              <a:prstGeom prst="rect">
                <a:avLst/>
              </a:prstGeom>
            </p:spPr>
            <p:txBody>
              <a:bodyPr vert="horz" lIns="0" tIns="0" rIns="0" bIns="0" rtlCol="0" anchor="ctr">
                <a:noAutofit/>
              </a:bodyPr>
              <a:lstStyle>
                <a:lvl1pPr marL="171496" indent="-171496" algn="l" defTabSz="685983" rtl="0" eaLnBrk="1" latinLnBrk="0" hangingPunct="1">
                  <a:lnSpc>
                    <a:spcPct val="90000"/>
                  </a:lnSpc>
                  <a:spcBef>
                    <a:spcPts val="750"/>
                  </a:spcBef>
                  <a:buClr>
                    <a:srgbClr val="1F94D1"/>
                  </a:buClr>
                  <a:buFont typeface="Arial"/>
                  <a:buChar char="•"/>
                  <a:defRPr sz="2101" kern="1200">
                    <a:solidFill>
                      <a:srgbClr val="00467B"/>
                    </a:solidFill>
                    <a:latin typeface="+mn-lt"/>
                    <a:ea typeface="+mn-ea"/>
                    <a:cs typeface="+mn-cs"/>
                  </a:defRPr>
                </a:lvl1pPr>
                <a:lvl2pPr marL="292100" indent="-112713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Clr>
                    <a:srgbClr val="1F94D1"/>
                  </a:buClr>
                  <a:buFont typeface="Arial" panose="020B0604020202020204" pitchFamily="34" charset="0"/>
                  <a:buChar char="–"/>
                  <a:tabLst/>
                  <a:defRPr sz="1800" kern="1200">
                    <a:solidFill>
                      <a:srgbClr val="00467B"/>
                    </a:solidFill>
                    <a:latin typeface="+mn-lt"/>
                    <a:ea typeface="+mn-ea"/>
                    <a:cs typeface="+mn-cs"/>
                  </a:defRPr>
                </a:lvl2pPr>
                <a:lvl3pPr marL="460375" indent="-112713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Clr>
                    <a:srgbClr val="1F94D1"/>
                  </a:buClr>
                  <a:buSzPct val="60000"/>
                  <a:buFont typeface="Arial" panose="020B0604020202020204" pitchFamily="34" charset="0"/>
                  <a:buChar char="►"/>
                  <a:tabLst/>
                  <a:defRPr sz="1500" kern="1200">
                    <a:solidFill>
                      <a:srgbClr val="00467B"/>
                    </a:solidFill>
                    <a:latin typeface="+mn-lt"/>
                    <a:ea typeface="+mn-ea"/>
                    <a:cs typeface="+mn-cs"/>
                  </a:defRPr>
                </a:lvl3pPr>
                <a:lvl4pPr marL="573088" indent="-112713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Clr>
                    <a:srgbClr val="1F94D1"/>
                  </a:buClr>
                  <a:buFont typeface="Wingdings" panose="05000000000000000000" pitchFamily="2" charset="2"/>
                  <a:buChar char="§"/>
                  <a:tabLst/>
                  <a:defRPr sz="1350" kern="1200">
                    <a:solidFill>
                      <a:srgbClr val="00467B"/>
                    </a:solidFill>
                    <a:latin typeface="+mn-lt"/>
                    <a:ea typeface="+mn-ea"/>
                    <a:cs typeface="+mn-cs"/>
                  </a:defRPr>
                </a:lvl4pPr>
                <a:lvl5pPr marL="695325" indent="-122238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Clr>
                    <a:srgbClr val="1F94D1"/>
                  </a:buClr>
                  <a:buSzPct val="80000"/>
                  <a:buFont typeface="Courier New" panose="02070309020205020404" pitchFamily="49" charset="0"/>
                  <a:buChar char="o"/>
                  <a:tabLst/>
                  <a:defRPr sz="1350" kern="1200">
                    <a:solidFill>
                      <a:srgbClr val="00467B"/>
                    </a:solidFill>
                    <a:latin typeface="+mn-lt"/>
                    <a:ea typeface="+mn-ea"/>
                    <a:cs typeface="+mn-cs"/>
                  </a:defRPr>
                </a:lvl5pPr>
                <a:lvl6pPr marL="1886453" indent="-171496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9444" indent="-171496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2436" indent="-171496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5427" indent="-171496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 defTabSz="155375">
                  <a:lnSpc>
                    <a:spcPct val="85000"/>
                  </a:lnSpc>
                  <a:spcBef>
                    <a:spcPts val="23"/>
                  </a:spcBef>
                  <a:buNone/>
                  <a:defRPr/>
                </a:pPr>
                <a:r>
                  <a:rPr lang="nl-NL" sz="815" dirty="0">
                    <a:solidFill>
                      <a:srgbClr val="8098AA"/>
                    </a:solidFill>
                    <a:latin typeface="Roboto Condensed" panose="02000000000000000000" pitchFamily="2" charset="0"/>
                    <a:ea typeface="Roboto Condensed" panose="02000000000000000000" pitchFamily="2" charset="0"/>
                    <a:cs typeface="Arial" panose="020B0604020202020204" pitchFamily="34" charset="0"/>
                  </a:rPr>
                  <a:t>Transitievergoeding</a:t>
                </a:r>
              </a:p>
            </p:txBody>
          </p:sp>
        </p:grpSp>
      </p:grpSp>
      <p:sp>
        <p:nvSpPr>
          <p:cNvPr id="1242" name="Rectangle 1241">
            <a:extLst>
              <a:ext uri="{FF2B5EF4-FFF2-40B4-BE49-F238E27FC236}">
                <a16:creationId xmlns:a16="http://schemas.microsoft.com/office/drawing/2014/main" id="{56C0267A-DF9C-A66E-F447-1C122126221E}"/>
              </a:ext>
            </a:extLst>
          </p:cNvPr>
          <p:cNvSpPr/>
          <p:nvPr/>
        </p:nvSpPr>
        <p:spPr>
          <a:xfrm>
            <a:off x="1529586" y="1661021"/>
            <a:ext cx="2068038" cy="176598"/>
          </a:xfrm>
          <a:prstGeom prst="rect">
            <a:avLst/>
          </a:prstGeom>
          <a:solidFill>
            <a:srgbClr val="8098A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408" dirty="0"/>
          </a:p>
        </p:txBody>
      </p:sp>
      <p:sp>
        <p:nvSpPr>
          <p:cNvPr id="1243" name="Oval 1242">
            <a:extLst>
              <a:ext uri="{FF2B5EF4-FFF2-40B4-BE49-F238E27FC236}">
                <a16:creationId xmlns:a16="http://schemas.microsoft.com/office/drawing/2014/main" id="{67CDF20F-362D-A6DB-AE75-31D24FB25FC6}"/>
              </a:ext>
            </a:extLst>
          </p:cNvPr>
          <p:cNvSpPr/>
          <p:nvPr/>
        </p:nvSpPr>
        <p:spPr>
          <a:xfrm>
            <a:off x="1320834" y="1545195"/>
            <a:ext cx="408251" cy="408251"/>
          </a:xfrm>
          <a:prstGeom prst="ellipse">
            <a:avLst/>
          </a:prstGeom>
          <a:solidFill>
            <a:srgbClr val="8098AA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408" dirty="0"/>
          </a:p>
        </p:txBody>
      </p:sp>
      <p:sp>
        <p:nvSpPr>
          <p:cNvPr id="1246" name="TextBox 1245">
            <a:extLst>
              <a:ext uri="{FF2B5EF4-FFF2-40B4-BE49-F238E27FC236}">
                <a16:creationId xmlns:a16="http://schemas.microsoft.com/office/drawing/2014/main" id="{BB632DF7-D91E-8EF1-8DCB-F044E7874C74}"/>
              </a:ext>
            </a:extLst>
          </p:cNvPr>
          <p:cNvSpPr txBox="1"/>
          <p:nvPr/>
        </p:nvSpPr>
        <p:spPr>
          <a:xfrm flipH="1">
            <a:off x="1746752" y="1610443"/>
            <a:ext cx="1853392" cy="2596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1050" dirty="0">
                <a:solidFill>
                  <a:schemeClr val="bg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Zichtbaar voor de medewerker</a:t>
            </a:r>
          </a:p>
        </p:txBody>
      </p:sp>
      <p:pic>
        <p:nvPicPr>
          <p:cNvPr id="1075" name="Graphic 1074" descr="Eye with solid fill">
            <a:extLst>
              <a:ext uri="{FF2B5EF4-FFF2-40B4-BE49-F238E27FC236}">
                <a16:creationId xmlns:a16="http://schemas.microsoft.com/office/drawing/2014/main" id="{E04F903A-B348-4B31-38EB-A33082C16DC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383930" y="1610688"/>
            <a:ext cx="277263" cy="277263"/>
          </a:xfrm>
          <a:prstGeom prst="rect">
            <a:avLst/>
          </a:prstGeom>
        </p:spPr>
      </p:pic>
      <p:sp>
        <p:nvSpPr>
          <p:cNvPr id="2" name="Rectangle 892">
            <a:extLst>
              <a:ext uri="{FF2B5EF4-FFF2-40B4-BE49-F238E27FC236}">
                <a16:creationId xmlns:a16="http://schemas.microsoft.com/office/drawing/2014/main" id="{55BE6F3D-F399-3B42-114A-0B4C6C98EB4C}"/>
              </a:ext>
            </a:extLst>
          </p:cNvPr>
          <p:cNvSpPr/>
          <p:nvPr/>
        </p:nvSpPr>
        <p:spPr>
          <a:xfrm>
            <a:off x="7818045" y="1950581"/>
            <a:ext cx="1386314" cy="285418"/>
          </a:xfrm>
          <a:prstGeom prst="rect">
            <a:avLst/>
          </a:prstGeom>
          <a:solidFill>
            <a:srgbClr val="60B3BB">
              <a:alpha val="40000"/>
            </a:srgb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815" dirty="0"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EA2CC638-082A-D142-3266-9CD254ADB526}"/>
              </a:ext>
            </a:extLst>
          </p:cNvPr>
          <p:cNvSpPr txBox="1">
            <a:spLocks/>
          </p:cNvSpPr>
          <p:nvPr/>
        </p:nvSpPr>
        <p:spPr>
          <a:xfrm>
            <a:off x="7818045" y="1950581"/>
            <a:ext cx="1386314" cy="2854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55375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815" dirty="0">
                <a:solidFill>
                  <a:srgbClr val="8098AA"/>
                </a:solidFill>
                <a:latin typeface="Roboto Condensed"/>
                <a:cs typeface="Arial" panose="020B0604020202020204" pitchFamily="34" charset="0"/>
              </a:rPr>
              <a:t>Ontwikkelgesprek(ken)</a:t>
            </a:r>
            <a:endParaRPr lang="nl-NL" sz="634" dirty="0">
              <a:solidFill>
                <a:srgbClr val="8098AA"/>
              </a:solidFill>
              <a:latin typeface="Roboto Condensed" panose="02000000000000000000" pitchFamily="2" charset="0"/>
              <a:ea typeface="Roboto Condensed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5" name="Rectangle 1108">
            <a:extLst>
              <a:ext uri="{FF2B5EF4-FFF2-40B4-BE49-F238E27FC236}">
                <a16:creationId xmlns:a16="http://schemas.microsoft.com/office/drawing/2014/main" id="{2F6C6827-7465-1B48-4394-5698A77FA810}"/>
              </a:ext>
            </a:extLst>
          </p:cNvPr>
          <p:cNvSpPr/>
          <p:nvPr/>
        </p:nvSpPr>
        <p:spPr>
          <a:xfrm>
            <a:off x="9323115" y="3804031"/>
            <a:ext cx="1386314" cy="285418"/>
          </a:xfrm>
          <a:prstGeom prst="rect">
            <a:avLst/>
          </a:prstGeom>
          <a:solidFill>
            <a:srgbClr val="60B3BB">
              <a:alpha val="25098"/>
            </a:srgb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55375">
              <a:lnSpc>
                <a:spcPct val="85000"/>
              </a:lnSpc>
              <a:spcBef>
                <a:spcPts val="23"/>
              </a:spcBef>
              <a:buClr>
                <a:srgbClr val="1F94D1"/>
              </a:buClr>
              <a:defRPr/>
            </a:pPr>
            <a:r>
              <a:rPr lang="nl-NL" sz="815" dirty="0">
                <a:solidFill>
                  <a:srgbClr val="8098AA"/>
                </a:solidFill>
                <a:latin typeface="Roboto Condensed"/>
                <a:cs typeface="Arial" panose="020B0604020202020204" pitchFamily="34" charset="0"/>
              </a:rPr>
              <a:t>Eind afrekening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F056140B-D2F1-4D7A-4748-3540E1BC1EE3}"/>
              </a:ext>
            </a:extLst>
          </p:cNvPr>
          <p:cNvSpPr txBox="1"/>
          <p:nvPr/>
        </p:nvSpPr>
        <p:spPr>
          <a:xfrm>
            <a:off x="9122072" y="6630834"/>
            <a:ext cx="3008195" cy="24929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indent="0" algn="ctr" defTabSz="685983">
              <a:lnSpc>
                <a:spcPct val="85000"/>
              </a:lnSpc>
              <a:spcBef>
                <a:spcPts val="100"/>
              </a:spcBef>
              <a:buClr>
                <a:srgbClr val="1F94D1"/>
              </a:buClr>
              <a:buFont typeface="Arial"/>
              <a:buNone/>
              <a:defRPr sz="1200">
                <a:solidFill>
                  <a:srgbClr val="8098AA"/>
                </a:solidFill>
                <a:cs typeface="Arial" panose="020B0604020202020204" pitchFamily="34" charset="0"/>
              </a:defRPr>
            </a:lvl1pPr>
            <a:lvl2pPr marL="292100" indent="-112713" defTabSz="685983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>
                <a:solidFill>
                  <a:srgbClr val="00467B"/>
                </a:solidFill>
              </a:defRPr>
            </a:lvl2pPr>
            <a:lvl3pPr marL="460375" indent="-112713" defTabSz="685983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>
                <a:solidFill>
                  <a:srgbClr val="00467B"/>
                </a:solidFill>
              </a:defRPr>
            </a:lvl3pPr>
            <a:lvl4pPr marL="573088" indent="-112713" defTabSz="685983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>
                <a:solidFill>
                  <a:srgbClr val="00467B"/>
                </a:solidFill>
              </a:defRPr>
            </a:lvl4pPr>
            <a:lvl5pPr marL="695325" indent="-122238" defTabSz="685983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>
                <a:solidFill>
                  <a:srgbClr val="00467B"/>
                </a:solidFill>
              </a:defRPr>
            </a:lvl5pPr>
            <a:lvl6pPr marL="1886453" indent="-171496" defTabSz="685983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/>
            </a:lvl6pPr>
            <a:lvl7pPr marL="2229444" indent="-171496" defTabSz="685983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/>
            </a:lvl7pPr>
            <a:lvl8pPr marL="2572436" indent="-171496" defTabSz="685983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/>
            </a:lvl8pPr>
            <a:lvl9pPr marL="2915427" indent="-171496" defTabSz="685983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/>
            </a:lvl9pPr>
          </a:lstStyle>
          <a:p>
            <a:pPr algn="r"/>
            <a:r>
              <a:rPr lang="nl-NL" sz="1050" dirty="0"/>
              <a:t>Let op: niet elk proces is voor elk bedrijf van toepassing</a:t>
            </a:r>
          </a:p>
        </p:txBody>
      </p:sp>
      <p:sp>
        <p:nvSpPr>
          <p:cNvPr id="7" name="Tekstvak 458">
            <a:extLst>
              <a:ext uri="{FF2B5EF4-FFF2-40B4-BE49-F238E27FC236}">
                <a16:creationId xmlns:a16="http://schemas.microsoft.com/office/drawing/2014/main" id="{13DDC432-33A0-812D-3078-5B090AC08A24}"/>
              </a:ext>
            </a:extLst>
          </p:cNvPr>
          <p:cNvSpPr txBox="1"/>
          <p:nvPr/>
        </p:nvSpPr>
        <p:spPr>
          <a:xfrm>
            <a:off x="4220083" y="670874"/>
            <a:ext cx="3669665" cy="371192"/>
          </a:xfrm>
          <a:prstGeom prst="rect">
            <a:avLst/>
          </a:prstGeom>
          <a:solidFill>
            <a:srgbClr val="60B3BB"/>
          </a:solidFill>
        </p:spPr>
        <p:txBody>
          <a:bodyPr wrap="square" rtlCol="0">
            <a:spAutoFit/>
          </a:bodyPr>
          <a:lstStyle/>
          <a:p>
            <a:pPr algn="ctr" defTabSz="207112">
              <a:defRPr/>
            </a:pPr>
            <a:r>
              <a:rPr lang="nl-NL" sz="1812" b="1" kern="0" dirty="0">
                <a:solidFill>
                  <a:srgbClr val="E4E4E4"/>
                </a:solidFill>
                <a:latin typeface="Roboto Condensed"/>
              </a:rPr>
              <a:t>HR processen in de medewerkerreis </a:t>
            </a:r>
          </a:p>
        </p:txBody>
      </p:sp>
      <p:pic>
        <p:nvPicPr>
          <p:cNvPr id="1032" name="Graphic 1031">
            <a:extLst>
              <a:ext uri="{FF2B5EF4-FFF2-40B4-BE49-F238E27FC236}">
                <a16:creationId xmlns:a16="http://schemas.microsoft.com/office/drawing/2014/main" id="{5F97FF74-E8A7-F62D-3B9B-AF4CAFDEDB12}"/>
              </a:ext>
            </a:extLst>
          </p:cNvPr>
          <p:cNvPicPr>
            <a:picLocks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152764" y="73736"/>
            <a:ext cx="686529" cy="698101"/>
          </a:xfrm>
          <a:prstGeom prst="rect">
            <a:avLst/>
          </a:prstGeom>
        </p:spPr>
      </p:pic>
      <p:grpSp>
        <p:nvGrpSpPr>
          <p:cNvPr id="550" name="Graphic 179">
            <a:extLst>
              <a:ext uri="{FF2B5EF4-FFF2-40B4-BE49-F238E27FC236}">
                <a16:creationId xmlns:a16="http://schemas.microsoft.com/office/drawing/2014/main" id="{165286BC-DF57-91BF-9D06-1CA35C8C688E}"/>
              </a:ext>
            </a:extLst>
          </p:cNvPr>
          <p:cNvGrpSpPr/>
          <p:nvPr/>
        </p:nvGrpSpPr>
        <p:grpSpPr>
          <a:xfrm>
            <a:off x="6745194" y="146881"/>
            <a:ext cx="473554" cy="547036"/>
            <a:chOff x="3862574" y="6337796"/>
            <a:chExt cx="314867" cy="364582"/>
          </a:xfrm>
          <a:solidFill>
            <a:srgbClr val="98733A"/>
          </a:solidFill>
        </p:grpSpPr>
        <p:sp>
          <p:nvSpPr>
            <p:cNvPr id="551" name="Freeform: Shape 550">
              <a:extLst>
                <a:ext uri="{FF2B5EF4-FFF2-40B4-BE49-F238E27FC236}">
                  <a16:creationId xmlns:a16="http://schemas.microsoft.com/office/drawing/2014/main" id="{2C6741EA-31FB-ABD0-21C0-96A27D6971A1}"/>
                </a:ext>
              </a:extLst>
            </p:cNvPr>
            <p:cNvSpPr/>
            <p:nvPr/>
          </p:nvSpPr>
          <p:spPr>
            <a:xfrm>
              <a:off x="4061438" y="6536659"/>
              <a:ext cx="116003" cy="165719"/>
            </a:xfrm>
            <a:custGeom>
              <a:avLst/>
              <a:gdLst>
                <a:gd name="connsiteX0" fmla="*/ 107718 w 116003"/>
                <a:gd name="connsiteY0" fmla="*/ 165719 h 165719"/>
                <a:gd name="connsiteX1" fmla="*/ 91146 w 116003"/>
                <a:gd name="connsiteY1" fmla="*/ 165719 h 165719"/>
                <a:gd name="connsiteX2" fmla="*/ 82860 w 116003"/>
                <a:gd name="connsiteY2" fmla="*/ 157433 h 165719"/>
                <a:gd name="connsiteX3" fmla="*/ 82860 w 116003"/>
                <a:gd name="connsiteY3" fmla="*/ 33144 h 165719"/>
                <a:gd name="connsiteX4" fmla="*/ 8286 w 116003"/>
                <a:gd name="connsiteY4" fmla="*/ 33144 h 165719"/>
                <a:gd name="connsiteX5" fmla="*/ 0 w 116003"/>
                <a:gd name="connsiteY5" fmla="*/ 24858 h 165719"/>
                <a:gd name="connsiteX6" fmla="*/ 0 w 116003"/>
                <a:gd name="connsiteY6" fmla="*/ 8286 h 165719"/>
                <a:gd name="connsiteX7" fmla="*/ 8286 w 116003"/>
                <a:gd name="connsiteY7" fmla="*/ 0 h 165719"/>
                <a:gd name="connsiteX8" fmla="*/ 99432 w 116003"/>
                <a:gd name="connsiteY8" fmla="*/ 0 h 165719"/>
                <a:gd name="connsiteX9" fmla="*/ 116004 w 116003"/>
                <a:gd name="connsiteY9" fmla="*/ 16572 h 165719"/>
                <a:gd name="connsiteX10" fmla="*/ 116004 w 116003"/>
                <a:gd name="connsiteY10" fmla="*/ 157433 h 165719"/>
                <a:gd name="connsiteX11" fmla="*/ 107718 w 116003"/>
                <a:gd name="connsiteY11" fmla="*/ 165719 h 165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6003" h="165719">
                  <a:moveTo>
                    <a:pt x="107718" y="165719"/>
                  </a:moveTo>
                  <a:lnTo>
                    <a:pt x="91146" y="165719"/>
                  </a:lnTo>
                  <a:cubicBezTo>
                    <a:pt x="86571" y="165719"/>
                    <a:pt x="82860" y="162008"/>
                    <a:pt x="82860" y="157433"/>
                  </a:cubicBezTo>
                  <a:lnTo>
                    <a:pt x="82860" y="33144"/>
                  </a:lnTo>
                  <a:lnTo>
                    <a:pt x="8286" y="33144"/>
                  </a:lnTo>
                  <a:cubicBezTo>
                    <a:pt x="3712" y="33144"/>
                    <a:pt x="0" y="29432"/>
                    <a:pt x="0" y="24858"/>
                  </a:cubicBezTo>
                  <a:lnTo>
                    <a:pt x="0" y="8286"/>
                  </a:lnTo>
                  <a:cubicBezTo>
                    <a:pt x="0" y="3712"/>
                    <a:pt x="3712" y="0"/>
                    <a:pt x="8286" y="0"/>
                  </a:cubicBezTo>
                  <a:lnTo>
                    <a:pt x="99432" y="0"/>
                  </a:lnTo>
                  <a:cubicBezTo>
                    <a:pt x="108580" y="0"/>
                    <a:pt x="116004" y="7423"/>
                    <a:pt x="116004" y="16572"/>
                  </a:cubicBezTo>
                  <a:lnTo>
                    <a:pt x="116004" y="157433"/>
                  </a:lnTo>
                  <a:cubicBezTo>
                    <a:pt x="116004" y="162008"/>
                    <a:pt x="112292" y="165719"/>
                    <a:pt x="107718" y="165719"/>
                  </a:cubicBezTo>
                  <a:close/>
                </a:path>
              </a:pathLst>
            </a:custGeom>
            <a:solidFill>
              <a:srgbClr val="98733A"/>
            </a:solidFill>
            <a:ln w="5429" cap="flat">
              <a:solidFill>
                <a:sysClr val="window" lastClr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207112">
                <a:defRPr/>
              </a:pPr>
              <a:endParaRPr lang="nl-NL" sz="1359" kern="0" dirty="0">
                <a:solidFill>
                  <a:srgbClr val="7C7C7C"/>
                </a:solidFill>
                <a:latin typeface="Roboto Condensed"/>
              </a:endParaRPr>
            </a:p>
          </p:txBody>
        </p:sp>
        <p:sp>
          <p:nvSpPr>
            <p:cNvPr id="552" name="Freeform: Shape 551">
              <a:extLst>
                <a:ext uri="{FF2B5EF4-FFF2-40B4-BE49-F238E27FC236}">
                  <a16:creationId xmlns:a16="http://schemas.microsoft.com/office/drawing/2014/main" id="{884DC019-7676-D1B5-A794-A92A8A6344E0}"/>
                </a:ext>
              </a:extLst>
            </p:cNvPr>
            <p:cNvSpPr/>
            <p:nvPr/>
          </p:nvSpPr>
          <p:spPr>
            <a:xfrm>
              <a:off x="4061438" y="6418873"/>
              <a:ext cx="114227" cy="101214"/>
            </a:xfrm>
            <a:custGeom>
              <a:avLst/>
              <a:gdLst>
                <a:gd name="connsiteX0" fmla="*/ 82860 w 114227"/>
                <a:gd name="connsiteY0" fmla="*/ 101214 h 101214"/>
                <a:gd name="connsiteX1" fmla="*/ 8286 w 114227"/>
                <a:gd name="connsiteY1" fmla="*/ 101214 h 101214"/>
                <a:gd name="connsiteX2" fmla="*/ 0 w 114227"/>
                <a:gd name="connsiteY2" fmla="*/ 92928 h 101214"/>
                <a:gd name="connsiteX3" fmla="*/ 0 w 114227"/>
                <a:gd name="connsiteY3" fmla="*/ 76356 h 101214"/>
                <a:gd name="connsiteX4" fmla="*/ 8286 w 114227"/>
                <a:gd name="connsiteY4" fmla="*/ 68070 h 101214"/>
                <a:gd name="connsiteX5" fmla="*/ 69287 w 114227"/>
                <a:gd name="connsiteY5" fmla="*/ 68070 h 101214"/>
                <a:gd name="connsiteX6" fmla="*/ 81565 w 114227"/>
                <a:gd name="connsiteY6" fmla="*/ 6660 h 101214"/>
                <a:gd name="connsiteX7" fmla="*/ 91319 w 114227"/>
                <a:gd name="connsiteY7" fmla="*/ 165 h 101214"/>
                <a:gd name="connsiteX8" fmla="*/ 107567 w 114227"/>
                <a:gd name="connsiteY8" fmla="*/ 3423 h 101214"/>
                <a:gd name="connsiteX9" fmla="*/ 114062 w 114227"/>
                <a:gd name="connsiteY9" fmla="*/ 13176 h 101214"/>
                <a:gd name="connsiteX10" fmla="*/ 99109 w 114227"/>
                <a:gd name="connsiteY10" fmla="*/ 87899 h 101214"/>
                <a:gd name="connsiteX11" fmla="*/ 82860 w 114227"/>
                <a:gd name="connsiteY11" fmla="*/ 101213 h 101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227" h="101214">
                  <a:moveTo>
                    <a:pt x="82860" y="101214"/>
                  </a:moveTo>
                  <a:lnTo>
                    <a:pt x="8286" y="101214"/>
                  </a:lnTo>
                  <a:cubicBezTo>
                    <a:pt x="3712" y="101214"/>
                    <a:pt x="0" y="97503"/>
                    <a:pt x="0" y="92928"/>
                  </a:cubicBezTo>
                  <a:lnTo>
                    <a:pt x="0" y="76356"/>
                  </a:lnTo>
                  <a:cubicBezTo>
                    <a:pt x="0" y="71782"/>
                    <a:pt x="3712" y="68070"/>
                    <a:pt x="8286" y="68070"/>
                  </a:cubicBezTo>
                  <a:lnTo>
                    <a:pt x="69287" y="68070"/>
                  </a:lnTo>
                  <a:lnTo>
                    <a:pt x="81565" y="6660"/>
                  </a:lnTo>
                  <a:cubicBezTo>
                    <a:pt x="82450" y="2172"/>
                    <a:pt x="86830" y="-741"/>
                    <a:pt x="91319" y="165"/>
                  </a:cubicBezTo>
                  <a:lnTo>
                    <a:pt x="107567" y="3423"/>
                  </a:lnTo>
                  <a:cubicBezTo>
                    <a:pt x="112055" y="4330"/>
                    <a:pt x="114968" y="8689"/>
                    <a:pt x="114062" y="13176"/>
                  </a:cubicBezTo>
                  <a:lnTo>
                    <a:pt x="99109" y="87899"/>
                  </a:lnTo>
                  <a:cubicBezTo>
                    <a:pt x="97555" y="95645"/>
                    <a:pt x="90758" y="101213"/>
                    <a:pt x="82860" y="101213"/>
                  </a:cubicBezTo>
                  <a:close/>
                </a:path>
              </a:pathLst>
            </a:custGeom>
            <a:solidFill>
              <a:srgbClr val="98733A"/>
            </a:solidFill>
            <a:ln w="5429" cap="flat">
              <a:solidFill>
                <a:sysClr val="window" lastClr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207112">
                <a:defRPr/>
              </a:pPr>
              <a:endParaRPr lang="nl-NL" sz="1359" kern="0" dirty="0">
                <a:solidFill>
                  <a:srgbClr val="7C7C7C"/>
                </a:solidFill>
                <a:latin typeface="Roboto Condensed"/>
              </a:endParaRPr>
            </a:p>
          </p:txBody>
        </p:sp>
        <p:sp>
          <p:nvSpPr>
            <p:cNvPr id="556" name="Freeform: Shape 555">
              <a:extLst>
                <a:ext uri="{FF2B5EF4-FFF2-40B4-BE49-F238E27FC236}">
                  <a16:creationId xmlns:a16="http://schemas.microsoft.com/office/drawing/2014/main" id="{916933F4-98AF-3B15-39EF-66AE6658E542}"/>
                </a:ext>
              </a:extLst>
            </p:cNvPr>
            <p:cNvSpPr/>
            <p:nvPr/>
          </p:nvSpPr>
          <p:spPr>
            <a:xfrm>
              <a:off x="3862574" y="6470371"/>
              <a:ext cx="116003" cy="232007"/>
            </a:xfrm>
            <a:custGeom>
              <a:avLst/>
              <a:gdLst>
                <a:gd name="connsiteX0" fmla="*/ 116004 w 116003"/>
                <a:gd name="connsiteY0" fmla="*/ 149147 h 232007"/>
                <a:gd name="connsiteX1" fmla="*/ 99432 w 116003"/>
                <a:gd name="connsiteY1" fmla="*/ 165719 h 232007"/>
                <a:gd name="connsiteX2" fmla="*/ 82860 w 116003"/>
                <a:gd name="connsiteY2" fmla="*/ 165719 h 232007"/>
                <a:gd name="connsiteX3" fmla="*/ 82860 w 116003"/>
                <a:gd name="connsiteY3" fmla="*/ 198863 h 232007"/>
                <a:gd name="connsiteX4" fmla="*/ 99432 w 116003"/>
                <a:gd name="connsiteY4" fmla="*/ 215435 h 232007"/>
                <a:gd name="connsiteX5" fmla="*/ 99432 w 116003"/>
                <a:gd name="connsiteY5" fmla="*/ 232007 h 232007"/>
                <a:gd name="connsiteX6" fmla="*/ 33144 w 116003"/>
                <a:gd name="connsiteY6" fmla="*/ 232007 h 232007"/>
                <a:gd name="connsiteX7" fmla="*/ 33144 w 116003"/>
                <a:gd name="connsiteY7" fmla="*/ 215435 h 232007"/>
                <a:gd name="connsiteX8" fmla="*/ 49716 w 116003"/>
                <a:gd name="connsiteY8" fmla="*/ 198863 h 232007"/>
                <a:gd name="connsiteX9" fmla="*/ 49716 w 116003"/>
                <a:gd name="connsiteY9" fmla="*/ 165719 h 232007"/>
                <a:gd name="connsiteX10" fmla="*/ 0 w 116003"/>
                <a:gd name="connsiteY10" fmla="*/ 116004 h 232007"/>
                <a:gd name="connsiteX11" fmla="*/ 0 w 116003"/>
                <a:gd name="connsiteY11" fmla="*/ 16572 h 232007"/>
                <a:gd name="connsiteX12" fmla="*/ 16572 w 116003"/>
                <a:gd name="connsiteY12" fmla="*/ 0 h 232007"/>
                <a:gd name="connsiteX13" fmla="*/ 33144 w 116003"/>
                <a:gd name="connsiteY13" fmla="*/ 16572 h 232007"/>
                <a:gd name="connsiteX14" fmla="*/ 33144 w 116003"/>
                <a:gd name="connsiteY14" fmla="*/ 116004 h 232007"/>
                <a:gd name="connsiteX15" fmla="*/ 49716 w 116003"/>
                <a:gd name="connsiteY15" fmla="*/ 132576 h 232007"/>
                <a:gd name="connsiteX16" fmla="*/ 99432 w 116003"/>
                <a:gd name="connsiteY16" fmla="*/ 132576 h 232007"/>
                <a:gd name="connsiteX17" fmla="*/ 116004 w 116003"/>
                <a:gd name="connsiteY17" fmla="*/ 149147 h 232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16003" h="232007">
                  <a:moveTo>
                    <a:pt x="116004" y="149147"/>
                  </a:moveTo>
                  <a:cubicBezTo>
                    <a:pt x="116004" y="158296"/>
                    <a:pt x="108580" y="165719"/>
                    <a:pt x="99432" y="165719"/>
                  </a:cubicBezTo>
                  <a:lnTo>
                    <a:pt x="82860" y="165719"/>
                  </a:lnTo>
                  <a:lnTo>
                    <a:pt x="82860" y="198863"/>
                  </a:lnTo>
                  <a:cubicBezTo>
                    <a:pt x="92009" y="198863"/>
                    <a:pt x="99432" y="206286"/>
                    <a:pt x="99432" y="215435"/>
                  </a:cubicBezTo>
                  <a:lnTo>
                    <a:pt x="99432" y="232007"/>
                  </a:lnTo>
                  <a:lnTo>
                    <a:pt x="33144" y="232007"/>
                  </a:lnTo>
                  <a:lnTo>
                    <a:pt x="33144" y="215435"/>
                  </a:lnTo>
                  <a:cubicBezTo>
                    <a:pt x="33144" y="206286"/>
                    <a:pt x="40567" y="198863"/>
                    <a:pt x="49716" y="198863"/>
                  </a:cubicBezTo>
                  <a:lnTo>
                    <a:pt x="49716" y="165719"/>
                  </a:lnTo>
                  <a:cubicBezTo>
                    <a:pt x="22290" y="165719"/>
                    <a:pt x="0" y="143429"/>
                    <a:pt x="0" y="116004"/>
                  </a:cubicBezTo>
                  <a:lnTo>
                    <a:pt x="0" y="16572"/>
                  </a:lnTo>
                  <a:cubicBezTo>
                    <a:pt x="0" y="7423"/>
                    <a:pt x="7423" y="0"/>
                    <a:pt x="16572" y="0"/>
                  </a:cubicBezTo>
                  <a:cubicBezTo>
                    <a:pt x="25721" y="0"/>
                    <a:pt x="33144" y="7423"/>
                    <a:pt x="33144" y="16572"/>
                  </a:cubicBezTo>
                  <a:lnTo>
                    <a:pt x="33144" y="116004"/>
                  </a:lnTo>
                  <a:cubicBezTo>
                    <a:pt x="33144" y="125152"/>
                    <a:pt x="40567" y="132576"/>
                    <a:pt x="49716" y="132576"/>
                  </a:cubicBezTo>
                  <a:lnTo>
                    <a:pt x="99432" y="132576"/>
                  </a:lnTo>
                  <a:cubicBezTo>
                    <a:pt x="108580" y="132576"/>
                    <a:pt x="116004" y="139999"/>
                    <a:pt x="116004" y="149147"/>
                  </a:cubicBezTo>
                  <a:close/>
                </a:path>
              </a:pathLst>
            </a:custGeom>
            <a:solidFill>
              <a:srgbClr val="98733A"/>
            </a:solidFill>
            <a:ln w="5429" cap="flat">
              <a:solidFill>
                <a:sysClr val="window" lastClr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207112">
                <a:defRPr/>
              </a:pPr>
              <a:endParaRPr lang="nl-NL" sz="1359" kern="0" dirty="0">
                <a:solidFill>
                  <a:srgbClr val="7C7C7C"/>
                </a:solidFill>
                <a:latin typeface="Roboto Condensed"/>
              </a:endParaRPr>
            </a:p>
          </p:txBody>
        </p:sp>
        <p:sp>
          <p:nvSpPr>
            <p:cNvPr id="564" name="Freeform: Shape 563">
              <a:extLst>
                <a:ext uri="{FF2B5EF4-FFF2-40B4-BE49-F238E27FC236}">
                  <a16:creationId xmlns:a16="http://schemas.microsoft.com/office/drawing/2014/main" id="{F101C3D2-2447-D4B9-B424-72A2DB31256C}"/>
                </a:ext>
              </a:extLst>
            </p:cNvPr>
            <p:cNvSpPr/>
            <p:nvPr/>
          </p:nvSpPr>
          <p:spPr>
            <a:xfrm>
              <a:off x="3912292" y="6437230"/>
              <a:ext cx="132575" cy="265148"/>
            </a:xfrm>
            <a:custGeom>
              <a:avLst/>
              <a:gdLst>
                <a:gd name="connsiteX0" fmla="*/ 132573 w 132575"/>
                <a:gd name="connsiteY0" fmla="*/ 149145 h 265148"/>
                <a:gd name="connsiteX1" fmla="*/ 132573 w 132575"/>
                <a:gd name="connsiteY1" fmla="*/ 248577 h 265148"/>
                <a:gd name="connsiteX2" fmla="*/ 116001 w 132575"/>
                <a:gd name="connsiteY2" fmla="*/ 265149 h 265148"/>
                <a:gd name="connsiteX3" fmla="*/ 99429 w 132575"/>
                <a:gd name="connsiteY3" fmla="*/ 248577 h 265148"/>
                <a:gd name="connsiteX4" fmla="*/ 99429 w 132575"/>
                <a:gd name="connsiteY4" fmla="*/ 163193 h 265148"/>
                <a:gd name="connsiteX5" fmla="*/ 27706 w 132575"/>
                <a:gd name="connsiteY5" fmla="*/ 151238 h 265148"/>
                <a:gd name="connsiteX6" fmla="*/ 0 w 132575"/>
                <a:gd name="connsiteY6" fmla="*/ 118613 h 265148"/>
                <a:gd name="connsiteX7" fmla="*/ 0 w 132575"/>
                <a:gd name="connsiteY7" fmla="*/ 33079 h 265148"/>
                <a:gd name="connsiteX8" fmla="*/ 33144 w 132575"/>
                <a:gd name="connsiteY8" fmla="*/ 0 h 265148"/>
                <a:gd name="connsiteX9" fmla="*/ 66288 w 132575"/>
                <a:gd name="connsiteY9" fmla="*/ 33144 h 265148"/>
                <a:gd name="connsiteX10" fmla="*/ 66288 w 132575"/>
                <a:gd name="connsiteY10" fmla="*/ 49716 h 265148"/>
                <a:gd name="connsiteX11" fmla="*/ 116004 w 132575"/>
                <a:gd name="connsiteY11" fmla="*/ 49716 h 265148"/>
                <a:gd name="connsiteX12" fmla="*/ 132576 w 132575"/>
                <a:gd name="connsiteY12" fmla="*/ 66288 h 265148"/>
                <a:gd name="connsiteX13" fmla="*/ 116004 w 132575"/>
                <a:gd name="connsiteY13" fmla="*/ 82860 h 265148"/>
                <a:gd name="connsiteX14" fmla="*/ 66288 w 132575"/>
                <a:gd name="connsiteY14" fmla="*/ 82860 h 265148"/>
                <a:gd name="connsiteX15" fmla="*/ 66288 w 132575"/>
                <a:gd name="connsiteY15" fmla="*/ 124117 h 265148"/>
                <a:gd name="connsiteX16" fmla="*/ 118722 w 132575"/>
                <a:gd name="connsiteY16" fmla="*/ 132813 h 265148"/>
                <a:gd name="connsiteX17" fmla="*/ 132576 w 132575"/>
                <a:gd name="connsiteY17" fmla="*/ 149147 h 265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32575" h="265148">
                  <a:moveTo>
                    <a:pt x="132573" y="149145"/>
                  </a:moveTo>
                  <a:lnTo>
                    <a:pt x="132573" y="248577"/>
                  </a:lnTo>
                  <a:cubicBezTo>
                    <a:pt x="132573" y="257726"/>
                    <a:pt x="125150" y="265149"/>
                    <a:pt x="116001" y="265149"/>
                  </a:cubicBezTo>
                  <a:cubicBezTo>
                    <a:pt x="106853" y="265149"/>
                    <a:pt x="99429" y="257726"/>
                    <a:pt x="99429" y="248577"/>
                  </a:cubicBezTo>
                  <a:lnTo>
                    <a:pt x="99429" y="163193"/>
                  </a:lnTo>
                  <a:lnTo>
                    <a:pt x="27706" y="151238"/>
                  </a:lnTo>
                  <a:cubicBezTo>
                    <a:pt x="11630" y="148541"/>
                    <a:pt x="0" y="134817"/>
                    <a:pt x="0" y="118613"/>
                  </a:cubicBezTo>
                  <a:lnTo>
                    <a:pt x="0" y="33079"/>
                  </a:lnTo>
                  <a:cubicBezTo>
                    <a:pt x="0" y="14846"/>
                    <a:pt x="14867" y="0"/>
                    <a:pt x="33144" y="0"/>
                  </a:cubicBezTo>
                  <a:cubicBezTo>
                    <a:pt x="51421" y="0"/>
                    <a:pt x="66288" y="14867"/>
                    <a:pt x="66288" y="33144"/>
                  </a:cubicBezTo>
                  <a:lnTo>
                    <a:pt x="66288" y="49716"/>
                  </a:lnTo>
                  <a:lnTo>
                    <a:pt x="116004" y="49716"/>
                  </a:lnTo>
                  <a:cubicBezTo>
                    <a:pt x="125152" y="49716"/>
                    <a:pt x="132576" y="57139"/>
                    <a:pt x="132576" y="66288"/>
                  </a:cubicBezTo>
                  <a:cubicBezTo>
                    <a:pt x="132576" y="75437"/>
                    <a:pt x="125152" y="82860"/>
                    <a:pt x="116004" y="82860"/>
                  </a:cubicBezTo>
                  <a:lnTo>
                    <a:pt x="66288" y="82860"/>
                  </a:lnTo>
                  <a:lnTo>
                    <a:pt x="66288" y="124117"/>
                  </a:lnTo>
                  <a:lnTo>
                    <a:pt x="118722" y="132813"/>
                  </a:lnTo>
                  <a:cubicBezTo>
                    <a:pt x="126706" y="134129"/>
                    <a:pt x="132576" y="141034"/>
                    <a:pt x="132576" y="149147"/>
                  </a:cubicBezTo>
                  <a:close/>
                </a:path>
              </a:pathLst>
            </a:custGeom>
            <a:solidFill>
              <a:srgbClr val="98733A"/>
            </a:solidFill>
            <a:ln w="5429" cap="flat">
              <a:solidFill>
                <a:sysClr val="window" lastClr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207112">
                <a:defRPr/>
              </a:pPr>
              <a:endParaRPr lang="nl-NL" sz="1359" kern="0" dirty="0">
                <a:solidFill>
                  <a:srgbClr val="7C7C7C"/>
                </a:solidFill>
                <a:latin typeface="Roboto Condensed"/>
              </a:endParaRPr>
            </a:p>
          </p:txBody>
        </p:sp>
        <p:sp>
          <p:nvSpPr>
            <p:cNvPr id="570" name="Freeform: Shape 569">
              <a:extLst>
                <a:ext uri="{FF2B5EF4-FFF2-40B4-BE49-F238E27FC236}">
                  <a16:creationId xmlns:a16="http://schemas.microsoft.com/office/drawing/2014/main" id="{9F62A42B-18F8-2FF9-0949-906FE0F3409C}"/>
                </a:ext>
              </a:extLst>
            </p:cNvPr>
            <p:cNvSpPr/>
            <p:nvPr/>
          </p:nvSpPr>
          <p:spPr>
            <a:xfrm>
              <a:off x="3912290" y="6337796"/>
              <a:ext cx="82859" cy="82859"/>
            </a:xfrm>
            <a:custGeom>
              <a:avLst/>
              <a:gdLst>
                <a:gd name="connsiteX0" fmla="*/ 41430 w 82859"/>
                <a:gd name="connsiteY0" fmla="*/ 0 h 82859"/>
                <a:gd name="connsiteX1" fmla="*/ 82860 w 82859"/>
                <a:gd name="connsiteY1" fmla="*/ 41430 h 82859"/>
                <a:gd name="connsiteX2" fmla="*/ 41430 w 82859"/>
                <a:gd name="connsiteY2" fmla="*/ 82860 h 82859"/>
                <a:gd name="connsiteX3" fmla="*/ 0 w 82859"/>
                <a:gd name="connsiteY3" fmla="*/ 41430 h 82859"/>
                <a:gd name="connsiteX4" fmla="*/ 41430 w 82859"/>
                <a:gd name="connsiteY4" fmla="*/ 0 h 82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859" h="82859">
                  <a:moveTo>
                    <a:pt x="41430" y="0"/>
                  </a:moveTo>
                  <a:cubicBezTo>
                    <a:pt x="64302" y="0"/>
                    <a:pt x="82860" y="18557"/>
                    <a:pt x="82860" y="41430"/>
                  </a:cubicBezTo>
                  <a:cubicBezTo>
                    <a:pt x="82860" y="64302"/>
                    <a:pt x="64302" y="82860"/>
                    <a:pt x="41430" y="82860"/>
                  </a:cubicBezTo>
                  <a:cubicBezTo>
                    <a:pt x="18557" y="82860"/>
                    <a:pt x="0" y="64302"/>
                    <a:pt x="0" y="41430"/>
                  </a:cubicBezTo>
                  <a:cubicBezTo>
                    <a:pt x="0" y="18557"/>
                    <a:pt x="18557" y="0"/>
                    <a:pt x="41430" y="0"/>
                  </a:cubicBezTo>
                  <a:close/>
                </a:path>
              </a:pathLst>
            </a:custGeom>
            <a:solidFill>
              <a:srgbClr val="98733A"/>
            </a:solidFill>
            <a:ln w="5429" cap="flat">
              <a:solidFill>
                <a:sysClr val="window" lastClr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207112">
                <a:defRPr/>
              </a:pPr>
              <a:endParaRPr lang="nl-NL" sz="1359" kern="0" dirty="0">
                <a:solidFill>
                  <a:srgbClr val="7C7C7C"/>
                </a:solidFill>
                <a:latin typeface="Roboto Condensed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6569916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kstvak 8">
            <a:extLst>
              <a:ext uri="{FF2B5EF4-FFF2-40B4-BE49-F238E27FC236}">
                <a16:creationId xmlns:a16="http://schemas.microsoft.com/office/drawing/2014/main" id="{BE8023B0-1393-83B3-5F0A-8E4D281C9E68}"/>
              </a:ext>
            </a:extLst>
          </p:cNvPr>
          <p:cNvSpPr txBox="1"/>
          <p:nvPr/>
        </p:nvSpPr>
        <p:spPr>
          <a:xfrm>
            <a:off x="1025640" y="1596808"/>
            <a:ext cx="5536145" cy="4708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nl-NL" sz="2000" dirty="0"/>
              <a:t>Delete de processen die niet van toepassing zijn op jullie bedrijf</a:t>
            </a:r>
          </a:p>
          <a:p>
            <a:pPr marL="342900" indent="-3429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nl-NL" sz="2000" dirty="0"/>
              <a:t>Voeg bedrijfsspecifieke HR processen toe die ontbreken in het overzicht </a:t>
            </a:r>
          </a:p>
          <a:p>
            <a:pPr marL="342900" indent="-3429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nl-NL" sz="2000" dirty="0"/>
              <a:t>Bepaal welke processen jullie in detail willen uitwerken - </a:t>
            </a:r>
            <a:r>
              <a:rPr lang="nl-NL" sz="2000" i="1" dirty="0">
                <a:ea typeface="Calibri Light" panose="020F0302020204030204" pitchFamily="34" charset="0"/>
                <a:cs typeface="Calibri Light" panose="020F0302020204030204" pitchFamily="34" charset="0"/>
              </a:rPr>
              <a:t>Omdat ze niet ingericht zijn, omdat er pijnpunten inzitten, omdat er positief het verschil gemaakt kan worden voor de medewerker, omdat…</a:t>
            </a:r>
          </a:p>
          <a:p>
            <a:pPr marL="342900" indent="-3429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nl-NL" sz="2000" dirty="0">
                <a:ea typeface="Calibri Light" panose="020F0302020204030204" pitchFamily="34" charset="0"/>
                <a:cs typeface="Calibri Light" panose="020F0302020204030204" pitchFamily="34" charset="0"/>
              </a:rPr>
              <a:t>Werk voor elk proces alle stappen uit en geef aan wie wat doet in elke stap (zie voorbeeld rechts)</a:t>
            </a:r>
          </a:p>
          <a:p>
            <a:pPr marL="342900" indent="-3429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nl-NL" sz="2000" dirty="0">
                <a:ea typeface="Calibri Light" panose="020F0302020204030204" pitchFamily="34" charset="0"/>
                <a:cs typeface="Calibri Light" panose="020F0302020204030204" pitchFamily="34" charset="0"/>
              </a:rPr>
              <a:t>Voeg </a:t>
            </a:r>
            <a:r>
              <a:rPr lang="nl-NL" sz="2000" b="1" dirty="0">
                <a:solidFill>
                  <a:schemeClr val="accent1"/>
                </a:solidFill>
                <a:ea typeface="Calibri Light" panose="020F0302020204030204" pitchFamily="34" charset="0"/>
                <a:cs typeface="Calibri Light" panose="020F0302020204030204" pitchFamily="34" charset="0"/>
              </a:rPr>
              <a:t>WOW momenten </a:t>
            </a:r>
            <a:r>
              <a:rPr lang="nl-NL" sz="2000" dirty="0">
                <a:ea typeface="Calibri Light" panose="020F0302020204030204" pitchFamily="34" charset="0"/>
                <a:cs typeface="Calibri Light" panose="020F0302020204030204" pitchFamily="34" charset="0"/>
              </a:rPr>
              <a:t>voor medewerkers toe waar mogelijk (voorbeelden op volgende pagina)</a:t>
            </a:r>
            <a:endParaRPr lang="nl-NL" sz="2000" dirty="0"/>
          </a:p>
          <a:p>
            <a:endParaRPr lang="nl-NL" sz="2000" i="1" dirty="0">
              <a:solidFill>
                <a:schemeClr val="tx2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A0BE51F-22F4-DE1A-6789-7598EAF073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Vijf stappen om jullie HR processen in kaart te brengen</a:t>
            </a:r>
          </a:p>
        </p:txBody>
      </p:sp>
      <p:sp>
        <p:nvSpPr>
          <p:cNvPr id="6" name="Ovaal 5">
            <a:extLst>
              <a:ext uri="{FF2B5EF4-FFF2-40B4-BE49-F238E27FC236}">
                <a16:creationId xmlns:a16="http://schemas.microsoft.com/office/drawing/2014/main" id="{E526B95B-BDB1-8567-E85A-4B57E8472DA2}"/>
              </a:ext>
            </a:extLst>
          </p:cNvPr>
          <p:cNvSpPr/>
          <p:nvPr/>
        </p:nvSpPr>
        <p:spPr>
          <a:xfrm>
            <a:off x="914445" y="1709100"/>
            <a:ext cx="504000" cy="504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2400" dirty="0"/>
              <a:t>1</a:t>
            </a:r>
          </a:p>
        </p:txBody>
      </p:sp>
      <p:sp>
        <p:nvSpPr>
          <p:cNvPr id="7" name="Ovaal 6">
            <a:extLst>
              <a:ext uri="{FF2B5EF4-FFF2-40B4-BE49-F238E27FC236}">
                <a16:creationId xmlns:a16="http://schemas.microsoft.com/office/drawing/2014/main" id="{2C9B020E-1998-06BE-BF0B-9B4652D3921A}"/>
              </a:ext>
            </a:extLst>
          </p:cNvPr>
          <p:cNvSpPr/>
          <p:nvPr/>
        </p:nvSpPr>
        <p:spPr>
          <a:xfrm>
            <a:off x="914445" y="2461777"/>
            <a:ext cx="504000" cy="504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2400" dirty="0"/>
              <a:t>2</a:t>
            </a:r>
          </a:p>
        </p:txBody>
      </p:sp>
      <p:sp>
        <p:nvSpPr>
          <p:cNvPr id="8" name="Ovaal 7">
            <a:extLst>
              <a:ext uri="{FF2B5EF4-FFF2-40B4-BE49-F238E27FC236}">
                <a16:creationId xmlns:a16="http://schemas.microsoft.com/office/drawing/2014/main" id="{4C16C931-E3A1-5F9C-8C50-E53C80C4DCFE}"/>
              </a:ext>
            </a:extLst>
          </p:cNvPr>
          <p:cNvSpPr/>
          <p:nvPr/>
        </p:nvSpPr>
        <p:spPr>
          <a:xfrm>
            <a:off x="914445" y="3214454"/>
            <a:ext cx="504000" cy="504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2400" dirty="0"/>
              <a:t>3</a:t>
            </a:r>
          </a:p>
        </p:txBody>
      </p:sp>
      <p:pic>
        <p:nvPicPr>
          <p:cNvPr id="3" name="Afbeelding 2">
            <a:extLst>
              <a:ext uri="{FF2B5EF4-FFF2-40B4-BE49-F238E27FC236}">
                <a16:creationId xmlns:a16="http://schemas.microsoft.com/office/drawing/2014/main" id="{1F57FAEF-8AE8-177E-A473-123C80F765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88709" y="1379578"/>
            <a:ext cx="4665091" cy="28186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2" name="Ovaal 11">
            <a:extLst>
              <a:ext uri="{FF2B5EF4-FFF2-40B4-BE49-F238E27FC236}">
                <a16:creationId xmlns:a16="http://schemas.microsoft.com/office/drawing/2014/main" id="{7594EE00-DEE2-B43B-E51D-27137EE30B47}"/>
              </a:ext>
            </a:extLst>
          </p:cNvPr>
          <p:cNvSpPr/>
          <p:nvPr/>
        </p:nvSpPr>
        <p:spPr>
          <a:xfrm>
            <a:off x="914445" y="4587944"/>
            <a:ext cx="504000" cy="504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2400" dirty="0"/>
              <a:t>4</a:t>
            </a:r>
          </a:p>
        </p:txBody>
      </p:sp>
      <p:sp>
        <p:nvSpPr>
          <p:cNvPr id="13" name="Ovaal 12">
            <a:extLst>
              <a:ext uri="{FF2B5EF4-FFF2-40B4-BE49-F238E27FC236}">
                <a16:creationId xmlns:a16="http://schemas.microsoft.com/office/drawing/2014/main" id="{915EFD31-ECD4-57C5-F19D-0B7A29B7A43B}"/>
              </a:ext>
            </a:extLst>
          </p:cNvPr>
          <p:cNvSpPr/>
          <p:nvPr/>
        </p:nvSpPr>
        <p:spPr>
          <a:xfrm>
            <a:off x="914445" y="5340621"/>
            <a:ext cx="504000" cy="504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2400" dirty="0"/>
              <a:t>5</a:t>
            </a:r>
          </a:p>
        </p:txBody>
      </p:sp>
      <p:sp>
        <p:nvSpPr>
          <p:cNvPr id="14" name="Tekstvak 13">
            <a:extLst>
              <a:ext uri="{FF2B5EF4-FFF2-40B4-BE49-F238E27FC236}">
                <a16:creationId xmlns:a16="http://schemas.microsoft.com/office/drawing/2014/main" id="{A596ECDC-0D92-C0ED-0D70-F1121DFD88EE}"/>
              </a:ext>
            </a:extLst>
          </p:cNvPr>
          <p:cNvSpPr txBox="1"/>
          <p:nvPr/>
        </p:nvSpPr>
        <p:spPr>
          <a:xfrm>
            <a:off x="6666541" y="4384727"/>
            <a:ext cx="4687259" cy="203132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nl-NL" b="1" dirty="0">
                <a:solidFill>
                  <a:schemeClr val="tx2"/>
                </a:solidFill>
              </a:rPr>
              <a:t>Hulp nodig? </a:t>
            </a:r>
            <a:r>
              <a:rPr lang="nl-NL" dirty="0"/>
              <a:t>Wij helpen jullie graag!</a:t>
            </a:r>
          </a:p>
          <a:p>
            <a:pPr algn="ctr"/>
            <a:endParaRPr lang="nl-NL" dirty="0"/>
          </a:p>
          <a:p>
            <a:pPr algn="ctr"/>
            <a:r>
              <a:rPr lang="nl-NL" dirty="0"/>
              <a:t>Onze werksessies om de HR processen in kaart </a:t>
            </a:r>
            <a:br>
              <a:rPr lang="nl-NL" dirty="0"/>
            </a:br>
            <a:r>
              <a:rPr lang="nl-NL" dirty="0"/>
              <a:t>te brengen zijn volgens onze klanten </a:t>
            </a:r>
            <a:br>
              <a:rPr lang="nl-NL" dirty="0"/>
            </a:br>
            <a:r>
              <a:rPr lang="nl-NL" b="1" i="1" dirty="0">
                <a:solidFill>
                  <a:schemeClr val="tx2"/>
                </a:solidFill>
              </a:rPr>
              <a:t>“lekker hands-on, concreet en waardevol”</a:t>
            </a:r>
          </a:p>
          <a:p>
            <a:pPr algn="ctr"/>
            <a:endParaRPr lang="nl-NL" b="1" i="1" dirty="0">
              <a:solidFill>
                <a:schemeClr val="tx2"/>
              </a:solidFill>
            </a:endParaRPr>
          </a:p>
          <a:p>
            <a:pPr algn="ctr"/>
            <a:r>
              <a:rPr lang="nl-NL" dirty="0"/>
              <a:t>Plan </a:t>
            </a:r>
            <a:r>
              <a:rPr lang="nl-NL" dirty="0">
                <a:hlinkClick r:id="rId3"/>
              </a:rPr>
              <a:t>hier</a:t>
            </a:r>
            <a:r>
              <a:rPr lang="nl-NL" dirty="0"/>
              <a:t> een kennismaking</a:t>
            </a:r>
            <a:endParaRPr lang="nl-NL" sz="1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936785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66" name="Group 1165">
            <a:extLst>
              <a:ext uri="{FF2B5EF4-FFF2-40B4-BE49-F238E27FC236}">
                <a16:creationId xmlns:a16="http://schemas.microsoft.com/office/drawing/2014/main" id="{21683534-76B6-21EE-843F-93B08C08EF26}"/>
              </a:ext>
            </a:extLst>
          </p:cNvPr>
          <p:cNvGrpSpPr>
            <a:grpSpLocks noChangeAspect="1"/>
          </p:cNvGrpSpPr>
          <p:nvPr/>
        </p:nvGrpSpPr>
        <p:grpSpPr>
          <a:xfrm>
            <a:off x="1355915" y="555590"/>
            <a:ext cx="1647268" cy="592066"/>
            <a:chOff x="515508" y="1450725"/>
            <a:chExt cx="1362269" cy="233999"/>
          </a:xfrm>
        </p:grpSpPr>
        <p:sp>
          <p:nvSpPr>
            <p:cNvPr id="1167" name="Freeform 9">
              <a:extLst>
                <a:ext uri="{FF2B5EF4-FFF2-40B4-BE49-F238E27FC236}">
                  <a16:creationId xmlns:a16="http://schemas.microsoft.com/office/drawing/2014/main" id="{2EAC20DC-F73F-0F98-2C34-3866ACBC1F4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15508" y="1450725"/>
              <a:ext cx="1362269" cy="233999"/>
            </a:xfrm>
            <a:custGeom>
              <a:avLst/>
              <a:gdLst>
                <a:gd name="connsiteX0" fmla="*/ 0 w 1362269"/>
                <a:gd name="connsiteY0" fmla="*/ 0 h 233999"/>
                <a:gd name="connsiteX1" fmla="*/ 1362269 w 1362269"/>
                <a:gd name="connsiteY1" fmla="*/ 0 h 233999"/>
                <a:gd name="connsiteX2" fmla="*/ 1362269 w 1362269"/>
                <a:gd name="connsiteY2" fmla="*/ 233999 h 233999"/>
                <a:gd name="connsiteX3" fmla="*/ 0 w 1362269"/>
                <a:gd name="connsiteY3" fmla="*/ 233999 h 233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2269" h="233999">
                  <a:moveTo>
                    <a:pt x="0" y="0"/>
                  </a:moveTo>
                  <a:lnTo>
                    <a:pt x="1362269" y="0"/>
                  </a:lnTo>
                  <a:lnTo>
                    <a:pt x="1362269" y="233999"/>
                  </a:lnTo>
                  <a:lnTo>
                    <a:pt x="0" y="233999"/>
                  </a:lnTo>
                  <a:close/>
                </a:path>
              </a:pathLst>
            </a:custGeom>
            <a:solidFill>
              <a:srgbClr val="60B3BB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207112">
                <a:defRPr/>
              </a:pPr>
              <a:endParaRPr lang="nl-NL" sz="1359" kern="0" dirty="0">
                <a:solidFill>
                  <a:srgbClr val="7C7C7C"/>
                </a:solidFill>
                <a:latin typeface="Roboto Condensed"/>
              </a:endParaRPr>
            </a:p>
          </p:txBody>
        </p:sp>
        <p:sp>
          <p:nvSpPr>
            <p:cNvPr id="1168" name="Freeform 10">
              <a:extLst>
                <a:ext uri="{FF2B5EF4-FFF2-40B4-BE49-F238E27FC236}">
                  <a16:creationId xmlns:a16="http://schemas.microsoft.com/office/drawing/2014/main" id="{AE61A5AA-7BAB-82EA-FC9D-3DA64C5E1C6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53801" y="1563761"/>
              <a:ext cx="613152" cy="7995"/>
            </a:xfrm>
            <a:custGeom>
              <a:avLst/>
              <a:gdLst>
                <a:gd name="connsiteX0" fmla="*/ 559649 w 613152"/>
                <a:gd name="connsiteY0" fmla="*/ 0 h 7995"/>
                <a:gd name="connsiteX1" fmla="*/ 559649 w 613152"/>
                <a:gd name="connsiteY1" fmla="*/ 7995 h 7995"/>
                <a:gd name="connsiteX2" fmla="*/ 613152 w 613152"/>
                <a:gd name="connsiteY2" fmla="*/ 7995 h 7995"/>
                <a:gd name="connsiteX3" fmla="*/ 613152 w 613152"/>
                <a:gd name="connsiteY3" fmla="*/ 0 h 7995"/>
                <a:gd name="connsiteX4" fmla="*/ 559649 w 613152"/>
                <a:gd name="connsiteY4" fmla="*/ 0 h 7995"/>
                <a:gd name="connsiteX5" fmla="*/ 479049 w 613152"/>
                <a:gd name="connsiteY5" fmla="*/ 0 h 7995"/>
                <a:gd name="connsiteX6" fmla="*/ 479049 w 613152"/>
                <a:gd name="connsiteY6" fmla="*/ 7995 h 7995"/>
                <a:gd name="connsiteX7" fmla="*/ 532552 w 613152"/>
                <a:gd name="connsiteY7" fmla="*/ 7995 h 7995"/>
                <a:gd name="connsiteX8" fmla="*/ 532552 w 613152"/>
                <a:gd name="connsiteY8" fmla="*/ 0 h 7995"/>
                <a:gd name="connsiteX9" fmla="*/ 479049 w 613152"/>
                <a:gd name="connsiteY9" fmla="*/ 0 h 7995"/>
                <a:gd name="connsiteX10" fmla="*/ 398449 w 613152"/>
                <a:gd name="connsiteY10" fmla="*/ 0 h 7995"/>
                <a:gd name="connsiteX11" fmla="*/ 398449 w 613152"/>
                <a:gd name="connsiteY11" fmla="*/ 7995 h 7995"/>
                <a:gd name="connsiteX12" fmla="*/ 451952 w 613152"/>
                <a:gd name="connsiteY12" fmla="*/ 7995 h 7995"/>
                <a:gd name="connsiteX13" fmla="*/ 451952 w 613152"/>
                <a:gd name="connsiteY13" fmla="*/ 0 h 7995"/>
                <a:gd name="connsiteX14" fmla="*/ 398449 w 613152"/>
                <a:gd name="connsiteY14" fmla="*/ 0 h 7995"/>
                <a:gd name="connsiteX15" fmla="*/ 317918 w 613152"/>
                <a:gd name="connsiteY15" fmla="*/ 0 h 7995"/>
                <a:gd name="connsiteX16" fmla="*/ 317918 w 613152"/>
                <a:gd name="connsiteY16" fmla="*/ 7995 h 7995"/>
                <a:gd name="connsiteX17" fmla="*/ 371421 w 613152"/>
                <a:gd name="connsiteY17" fmla="*/ 7995 h 7995"/>
                <a:gd name="connsiteX18" fmla="*/ 371421 w 613152"/>
                <a:gd name="connsiteY18" fmla="*/ 0 h 7995"/>
                <a:gd name="connsiteX19" fmla="*/ 317918 w 613152"/>
                <a:gd name="connsiteY19" fmla="*/ 0 h 7995"/>
                <a:gd name="connsiteX20" fmla="*/ 237318 w 613152"/>
                <a:gd name="connsiteY20" fmla="*/ 0 h 7995"/>
                <a:gd name="connsiteX21" fmla="*/ 237318 w 613152"/>
                <a:gd name="connsiteY21" fmla="*/ 7995 h 7995"/>
                <a:gd name="connsiteX22" fmla="*/ 290822 w 613152"/>
                <a:gd name="connsiteY22" fmla="*/ 7995 h 7995"/>
                <a:gd name="connsiteX23" fmla="*/ 290822 w 613152"/>
                <a:gd name="connsiteY23" fmla="*/ 0 h 7995"/>
                <a:gd name="connsiteX24" fmla="*/ 237318 w 613152"/>
                <a:gd name="connsiteY24" fmla="*/ 0 h 7995"/>
                <a:gd name="connsiteX25" fmla="*/ 156787 w 613152"/>
                <a:gd name="connsiteY25" fmla="*/ 0 h 7995"/>
                <a:gd name="connsiteX26" fmla="*/ 156787 w 613152"/>
                <a:gd name="connsiteY26" fmla="*/ 7995 h 7995"/>
                <a:gd name="connsiteX27" fmla="*/ 210291 w 613152"/>
                <a:gd name="connsiteY27" fmla="*/ 7995 h 7995"/>
                <a:gd name="connsiteX28" fmla="*/ 210291 w 613152"/>
                <a:gd name="connsiteY28" fmla="*/ 0 h 7995"/>
                <a:gd name="connsiteX29" fmla="*/ 156787 w 613152"/>
                <a:gd name="connsiteY29" fmla="*/ 0 h 7995"/>
                <a:gd name="connsiteX30" fmla="*/ 76187 w 613152"/>
                <a:gd name="connsiteY30" fmla="*/ 0 h 7995"/>
                <a:gd name="connsiteX31" fmla="*/ 76187 w 613152"/>
                <a:gd name="connsiteY31" fmla="*/ 7995 h 7995"/>
                <a:gd name="connsiteX32" fmla="*/ 129691 w 613152"/>
                <a:gd name="connsiteY32" fmla="*/ 7995 h 7995"/>
                <a:gd name="connsiteX33" fmla="*/ 129691 w 613152"/>
                <a:gd name="connsiteY33" fmla="*/ 0 h 7995"/>
                <a:gd name="connsiteX34" fmla="*/ 76187 w 613152"/>
                <a:gd name="connsiteY34" fmla="*/ 0 h 7995"/>
                <a:gd name="connsiteX35" fmla="*/ 0 w 613152"/>
                <a:gd name="connsiteY35" fmla="*/ 0 h 7995"/>
                <a:gd name="connsiteX36" fmla="*/ 0 w 613152"/>
                <a:gd name="connsiteY36" fmla="*/ 7995 h 7995"/>
                <a:gd name="connsiteX37" fmla="*/ 49091 w 613152"/>
                <a:gd name="connsiteY37" fmla="*/ 7995 h 7995"/>
                <a:gd name="connsiteX38" fmla="*/ 49091 w 613152"/>
                <a:gd name="connsiteY38" fmla="*/ 0 h 7995"/>
                <a:gd name="connsiteX39" fmla="*/ 0 w 613152"/>
                <a:gd name="connsiteY39" fmla="*/ 0 h 7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613152" h="7995">
                  <a:moveTo>
                    <a:pt x="559649" y="0"/>
                  </a:moveTo>
                  <a:cubicBezTo>
                    <a:pt x="559649" y="1792"/>
                    <a:pt x="559649" y="6203"/>
                    <a:pt x="559649" y="7995"/>
                  </a:cubicBezTo>
                  <a:cubicBezTo>
                    <a:pt x="562200" y="7995"/>
                    <a:pt x="610601" y="7995"/>
                    <a:pt x="613152" y="7995"/>
                  </a:cubicBezTo>
                  <a:cubicBezTo>
                    <a:pt x="613152" y="6203"/>
                    <a:pt x="613152" y="1792"/>
                    <a:pt x="613152" y="0"/>
                  </a:cubicBezTo>
                  <a:cubicBezTo>
                    <a:pt x="610532" y="0"/>
                    <a:pt x="562200" y="0"/>
                    <a:pt x="559649" y="0"/>
                  </a:cubicBezTo>
                  <a:close/>
                  <a:moveTo>
                    <a:pt x="479049" y="0"/>
                  </a:moveTo>
                  <a:cubicBezTo>
                    <a:pt x="479049" y="1792"/>
                    <a:pt x="479049" y="6203"/>
                    <a:pt x="479049" y="7995"/>
                  </a:cubicBezTo>
                  <a:cubicBezTo>
                    <a:pt x="481600" y="7995"/>
                    <a:pt x="530001" y="7995"/>
                    <a:pt x="532552" y="7995"/>
                  </a:cubicBezTo>
                  <a:cubicBezTo>
                    <a:pt x="532552" y="6203"/>
                    <a:pt x="532552" y="1792"/>
                    <a:pt x="532552" y="0"/>
                  </a:cubicBezTo>
                  <a:cubicBezTo>
                    <a:pt x="530001" y="0"/>
                    <a:pt x="481600" y="0"/>
                    <a:pt x="479049" y="0"/>
                  </a:cubicBezTo>
                  <a:close/>
                  <a:moveTo>
                    <a:pt x="398449" y="0"/>
                  </a:moveTo>
                  <a:cubicBezTo>
                    <a:pt x="398449" y="1792"/>
                    <a:pt x="398449" y="6203"/>
                    <a:pt x="398449" y="7995"/>
                  </a:cubicBezTo>
                  <a:cubicBezTo>
                    <a:pt x="401000" y="7995"/>
                    <a:pt x="449401" y="7995"/>
                    <a:pt x="451952" y="7995"/>
                  </a:cubicBezTo>
                  <a:cubicBezTo>
                    <a:pt x="451952" y="6203"/>
                    <a:pt x="451952" y="1792"/>
                    <a:pt x="451952" y="0"/>
                  </a:cubicBezTo>
                  <a:cubicBezTo>
                    <a:pt x="449401" y="0"/>
                    <a:pt x="401069" y="0"/>
                    <a:pt x="398449" y="0"/>
                  </a:cubicBezTo>
                  <a:close/>
                  <a:moveTo>
                    <a:pt x="317918" y="0"/>
                  </a:moveTo>
                  <a:cubicBezTo>
                    <a:pt x="317918" y="1792"/>
                    <a:pt x="317918" y="6203"/>
                    <a:pt x="317918" y="7995"/>
                  </a:cubicBezTo>
                  <a:cubicBezTo>
                    <a:pt x="320469" y="7995"/>
                    <a:pt x="368870" y="7995"/>
                    <a:pt x="371421" y="7995"/>
                  </a:cubicBezTo>
                  <a:cubicBezTo>
                    <a:pt x="371421" y="6203"/>
                    <a:pt x="371421" y="1792"/>
                    <a:pt x="371421" y="0"/>
                  </a:cubicBezTo>
                  <a:cubicBezTo>
                    <a:pt x="368801" y="0"/>
                    <a:pt x="320469" y="0"/>
                    <a:pt x="317918" y="0"/>
                  </a:cubicBezTo>
                  <a:close/>
                  <a:moveTo>
                    <a:pt x="237318" y="0"/>
                  </a:moveTo>
                  <a:cubicBezTo>
                    <a:pt x="237318" y="1792"/>
                    <a:pt x="237318" y="6203"/>
                    <a:pt x="237318" y="7995"/>
                  </a:cubicBezTo>
                  <a:cubicBezTo>
                    <a:pt x="239869" y="7995"/>
                    <a:pt x="288270" y="7995"/>
                    <a:pt x="290822" y="7995"/>
                  </a:cubicBezTo>
                  <a:cubicBezTo>
                    <a:pt x="290822" y="6203"/>
                    <a:pt x="290822" y="1792"/>
                    <a:pt x="290822" y="0"/>
                  </a:cubicBezTo>
                  <a:cubicBezTo>
                    <a:pt x="288270" y="0"/>
                    <a:pt x="239869" y="0"/>
                    <a:pt x="237318" y="0"/>
                  </a:cubicBezTo>
                  <a:close/>
                  <a:moveTo>
                    <a:pt x="156787" y="0"/>
                  </a:moveTo>
                  <a:cubicBezTo>
                    <a:pt x="156787" y="1792"/>
                    <a:pt x="156787" y="6203"/>
                    <a:pt x="156787" y="7995"/>
                  </a:cubicBezTo>
                  <a:cubicBezTo>
                    <a:pt x="159338" y="7995"/>
                    <a:pt x="207740" y="7995"/>
                    <a:pt x="210291" y="7995"/>
                  </a:cubicBezTo>
                  <a:cubicBezTo>
                    <a:pt x="210291" y="6203"/>
                    <a:pt x="210291" y="1792"/>
                    <a:pt x="210291" y="0"/>
                  </a:cubicBezTo>
                  <a:cubicBezTo>
                    <a:pt x="207671" y="0"/>
                    <a:pt x="159338" y="0"/>
                    <a:pt x="156787" y="0"/>
                  </a:cubicBezTo>
                  <a:close/>
                  <a:moveTo>
                    <a:pt x="76187" y="0"/>
                  </a:moveTo>
                  <a:cubicBezTo>
                    <a:pt x="76187" y="1792"/>
                    <a:pt x="76187" y="6203"/>
                    <a:pt x="76187" y="7995"/>
                  </a:cubicBezTo>
                  <a:cubicBezTo>
                    <a:pt x="78738" y="7995"/>
                    <a:pt x="127140" y="7995"/>
                    <a:pt x="129691" y="7995"/>
                  </a:cubicBezTo>
                  <a:cubicBezTo>
                    <a:pt x="129691" y="6203"/>
                    <a:pt x="129691" y="1792"/>
                    <a:pt x="129691" y="0"/>
                  </a:cubicBezTo>
                  <a:cubicBezTo>
                    <a:pt x="127071" y="0"/>
                    <a:pt x="78738" y="0"/>
                    <a:pt x="76187" y="0"/>
                  </a:cubicBezTo>
                  <a:close/>
                  <a:moveTo>
                    <a:pt x="0" y="0"/>
                  </a:moveTo>
                  <a:cubicBezTo>
                    <a:pt x="0" y="1792"/>
                    <a:pt x="0" y="6203"/>
                    <a:pt x="0" y="7995"/>
                  </a:cubicBezTo>
                  <a:cubicBezTo>
                    <a:pt x="2551" y="7995"/>
                    <a:pt x="46540" y="7995"/>
                    <a:pt x="49091" y="7995"/>
                  </a:cubicBezTo>
                  <a:cubicBezTo>
                    <a:pt x="49091" y="6203"/>
                    <a:pt x="49091" y="1792"/>
                    <a:pt x="49091" y="0"/>
                  </a:cubicBezTo>
                  <a:cubicBezTo>
                    <a:pt x="46540" y="0"/>
                    <a:pt x="2551" y="0"/>
                    <a:pt x="0" y="0"/>
                  </a:cubicBezTo>
                  <a:close/>
                </a:path>
              </a:pathLst>
            </a:custGeom>
            <a:solidFill>
              <a:srgbClr val="E4E4E4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207112">
                <a:defRPr/>
              </a:pPr>
              <a:endParaRPr lang="nl-NL" sz="1359" kern="0" dirty="0">
                <a:solidFill>
                  <a:srgbClr val="7C7C7C"/>
                </a:solidFill>
                <a:latin typeface="Roboto Condensed"/>
              </a:endParaRPr>
            </a:p>
          </p:txBody>
        </p:sp>
        <p:sp>
          <p:nvSpPr>
            <p:cNvPr id="1169" name="Freeform 11">
              <a:extLst>
                <a:ext uri="{FF2B5EF4-FFF2-40B4-BE49-F238E27FC236}">
                  <a16:creationId xmlns:a16="http://schemas.microsoft.com/office/drawing/2014/main" id="{45363F34-E036-524B-7446-389D157B1F4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13207" y="1563761"/>
              <a:ext cx="613083" cy="7995"/>
            </a:xfrm>
            <a:custGeom>
              <a:avLst/>
              <a:gdLst>
                <a:gd name="connsiteX0" fmla="*/ 559580 w 613083"/>
                <a:gd name="connsiteY0" fmla="*/ 0 h 7995"/>
                <a:gd name="connsiteX1" fmla="*/ 559580 w 613083"/>
                <a:gd name="connsiteY1" fmla="*/ 7995 h 7995"/>
                <a:gd name="connsiteX2" fmla="*/ 613083 w 613083"/>
                <a:gd name="connsiteY2" fmla="*/ 7995 h 7995"/>
                <a:gd name="connsiteX3" fmla="*/ 613083 w 613083"/>
                <a:gd name="connsiteY3" fmla="*/ 0 h 7995"/>
                <a:gd name="connsiteX4" fmla="*/ 559580 w 613083"/>
                <a:gd name="connsiteY4" fmla="*/ 0 h 7995"/>
                <a:gd name="connsiteX5" fmla="*/ 478980 w 613083"/>
                <a:gd name="connsiteY5" fmla="*/ 0 h 7995"/>
                <a:gd name="connsiteX6" fmla="*/ 478980 w 613083"/>
                <a:gd name="connsiteY6" fmla="*/ 7995 h 7995"/>
                <a:gd name="connsiteX7" fmla="*/ 532483 w 613083"/>
                <a:gd name="connsiteY7" fmla="*/ 7995 h 7995"/>
                <a:gd name="connsiteX8" fmla="*/ 532483 w 613083"/>
                <a:gd name="connsiteY8" fmla="*/ 0 h 7995"/>
                <a:gd name="connsiteX9" fmla="*/ 478980 w 613083"/>
                <a:gd name="connsiteY9" fmla="*/ 0 h 7995"/>
                <a:gd name="connsiteX10" fmla="*/ 398449 w 613083"/>
                <a:gd name="connsiteY10" fmla="*/ 0 h 7995"/>
                <a:gd name="connsiteX11" fmla="*/ 398449 w 613083"/>
                <a:gd name="connsiteY11" fmla="*/ 7995 h 7995"/>
                <a:gd name="connsiteX12" fmla="*/ 451952 w 613083"/>
                <a:gd name="connsiteY12" fmla="*/ 7995 h 7995"/>
                <a:gd name="connsiteX13" fmla="*/ 451952 w 613083"/>
                <a:gd name="connsiteY13" fmla="*/ 0 h 7995"/>
                <a:gd name="connsiteX14" fmla="*/ 398449 w 613083"/>
                <a:gd name="connsiteY14" fmla="*/ 0 h 7995"/>
                <a:gd name="connsiteX15" fmla="*/ 317849 w 613083"/>
                <a:gd name="connsiteY15" fmla="*/ 0 h 7995"/>
                <a:gd name="connsiteX16" fmla="*/ 317849 w 613083"/>
                <a:gd name="connsiteY16" fmla="*/ 7995 h 7995"/>
                <a:gd name="connsiteX17" fmla="*/ 371352 w 613083"/>
                <a:gd name="connsiteY17" fmla="*/ 7995 h 7995"/>
                <a:gd name="connsiteX18" fmla="*/ 371352 w 613083"/>
                <a:gd name="connsiteY18" fmla="*/ 0 h 7995"/>
                <a:gd name="connsiteX19" fmla="*/ 317849 w 613083"/>
                <a:gd name="connsiteY19" fmla="*/ 0 h 7995"/>
                <a:gd name="connsiteX20" fmla="*/ 237249 w 613083"/>
                <a:gd name="connsiteY20" fmla="*/ 0 h 7995"/>
                <a:gd name="connsiteX21" fmla="*/ 237249 w 613083"/>
                <a:gd name="connsiteY21" fmla="*/ 7995 h 7995"/>
                <a:gd name="connsiteX22" fmla="*/ 290753 w 613083"/>
                <a:gd name="connsiteY22" fmla="*/ 7995 h 7995"/>
                <a:gd name="connsiteX23" fmla="*/ 290753 w 613083"/>
                <a:gd name="connsiteY23" fmla="*/ 0 h 7995"/>
                <a:gd name="connsiteX24" fmla="*/ 237249 w 613083"/>
                <a:gd name="connsiteY24" fmla="*/ 0 h 7995"/>
                <a:gd name="connsiteX25" fmla="*/ 156718 w 613083"/>
                <a:gd name="connsiteY25" fmla="*/ 0 h 7995"/>
                <a:gd name="connsiteX26" fmla="*/ 156718 w 613083"/>
                <a:gd name="connsiteY26" fmla="*/ 7995 h 7995"/>
                <a:gd name="connsiteX27" fmla="*/ 210222 w 613083"/>
                <a:gd name="connsiteY27" fmla="*/ 7995 h 7995"/>
                <a:gd name="connsiteX28" fmla="*/ 210222 w 613083"/>
                <a:gd name="connsiteY28" fmla="*/ 0 h 7995"/>
                <a:gd name="connsiteX29" fmla="*/ 156718 w 613083"/>
                <a:gd name="connsiteY29" fmla="*/ 0 h 7995"/>
                <a:gd name="connsiteX30" fmla="*/ 76118 w 613083"/>
                <a:gd name="connsiteY30" fmla="*/ 0 h 7995"/>
                <a:gd name="connsiteX31" fmla="*/ 76118 w 613083"/>
                <a:gd name="connsiteY31" fmla="*/ 7995 h 7995"/>
                <a:gd name="connsiteX32" fmla="*/ 129622 w 613083"/>
                <a:gd name="connsiteY32" fmla="*/ 7995 h 7995"/>
                <a:gd name="connsiteX33" fmla="*/ 129622 w 613083"/>
                <a:gd name="connsiteY33" fmla="*/ 0 h 7995"/>
                <a:gd name="connsiteX34" fmla="*/ 76118 w 613083"/>
                <a:gd name="connsiteY34" fmla="*/ 0 h 7995"/>
                <a:gd name="connsiteX35" fmla="*/ 0 w 613083"/>
                <a:gd name="connsiteY35" fmla="*/ 0 h 7995"/>
                <a:gd name="connsiteX36" fmla="*/ 0 w 613083"/>
                <a:gd name="connsiteY36" fmla="*/ 7995 h 7995"/>
                <a:gd name="connsiteX37" fmla="*/ 49091 w 613083"/>
                <a:gd name="connsiteY37" fmla="*/ 7995 h 7995"/>
                <a:gd name="connsiteX38" fmla="*/ 49091 w 613083"/>
                <a:gd name="connsiteY38" fmla="*/ 0 h 7995"/>
                <a:gd name="connsiteX39" fmla="*/ 0 w 613083"/>
                <a:gd name="connsiteY39" fmla="*/ 0 h 7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613083" h="7995">
                  <a:moveTo>
                    <a:pt x="559580" y="0"/>
                  </a:moveTo>
                  <a:cubicBezTo>
                    <a:pt x="559580" y="1792"/>
                    <a:pt x="559580" y="6203"/>
                    <a:pt x="559580" y="7995"/>
                  </a:cubicBezTo>
                  <a:cubicBezTo>
                    <a:pt x="562131" y="7995"/>
                    <a:pt x="610532" y="7995"/>
                    <a:pt x="613083" y="7995"/>
                  </a:cubicBezTo>
                  <a:cubicBezTo>
                    <a:pt x="613083" y="6203"/>
                    <a:pt x="613083" y="1792"/>
                    <a:pt x="613083" y="0"/>
                  </a:cubicBezTo>
                  <a:cubicBezTo>
                    <a:pt x="610532" y="0"/>
                    <a:pt x="562131" y="0"/>
                    <a:pt x="559580" y="0"/>
                  </a:cubicBezTo>
                  <a:close/>
                  <a:moveTo>
                    <a:pt x="478980" y="0"/>
                  </a:moveTo>
                  <a:cubicBezTo>
                    <a:pt x="478980" y="1792"/>
                    <a:pt x="478980" y="6203"/>
                    <a:pt x="478980" y="7995"/>
                  </a:cubicBezTo>
                  <a:cubicBezTo>
                    <a:pt x="481531" y="7995"/>
                    <a:pt x="529932" y="7995"/>
                    <a:pt x="532483" y="7995"/>
                  </a:cubicBezTo>
                  <a:cubicBezTo>
                    <a:pt x="532483" y="6203"/>
                    <a:pt x="532483" y="1792"/>
                    <a:pt x="532483" y="0"/>
                  </a:cubicBezTo>
                  <a:cubicBezTo>
                    <a:pt x="529932" y="0"/>
                    <a:pt x="481531" y="0"/>
                    <a:pt x="478980" y="0"/>
                  </a:cubicBezTo>
                  <a:close/>
                  <a:moveTo>
                    <a:pt x="398449" y="0"/>
                  </a:moveTo>
                  <a:cubicBezTo>
                    <a:pt x="398449" y="1792"/>
                    <a:pt x="398449" y="6203"/>
                    <a:pt x="398449" y="7995"/>
                  </a:cubicBezTo>
                  <a:cubicBezTo>
                    <a:pt x="401000" y="7995"/>
                    <a:pt x="449401" y="7995"/>
                    <a:pt x="451952" y="7995"/>
                  </a:cubicBezTo>
                  <a:cubicBezTo>
                    <a:pt x="451952" y="6203"/>
                    <a:pt x="451952" y="1792"/>
                    <a:pt x="451952" y="0"/>
                  </a:cubicBezTo>
                  <a:cubicBezTo>
                    <a:pt x="449332" y="0"/>
                    <a:pt x="401000" y="0"/>
                    <a:pt x="398449" y="0"/>
                  </a:cubicBezTo>
                  <a:close/>
                  <a:moveTo>
                    <a:pt x="317849" y="0"/>
                  </a:moveTo>
                  <a:cubicBezTo>
                    <a:pt x="317849" y="1792"/>
                    <a:pt x="317849" y="6203"/>
                    <a:pt x="317849" y="7995"/>
                  </a:cubicBezTo>
                  <a:cubicBezTo>
                    <a:pt x="320400" y="7995"/>
                    <a:pt x="368801" y="7995"/>
                    <a:pt x="371352" y="7995"/>
                  </a:cubicBezTo>
                  <a:cubicBezTo>
                    <a:pt x="371352" y="6203"/>
                    <a:pt x="371352" y="1792"/>
                    <a:pt x="371352" y="0"/>
                  </a:cubicBezTo>
                  <a:cubicBezTo>
                    <a:pt x="368801" y="0"/>
                    <a:pt x="320400" y="0"/>
                    <a:pt x="317849" y="0"/>
                  </a:cubicBezTo>
                  <a:close/>
                  <a:moveTo>
                    <a:pt x="237249" y="0"/>
                  </a:moveTo>
                  <a:cubicBezTo>
                    <a:pt x="237249" y="1792"/>
                    <a:pt x="237249" y="6203"/>
                    <a:pt x="237249" y="7995"/>
                  </a:cubicBezTo>
                  <a:cubicBezTo>
                    <a:pt x="239800" y="7995"/>
                    <a:pt x="288201" y="7995"/>
                    <a:pt x="290753" y="7995"/>
                  </a:cubicBezTo>
                  <a:cubicBezTo>
                    <a:pt x="290753" y="6203"/>
                    <a:pt x="290753" y="1792"/>
                    <a:pt x="290753" y="0"/>
                  </a:cubicBezTo>
                  <a:cubicBezTo>
                    <a:pt x="288201" y="0"/>
                    <a:pt x="239869" y="0"/>
                    <a:pt x="237249" y="0"/>
                  </a:cubicBezTo>
                  <a:close/>
                  <a:moveTo>
                    <a:pt x="156718" y="0"/>
                  </a:moveTo>
                  <a:cubicBezTo>
                    <a:pt x="156718" y="1792"/>
                    <a:pt x="156718" y="6203"/>
                    <a:pt x="156718" y="7995"/>
                  </a:cubicBezTo>
                  <a:cubicBezTo>
                    <a:pt x="159269" y="7995"/>
                    <a:pt x="207671" y="7995"/>
                    <a:pt x="210222" y="7995"/>
                  </a:cubicBezTo>
                  <a:cubicBezTo>
                    <a:pt x="210222" y="6203"/>
                    <a:pt x="210222" y="1792"/>
                    <a:pt x="210222" y="0"/>
                  </a:cubicBezTo>
                  <a:cubicBezTo>
                    <a:pt x="207602" y="0"/>
                    <a:pt x="159269" y="0"/>
                    <a:pt x="156718" y="0"/>
                  </a:cubicBezTo>
                  <a:close/>
                  <a:moveTo>
                    <a:pt x="76118" y="0"/>
                  </a:moveTo>
                  <a:cubicBezTo>
                    <a:pt x="76118" y="1792"/>
                    <a:pt x="76118" y="6203"/>
                    <a:pt x="76118" y="7995"/>
                  </a:cubicBezTo>
                  <a:cubicBezTo>
                    <a:pt x="78669" y="7995"/>
                    <a:pt x="127071" y="7995"/>
                    <a:pt x="129622" y="7995"/>
                  </a:cubicBezTo>
                  <a:cubicBezTo>
                    <a:pt x="129622" y="6203"/>
                    <a:pt x="129622" y="1792"/>
                    <a:pt x="129622" y="0"/>
                  </a:cubicBezTo>
                  <a:cubicBezTo>
                    <a:pt x="127071" y="0"/>
                    <a:pt x="78669" y="0"/>
                    <a:pt x="76118" y="0"/>
                  </a:cubicBezTo>
                  <a:close/>
                  <a:moveTo>
                    <a:pt x="0" y="0"/>
                  </a:moveTo>
                  <a:cubicBezTo>
                    <a:pt x="0" y="1792"/>
                    <a:pt x="0" y="6203"/>
                    <a:pt x="0" y="7995"/>
                  </a:cubicBezTo>
                  <a:cubicBezTo>
                    <a:pt x="2551" y="7995"/>
                    <a:pt x="46540" y="7995"/>
                    <a:pt x="49091" y="7995"/>
                  </a:cubicBezTo>
                  <a:cubicBezTo>
                    <a:pt x="49091" y="6203"/>
                    <a:pt x="49091" y="1792"/>
                    <a:pt x="49091" y="0"/>
                  </a:cubicBezTo>
                  <a:cubicBezTo>
                    <a:pt x="46540" y="0"/>
                    <a:pt x="2551" y="0"/>
                    <a:pt x="0" y="0"/>
                  </a:cubicBezTo>
                  <a:close/>
                </a:path>
              </a:pathLst>
            </a:custGeom>
            <a:solidFill>
              <a:srgbClr val="E4E4E4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207112">
                <a:defRPr/>
              </a:pPr>
              <a:endParaRPr lang="nl-NL" sz="1359" kern="0" dirty="0">
                <a:solidFill>
                  <a:srgbClr val="7C7C7C"/>
                </a:solidFill>
                <a:latin typeface="Roboto Condensed"/>
              </a:endParaRPr>
            </a:p>
          </p:txBody>
        </p:sp>
        <p:sp>
          <p:nvSpPr>
            <p:cNvPr id="1170" name="Freeform 12">
              <a:extLst>
                <a:ext uri="{FF2B5EF4-FFF2-40B4-BE49-F238E27FC236}">
                  <a16:creationId xmlns:a16="http://schemas.microsoft.com/office/drawing/2014/main" id="{0C869ABC-1D7A-4344-4623-0F3D04187F8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28264" y="1563761"/>
              <a:ext cx="53503" cy="7995"/>
            </a:xfrm>
            <a:custGeom>
              <a:avLst/>
              <a:gdLst>
                <a:gd name="connsiteX0" fmla="*/ 0 w 53503"/>
                <a:gd name="connsiteY0" fmla="*/ 0 h 7995"/>
                <a:gd name="connsiteX1" fmla="*/ 0 w 53503"/>
                <a:gd name="connsiteY1" fmla="*/ 7995 h 7995"/>
                <a:gd name="connsiteX2" fmla="*/ 53503 w 53503"/>
                <a:gd name="connsiteY2" fmla="*/ 7995 h 7995"/>
                <a:gd name="connsiteX3" fmla="*/ 53503 w 53503"/>
                <a:gd name="connsiteY3" fmla="*/ 0 h 7995"/>
                <a:gd name="connsiteX4" fmla="*/ 0 w 53503"/>
                <a:gd name="connsiteY4" fmla="*/ 0 h 7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503" h="7995">
                  <a:moveTo>
                    <a:pt x="0" y="0"/>
                  </a:moveTo>
                  <a:cubicBezTo>
                    <a:pt x="0" y="1792"/>
                    <a:pt x="0" y="6203"/>
                    <a:pt x="0" y="7995"/>
                  </a:cubicBezTo>
                  <a:cubicBezTo>
                    <a:pt x="2551" y="7995"/>
                    <a:pt x="50952" y="7995"/>
                    <a:pt x="53503" y="7995"/>
                  </a:cubicBezTo>
                  <a:cubicBezTo>
                    <a:pt x="53503" y="6203"/>
                    <a:pt x="53503" y="1792"/>
                    <a:pt x="53503" y="0"/>
                  </a:cubicBezTo>
                  <a:cubicBezTo>
                    <a:pt x="50952" y="0"/>
                    <a:pt x="2551" y="0"/>
                    <a:pt x="0" y="0"/>
                  </a:cubicBezTo>
                  <a:close/>
                </a:path>
              </a:pathLst>
            </a:custGeom>
            <a:solidFill>
              <a:srgbClr val="E4E4E4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207112">
                <a:defRPr/>
              </a:pPr>
              <a:endParaRPr lang="nl-NL" sz="1359" kern="0" dirty="0">
                <a:solidFill>
                  <a:srgbClr val="7C7C7C"/>
                </a:solidFill>
                <a:latin typeface="Roboto Condensed"/>
              </a:endParaRPr>
            </a:p>
          </p:txBody>
        </p:sp>
        <p:grpSp>
          <p:nvGrpSpPr>
            <p:cNvPr id="1171" name="Graphic 4">
              <a:extLst>
                <a:ext uri="{FF2B5EF4-FFF2-40B4-BE49-F238E27FC236}">
                  <a16:creationId xmlns:a16="http://schemas.microsoft.com/office/drawing/2014/main" id="{80C3D40A-0D48-57A8-7BA5-C04DC42F9771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15508" y="1463821"/>
              <a:ext cx="1362269" cy="207807"/>
              <a:chOff x="515508" y="1463821"/>
              <a:chExt cx="1362269" cy="207807"/>
            </a:xfrm>
            <a:solidFill>
              <a:srgbClr val="E4E4E4"/>
            </a:solidFill>
          </p:grpSpPr>
          <p:sp>
            <p:nvSpPr>
              <p:cNvPr id="1172" name="Freeform 14">
                <a:extLst>
                  <a:ext uri="{FF2B5EF4-FFF2-40B4-BE49-F238E27FC236}">
                    <a16:creationId xmlns:a16="http://schemas.microsoft.com/office/drawing/2014/main" id="{37A5A93A-C6A3-BBB1-5B1C-7F1983E4FB18}"/>
                  </a:ext>
                </a:extLst>
              </p:cNvPr>
              <p:cNvSpPr/>
              <p:nvPr/>
            </p:nvSpPr>
            <p:spPr>
              <a:xfrm>
                <a:off x="515508" y="1663357"/>
                <a:ext cx="1362269" cy="8270"/>
              </a:xfrm>
              <a:custGeom>
                <a:avLst/>
                <a:gdLst>
                  <a:gd name="connsiteX0" fmla="*/ 0 w 1362269"/>
                  <a:gd name="connsiteY0" fmla="*/ 0 h 8270"/>
                  <a:gd name="connsiteX1" fmla="*/ 1362269 w 1362269"/>
                  <a:gd name="connsiteY1" fmla="*/ 0 h 8270"/>
                  <a:gd name="connsiteX2" fmla="*/ 1362269 w 1362269"/>
                  <a:gd name="connsiteY2" fmla="*/ 8271 h 8270"/>
                  <a:gd name="connsiteX3" fmla="*/ 0 w 1362269"/>
                  <a:gd name="connsiteY3" fmla="*/ 8271 h 8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62269" h="8270">
                    <a:moveTo>
                      <a:pt x="0" y="0"/>
                    </a:moveTo>
                    <a:lnTo>
                      <a:pt x="1362269" y="0"/>
                    </a:lnTo>
                    <a:lnTo>
                      <a:pt x="1362269" y="8271"/>
                    </a:lnTo>
                    <a:lnTo>
                      <a:pt x="0" y="8271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207112">
                  <a:defRPr/>
                </a:pPr>
                <a:endParaRPr lang="nl-NL" sz="1359" kern="0" dirty="0">
                  <a:solidFill>
                    <a:srgbClr val="7C7C7C"/>
                  </a:solidFill>
                  <a:latin typeface="Roboto Condensed"/>
                </a:endParaRPr>
              </a:p>
            </p:txBody>
          </p:sp>
          <p:sp>
            <p:nvSpPr>
              <p:cNvPr id="1173" name="Freeform 15">
                <a:extLst>
                  <a:ext uri="{FF2B5EF4-FFF2-40B4-BE49-F238E27FC236}">
                    <a16:creationId xmlns:a16="http://schemas.microsoft.com/office/drawing/2014/main" id="{B9AA78C7-2D0B-B8E8-95E7-88227E18DCC4}"/>
                  </a:ext>
                </a:extLst>
              </p:cNvPr>
              <p:cNvSpPr/>
              <p:nvPr/>
            </p:nvSpPr>
            <p:spPr>
              <a:xfrm>
                <a:off x="515508" y="1463821"/>
                <a:ext cx="1362269" cy="8270"/>
              </a:xfrm>
              <a:custGeom>
                <a:avLst/>
                <a:gdLst>
                  <a:gd name="connsiteX0" fmla="*/ 0 w 1362269"/>
                  <a:gd name="connsiteY0" fmla="*/ 0 h 8270"/>
                  <a:gd name="connsiteX1" fmla="*/ 1362269 w 1362269"/>
                  <a:gd name="connsiteY1" fmla="*/ 0 h 8270"/>
                  <a:gd name="connsiteX2" fmla="*/ 1362269 w 1362269"/>
                  <a:gd name="connsiteY2" fmla="*/ 8271 h 8270"/>
                  <a:gd name="connsiteX3" fmla="*/ 0 w 1362269"/>
                  <a:gd name="connsiteY3" fmla="*/ 8271 h 8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62269" h="8270">
                    <a:moveTo>
                      <a:pt x="0" y="0"/>
                    </a:moveTo>
                    <a:lnTo>
                      <a:pt x="1362269" y="0"/>
                    </a:lnTo>
                    <a:lnTo>
                      <a:pt x="1362269" y="8271"/>
                    </a:lnTo>
                    <a:lnTo>
                      <a:pt x="0" y="8271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207112">
                  <a:defRPr/>
                </a:pPr>
                <a:endParaRPr lang="nl-NL" sz="1359" kern="0" dirty="0">
                  <a:solidFill>
                    <a:srgbClr val="7C7C7C"/>
                  </a:solidFill>
                  <a:latin typeface="Roboto Condensed"/>
                </a:endParaRPr>
              </a:p>
            </p:txBody>
          </p:sp>
        </p:grpSp>
      </p:grpSp>
      <p:grpSp>
        <p:nvGrpSpPr>
          <p:cNvPr id="1174" name="Group 1173">
            <a:extLst>
              <a:ext uri="{FF2B5EF4-FFF2-40B4-BE49-F238E27FC236}">
                <a16:creationId xmlns:a16="http://schemas.microsoft.com/office/drawing/2014/main" id="{91DF4E34-5178-BF89-40CE-C04A70B7595C}"/>
              </a:ext>
            </a:extLst>
          </p:cNvPr>
          <p:cNvGrpSpPr>
            <a:grpSpLocks noChangeAspect="1"/>
          </p:cNvGrpSpPr>
          <p:nvPr/>
        </p:nvGrpSpPr>
        <p:grpSpPr>
          <a:xfrm>
            <a:off x="2915017" y="555590"/>
            <a:ext cx="1647268" cy="592066"/>
            <a:chOff x="515508" y="1450725"/>
            <a:chExt cx="1362269" cy="233999"/>
          </a:xfrm>
        </p:grpSpPr>
        <p:sp>
          <p:nvSpPr>
            <p:cNvPr id="1175" name="Freeform 9">
              <a:extLst>
                <a:ext uri="{FF2B5EF4-FFF2-40B4-BE49-F238E27FC236}">
                  <a16:creationId xmlns:a16="http://schemas.microsoft.com/office/drawing/2014/main" id="{0BE0A505-98DA-6376-91F9-BAC68EBD947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15508" y="1450725"/>
              <a:ext cx="1362269" cy="233999"/>
            </a:xfrm>
            <a:custGeom>
              <a:avLst/>
              <a:gdLst>
                <a:gd name="connsiteX0" fmla="*/ 0 w 1362269"/>
                <a:gd name="connsiteY0" fmla="*/ 0 h 233999"/>
                <a:gd name="connsiteX1" fmla="*/ 1362269 w 1362269"/>
                <a:gd name="connsiteY1" fmla="*/ 0 h 233999"/>
                <a:gd name="connsiteX2" fmla="*/ 1362269 w 1362269"/>
                <a:gd name="connsiteY2" fmla="*/ 233999 h 233999"/>
                <a:gd name="connsiteX3" fmla="*/ 0 w 1362269"/>
                <a:gd name="connsiteY3" fmla="*/ 233999 h 233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2269" h="233999">
                  <a:moveTo>
                    <a:pt x="0" y="0"/>
                  </a:moveTo>
                  <a:lnTo>
                    <a:pt x="1362269" y="0"/>
                  </a:lnTo>
                  <a:lnTo>
                    <a:pt x="1362269" y="233999"/>
                  </a:lnTo>
                  <a:lnTo>
                    <a:pt x="0" y="233999"/>
                  </a:lnTo>
                  <a:close/>
                </a:path>
              </a:pathLst>
            </a:custGeom>
            <a:solidFill>
              <a:srgbClr val="60B3BB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207112">
                <a:defRPr/>
              </a:pPr>
              <a:endParaRPr lang="nl-NL" sz="1359" kern="0" dirty="0">
                <a:solidFill>
                  <a:srgbClr val="7C7C7C"/>
                </a:solidFill>
                <a:latin typeface="Roboto Condensed"/>
              </a:endParaRPr>
            </a:p>
          </p:txBody>
        </p:sp>
        <p:sp>
          <p:nvSpPr>
            <p:cNvPr id="1176" name="Freeform 10">
              <a:extLst>
                <a:ext uri="{FF2B5EF4-FFF2-40B4-BE49-F238E27FC236}">
                  <a16:creationId xmlns:a16="http://schemas.microsoft.com/office/drawing/2014/main" id="{ABF84BE8-4622-CBA0-EA55-D201C6B8D8B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53801" y="1563761"/>
              <a:ext cx="613152" cy="7995"/>
            </a:xfrm>
            <a:custGeom>
              <a:avLst/>
              <a:gdLst>
                <a:gd name="connsiteX0" fmla="*/ 559649 w 613152"/>
                <a:gd name="connsiteY0" fmla="*/ 0 h 7995"/>
                <a:gd name="connsiteX1" fmla="*/ 559649 w 613152"/>
                <a:gd name="connsiteY1" fmla="*/ 7995 h 7995"/>
                <a:gd name="connsiteX2" fmla="*/ 613152 w 613152"/>
                <a:gd name="connsiteY2" fmla="*/ 7995 h 7995"/>
                <a:gd name="connsiteX3" fmla="*/ 613152 w 613152"/>
                <a:gd name="connsiteY3" fmla="*/ 0 h 7995"/>
                <a:gd name="connsiteX4" fmla="*/ 559649 w 613152"/>
                <a:gd name="connsiteY4" fmla="*/ 0 h 7995"/>
                <a:gd name="connsiteX5" fmla="*/ 479049 w 613152"/>
                <a:gd name="connsiteY5" fmla="*/ 0 h 7995"/>
                <a:gd name="connsiteX6" fmla="*/ 479049 w 613152"/>
                <a:gd name="connsiteY6" fmla="*/ 7995 h 7995"/>
                <a:gd name="connsiteX7" fmla="*/ 532552 w 613152"/>
                <a:gd name="connsiteY7" fmla="*/ 7995 h 7995"/>
                <a:gd name="connsiteX8" fmla="*/ 532552 w 613152"/>
                <a:gd name="connsiteY8" fmla="*/ 0 h 7995"/>
                <a:gd name="connsiteX9" fmla="*/ 479049 w 613152"/>
                <a:gd name="connsiteY9" fmla="*/ 0 h 7995"/>
                <a:gd name="connsiteX10" fmla="*/ 398449 w 613152"/>
                <a:gd name="connsiteY10" fmla="*/ 0 h 7995"/>
                <a:gd name="connsiteX11" fmla="*/ 398449 w 613152"/>
                <a:gd name="connsiteY11" fmla="*/ 7995 h 7995"/>
                <a:gd name="connsiteX12" fmla="*/ 451952 w 613152"/>
                <a:gd name="connsiteY12" fmla="*/ 7995 h 7995"/>
                <a:gd name="connsiteX13" fmla="*/ 451952 w 613152"/>
                <a:gd name="connsiteY13" fmla="*/ 0 h 7995"/>
                <a:gd name="connsiteX14" fmla="*/ 398449 w 613152"/>
                <a:gd name="connsiteY14" fmla="*/ 0 h 7995"/>
                <a:gd name="connsiteX15" fmla="*/ 317918 w 613152"/>
                <a:gd name="connsiteY15" fmla="*/ 0 h 7995"/>
                <a:gd name="connsiteX16" fmla="*/ 317918 w 613152"/>
                <a:gd name="connsiteY16" fmla="*/ 7995 h 7995"/>
                <a:gd name="connsiteX17" fmla="*/ 371421 w 613152"/>
                <a:gd name="connsiteY17" fmla="*/ 7995 h 7995"/>
                <a:gd name="connsiteX18" fmla="*/ 371421 w 613152"/>
                <a:gd name="connsiteY18" fmla="*/ 0 h 7995"/>
                <a:gd name="connsiteX19" fmla="*/ 317918 w 613152"/>
                <a:gd name="connsiteY19" fmla="*/ 0 h 7995"/>
                <a:gd name="connsiteX20" fmla="*/ 237318 w 613152"/>
                <a:gd name="connsiteY20" fmla="*/ 0 h 7995"/>
                <a:gd name="connsiteX21" fmla="*/ 237318 w 613152"/>
                <a:gd name="connsiteY21" fmla="*/ 7995 h 7995"/>
                <a:gd name="connsiteX22" fmla="*/ 290822 w 613152"/>
                <a:gd name="connsiteY22" fmla="*/ 7995 h 7995"/>
                <a:gd name="connsiteX23" fmla="*/ 290822 w 613152"/>
                <a:gd name="connsiteY23" fmla="*/ 0 h 7995"/>
                <a:gd name="connsiteX24" fmla="*/ 237318 w 613152"/>
                <a:gd name="connsiteY24" fmla="*/ 0 h 7995"/>
                <a:gd name="connsiteX25" fmla="*/ 156787 w 613152"/>
                <a:gd name="connsiteY25" fmla="*/ 0 h 7995"/>
                <a:gd name="connsiteX26" fmla="*/ 156787 w 613152"/>
                <a:gd name="connsiteY26" fmla="*/ 7995 h 7995"/>
                <a:gd name="connsiteX27" fmla="*/ 210291 w 613152"/>
                <a:gd name="connsiteY27" fmla="*/ 7995 h 7995"/>
                <a:gd name="connsiteX28" fmla="*/ 210291 w 613152"/>
                <a:gd name="connsiteY28" fmla="*/ 0 h 7995"/>
                <a:gd name="connsiteX29" fmla="*/ 156787 w 613152"/>
                <a:gd name="connsiteY29" fmla="*/ 0 h 7995"/>
                <a:gd name="connsiteX30" fmla="*/ 76187 w 613152"/>
                <a:gd name="connsiteY30" fmla="*/ 0 h 7995"/>
                <a:gd name="connsiteX31" fmla="*/ 76187 w 613152"/>
                <a:gd name="connsiteY31" fmla="*/ 7995 h 7995"/>
                <a:gd name="connsiteX32" fmla="*/ 129691 w 613152"/>
                <a:gd name="connsiteY32" fmla="*/ 7995 h 7995"/>
                <a:gd name="connsiteX33" fmla="*/ 129691 w 613152"/>
                <a:gd name="connsiteY33" fmla="*/ 0 h 7995"/>
                <a:gd name="connsiteX34" fmla="*/ 76187 w 613152"/>
                <a:gd name="connsiteY34" fmla="*/ 0 h 7995"/>
                <a:gd name="connsiteX35" fmla="*/ 0 w 613152"/>
                <a:gd name="connsiteY35" fmla="*/ 0 h 7995"/>
                <a:gd name="connsiteX36" fmla="*/ 0 w 613152"/>
                <a:gd name="connsiteY36" fmla="*/ 7995 h 7995"/>
                <a:gd name="connsiteX37" fmla="*/ 49091 w 613152"/>
                <a:gd name="connsiteY37" fmla="*/ 7995 h 7995"/>
                <a:gd name="connsiteX38" fmla="*/ 49091 w 613152"/>
                <a:gd name="connsiteY38" fmla="*/ 0 h 7995"/>
                <a:gd name="connsiteX39" fmla="*/ 0 w 613152"/>
                <a:gd name="connsiteY39" fmla="*/ 0 h 7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613152" h="7995">
                  <a:moveTo>
                    <a:pt x="559649" y="0"/>
                  </a:moveTo>
                  <a:cubicBezTo>
                    <a:pt x="559649" y="1792"/>
                    <a:pt x="559649" y="6203"/>
                    <a:pt x="559649" y="7995"/>
                  </a:cubicBezTo>
                  <a:cubicBezTo>
                    <a:pt x="562200" y="7995"/>
                    <a:pt x="610601" y="7995"/>
                    <a:pt x="613152" y="7995"/>
                  </a:cubicBezTo>
                  <a:cubicBezTo>
                    <a:pt x="613152" y="6203"/>
                    <a:pt x="613152" y="1792"/>
                    <a:pt x="613152" y="0"/>
                  </a:cubicBezTo>
                  <a:cubicBezTo>
                    <a:pt x="610532" y="0"/>
                    <a:pt x="562200" y="0"/>
                    <a:pt x="559649" y="0"/>
                  </a:cubicBezTo>
                  <a:close/>
                  <a:moveTo>
                    <a:pt x="479049" y="0"/>
                  </a:moveTo>
                  <a:cubicBezTo>
                    <a:pt x="479049" y="1792"/>
                    <a:pt x="479049" y="6203"/>
                    <a:pt x="479049" y="7995"/>
                  </a:cubicBezTo>
                  <a:cubicBezTo>
                    <a:pt x="481600" y="7995"/>
                    <a:pt x="530001" y="7995"/>
                    <a:pt x="532552" y="7995"/>
                  </a:cubicBezTo>
                  <a:cubicBezTo>
                    <a:pt x="532552" y="6203"/>
                    <a:pt x="532552" y="1792"/>
                    <a:pt x="532552" y="0"/>
                  </a:cubicBezTo>
                  <a:cubicBezTo>
                    <a:pt x="530001" y="0"/>
                    <a:pt x="481600" y="0"/>
                    <a:pt x="479049" y="0"/>
                  </a:cubicBezTo>
                  <a:close/>
                  <a:moveTo>
                    <a:pt x="398449" y="0"/>
                  </a:moveTo>
                  <a:cubicBezTo>
                    <a:pt x="398449" y="1792"/>
                    <a:pt x="398449" y="6203"/>
                    <a:pt x="398449" y="7995"/>
                  </a:cubicBezTo>
                  <a:cubicBezTo>
                    <a:pt x="401000" y="7995"/>
                    <a:pt x="449401" y="7995"/>
                    <a:pt x="451952" y="7995"/>
                  </a:cubicBezTo>
                  <a:cubicBezTo>
                    <a:pt x="451952" y="6203"/>
                    <a:pt x="451952" y="1792"/>
                    <a:pt x="451952" y="0"/>
                  </a:cubicBezTo>
                  <a:cubicBezTo>
                    <a:pt x="449401" y="0"/>
                    <a:pt x="401069" y="0"/>
                    <a:pt x="398449" y="0"/>
                  </a:cubicBezTo>
                  <a:close/>
                  <a:moveTo>
                    <a:pt x="317918" y="0"/>
                  </a:moveTo>
                  <a:cubicBezTo>
                    <a:pt x="317918" y="1792"/>
                    <a:pt x="317918" y="6203"/>
                    <a:pt x="317918" y="7995"/>
                  </a:cubicBezTo>
                  <a:cubicBezTo>
                    <a:pt x="320469" y="7995"/>
                    <a:pt x="368870" y="7995"/>
                    <a:pt x="371421" y="7995"/>
                  </a:cubicBezTo>
                  <a:cubicBezTo>
                    <a:pt x="371421" y="6203"/>
                    <a:pt x="371421" y="1792"/>
                    <a:pt x="371421" y="0"/>
                  </a:cubicBezTo>
                  <a:cubicBezTo>
                    <a:pt x="368801" y="0"/>
                    <a:pt x="320469" y="0"/>
                    <a:pt x="317918" y="0"/>
                  </a:cubicBezTo>
                  <a:close/>
                  <a:moveTo>
                    <a:pt x="237318" y="0"/>
                  </a:moveTo>
                  <a:cubicBezTo>
                    <a:pt x="237318" y="1792"/>
                    <a:pt x="237318" y="6203"/>
                    <a:pt x="237318" y="7995"/>
                  </a:cubicBezTo>
                  <a:cubicBezTo>
                    <a:pt x="239869" y="7995"/>
                    <a:pt x="288270" y="7995"/>
                    <a:pt x="290822" y="7995"/>
                  </a:cubicBezTo>
                  <a:cubicBezTo>
                    <a:pt x="290822" y="6203"/>
                    <a:pt x="290822" y="1792"/>
                    <a:pt x="290822" y="0"/>
                  </a:cubicBezTo>
                  <a:cubicBezTo>
                    <a:pt x="288270" y="0"/>
                    <a:pt x="239869" y="0"/>
                    <a:pt x="237318" y="0"/>
                  </a:cubicBezTo>
                  <a:close/>
                  <a:moveTo>
                    <a:pt x="156787" y="0"/>
                  </a:moveTo>
                  <a:cubicBezTo>
                    <a:pt x="156787" y="1792"/>
                    <a:pt x="156787" y="6203"/>
                    <a:pt x="156787" y="7995"/>
                  </a:cubicBezTo>
                  <a:cubicBezTo>
                    <a:pt x="159338" y="7995"/>
                    <a:pt x="207740" y="7995"/>
                    <a:pt x="210291" y="7995"/>
                  </a:cubicBezTo>
                  <a:cubicBezTo>
                    <a:pt x="210291" y="6203"/>
                    <a:pt x="210291" y="1792"/>
                    <a:pt x="210291" y="0"/>
                  </a:cubicBezTo>
                  <a:cubicBezTo>
                    <a:pt x="207671" y="0"/>
                    <a:pt x="159338" y="0"/>
                    <a:pt x="156787" y="0"/>
                  </a:cubicBezTo>
                  <a:close/>
                  <a:moveTo>
                    <a:pt x="76187" y="0"/>
                  </a:moveTo>
                  <a:cubicBezTo>
                    <a:pt x="76187" y="1792"/>
                    <a:pt x="76187" y="6203"/>
                    <a:pt x="76187" y="7995"/>
                  </a:cubicBezTo>
                  <a:cubicBezTo>
                    <a:pt x="78738" y="7995"/>
                    <a:pt x="127140" y="7995"/>
                    <a:pt x="129691" y="7995"/>
                  </a:cubicBezTo>
                  <a:cubicBezTo>
                    <a:pt x="129691" y="6203"/>
                    <a:pt x="129691" y="1792"/>
                    <a:pt x="129691" y="0"/>
                  </a:cubicBezTo>
                  <a:cubicBezTo>
                    <a:pt x="127071" y="0"/>
                    <a:pt x="78738" y="0"/>
                    <a:pt x="76187" y="0"/>
                  </a:cubicBezTo>
                  <a:close/>
                  <a:moveTo>
                    <a:pt x="0" y="0"/>
                  </a:moveTo>
                  <a:cubicBezTo>
                    <a:pt x="0" y="1792"/>
                    <a:pt x="0" y="6203"/>
                    <a:pt x="0" y="7995"/>
                  </a:cubicBezTo>
                  <a:cubicBezTo>
                    <a:pt x="2551" y="7995"/>
                    <a:pt x="46540" y="7995"/>
                    <a:pt x="49091" y="7995"/>
                  </a:cubicBezTo>
                  <a:cubicBezTo>
                    <a:pt x="49091" y="6203"/>
                    <a:pt x="49091" y="1792"/>
                    <a:pt x="49091" y="0"/>
                  </a:cubicBezTo>
                  <a:cubicBezTo>
                    <a:pt x="46540" y="0"/>
                    <a:pt x="2551" y="0"/>
                    <a:pt x="0" y="0"/>
                  </a:cubicBezTo>
                  <a:close/>
                </a:path>
              </a:pathLst>
            </a:custGeom>
            <a:solidFill>
              <a:srgbClr val="E4E4E4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207112">
                <a:defRPr/>
              </a:pPr>
              <a:endParaRPr lang="nl-NL" sz="1359" kern="0" dirty="0">
                <a:solidFill>
                  <a:srgbClr val="7C7C7C"/>
                </a:solidFill>
                <a:latin typeface="Roboto Condensed"/>
              </a:endParaRPr>
            </a:p>
          </p:txBody>
        </p:sp>
        <p:sp>
          <p:nvSpPr>
            <p:cNvPr id="1177" name="Freeform 11">
              <a:extLst>
                <a:ext uri="{FF2B5EF4-FFF2-40B4-BE49-F238E27FC236}">
                  <a16:creationId xmlns:a16="http://schemas.microsoft.com/office/drawing/2014/main" id="{9E3619F4-2798-A957-21B6-E03D6472E15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13207" y="1563761"/>
              <a:ext cx="613083" cy="7995"/>
            </a:xfrm>
            <a:custGeom>
              <a:avLst/>
              <a:gdLst>
                <a:gd name="connsiteX0" fmla="*/ 559580 w 613083"/>
                <a:gd name="connsiteY0" fmla="*/ 0 h 7995"/>
                <a:gd name="connsiteX1" fmla="*/ 559580 w 613083"/>
                <a:gd name="connsiteY1" fmla="*/ 7995 h 7995"/>
                <a:gd name="connsiteX2" fmla="*/ 613083 w 613083"/>
                <a:gd name="connsiteY2" fmla="*/ 7995 h 7995"/>
                <a:gd name="connsiteX3" fmla="*/ 613083 w 613083"/>
                <a:gd name="connsiteY3" fmla="*/ 0 h 7995"/>
                <a:gd name="connsiteX4" fmla="*/ 559580 w 613083"/>
                <a:gd name="connsiteY4" fmla="*/ 0 h 7995"/>
                <a:gd name="connsiteX5" fmla="*/ 478980 w 613083"/>
                <a:gd name="connsiteY5" fmla="*/ 0 h 7995"/>
                <a:gd name="connsiteX6" fmla="*/ 478980 w 613083"/>
                <a:gd name="connsiteY6" fmla="*/ 7995 h 7995"/>
                <a:gd name="connsiteX7" fmla="*/ 532483 w 613083"/>
                <a:gd name="connsiteY7" fmla="*/ 7995 h 7995"/>
                <a:gd name="connsiteX8" fmla="*/ 532483 w 613083"/>
                <a:gd name="connsiteY8" fmla="*/ 0 h 7995"/>
                <a:gd name="connsiteX9" fmla="*/ 478980 w 613083"/>
                <a:gd name="connsiteY9" fmla="*/ 0 h 7995"/>
                <a:gd name="connsiteX10" fmla="*/ 398449 w 613083"/>
                <a:gd name="connsiteY10" fmla="*/ 0 h 7995"/>
                <a:gd name="connsiteX11" fmla="*/ 398449 w 613083"/>
                <a:gd name="connsiteY11" fmla="*/ 7995 h 7995"/>
                <a:gd name="connsiteX12" fmla="*/ 451952 w 613083"/>
                <a:gd name="connsiteY12" fmla="*/ 7995 h 7995"/>
                <a:gd name="connsiteX13" fmla="*/ 451952 w 613083"/>
                <a:gd name="connsiteY13" fmla="*/ 0 h 7995"/>
                <a:gd name="connsiteX14" fmla="*/ 398449 w 613083"/>
                <a:gd name="connsiteY14" fmla="*/ 0 h 7995"/>
                <a:gd name="connsiteX15" fmla="*/ 317849 w 613083"/>
                <a:gd name="connsiteY15" fmla="*/ 0 h 7995"/>
                <a:gd name="connsiteX16" fmla="*/ 317849 w 613083"/>
                <a:gd name="connsiteY16" fmla="*/ 7995 h 7995"/>
                <a:gd name="connsiteX17" fmla="*/ 371352 w 613083"/>
                <a:gd name="connsiteY17" fmla="*/ 7995 h 7995"/>
                <a:gd name="connsiteX18" fmla="*/ 371352 w 613083"/>
                <a:gd name="connsiteY18" fmla="*/ 0 h 7995"/>
                <a:gd name="connsiteX19" fmla="*/ 317849 w 613083"/>
                <a:gd name="connsiteY19" fmla="*/ 0 h 7995"/>
                <a:gd name="connsiteX20" fmla="*/ 237249 w 613083"/>
                <a:gd name="connsiteY20" fmla="*/ 0 h 7995"/>
                <a:gd name="connsiteX21" fmla="*/ 237249 w 613083"/>
                <a:gd name="connsiteY21" fmla="*/ 7995 h 7995"/>
                <a:gd name="connsiteX22" fmla="*/ 290753 w 613083"/>
                <a:gd name="connsiteY22" fmla="*/ 7995 h 7995"/>
                <a:gd name="connsiteX23" fmla="*/ 290753 w 613083"/>
                <a:gd name="connsiteY23" fmla="*/ 0 h 7995"/>
                <a:gd name="connsiteX24" fmla="*/ 237249 w 613083"/>
                <a:gd name="connsiteY24" fmla="*/ 0 h 7995"/>
                <a:gd name="connsiteX25" fmla="*/ 156718 w 613083"/>
                <a:gd name="connsiteY25" fmla="*/ 0 h 7995"/>
                <a:gd name="connsiteX26" fmla="*/ 156718 w 613083"/>
                <a:gd name="connsiteY26" fmla="*/ 7995 h 7995"/>
                <a:gd name="connsiteX27" fmla="*/ 210222 w 613083"/>
                <a:gd name="connsiteY27" fmla="*/ 7995 h 7995"/>
                <a:gd name="connsiteX28" fmla="*/ 210222 w 613083"/>
                <a:gd name="connsiteY28" fmla="*/ 0 h 7995"/>
                <a:gd name="connsiteX29" fmla="*/ 156718 w 613083"/>
                <a:gd name="connsiteY29" fmla="*/ 0 h 7995"/>
                <a:gd name="connsiteX30" fmla="*/ 76118 w 613083"/>
                <a:gd name="connsiteY30" fmla="*/ 0 h 7995"/>
                <a:gd name="connsiteX31" fmla="*/ 76118 w 613083"/>
                <a:gd name="connsiteY31" fmla="*/ 7995 h 7995"/>
                <a:gd name="connsiteX32" fmla="*/ 129622 w 613083"/>
                <a:gd name="connsiteY32" fmla="*/ 7995 h 7995"/>
                <a:gd name="connsiteX33" fmla="*/ 129622 w 613083"/>
                <a:gd name="connsiteY33" fmla="*/ 0 h 7995"/>
                <a:gd name="connsiteX34" fmla="*/ 76118 w 613083"/>
                <a:gd name="connsiteY34" fmla="*/ 0 h 7995"/>
                <a:gd name="connsiteX35" fmla="*/ 0 w 613083"/>
                <a:gd name="connsiteY35" fmla="*/ 0 h 7995"/>
                <a:gd name="connsiteX36" fmla="*/ 0 w 613083"/>
                <a:gd name="connsiteY36" fmla="*/ 7995 h 7995"/>
                <a:gd name="connsiteX37" fmla="*/ 49091 w 613083"/>
                <a:gd name="connsiteY37" fmla="*/ 7995 h 7995"/>
                <a:gd name="connsiteX38" fmla="*/ 49091 w 613083"/>
                <a:gd name="connsiteY38" fmla="*/ 0 h 7995"/>
                <a:gd name="connsiteX39" fmla="*/ 0 w 613083"/>
                <a:gd name="connsiteY39" fmla="*/ 0 h 7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613083" h="7995">
                  <a:moveTo>
                    <a:pt x="559580" y="0"/>
                  </a:moveTo>
                  <a:cubicBezTo>
                    <a:pt x="559580" y="1792"/>
                    <a:pt x="559580" y="6203"/>
                    <a:pt x="559580" y="7995"/>
                  </a:cubicBezTo>
                  <a:cubicBezTo>
                    <a:pt x="562131" y="7995"/>
                    <a:pt x="610532" y="7995"/>
                    <a:pt x="613083" y="7995"/>
                  </a:cubicBezTo>
                  <a:cubicBezTo>
                    <a:pt x="613083" y="6203"/>
                    <a:pt x="613083" y="1792"/>
                    <a:pt x="613083" y="0"/>
                  </a:cubicBezTo>
                  <a:cubicBezTo>
                    <a:pt x="610532" y="0"/>
                    <a:pt x="562131" y="0"/>
                    <a:pt x="559580" y="0"/>
                  </a:cubicBezTo>
                  <a:close/>
                  <a:moveTo>
                    <a:pt x="478980" y="0"/>
                  </a:moveTo>
                  <a:cubicBezTo>
                    <a:pt x="478980" y="1792"/>
                    <a:pt x="478980" y="6203"/>
                    <a:pt x="478980" y="7995"/>
                  </a:cubicBezTo>
                  <a:cubicBezTo>
                    <a:pt x="481531" y="7995"/>
                    <a:pt x="529932" y="7995"/>
                    <a:pt x="532483" y="7995"/>
                  </a:cubicBezTo>
                  <a:cubicBezTo>
                    <a:pt x="532483" y="6203"/>
                    <a:pt x="532483" y="1792"/>
                    <a:pt x="532483" y="0"/>
                  </a:cubicBezTo>
                  <a:cubicBezTo>
                    <a:pt x="529932" y="0"/>
                    <a:pt x="481531" y="0"/>
                    <a:pt x="478980" y="0"/>
                  </a:cubicBezTo>
                  <a:close/>
                  <a:moveTo>
                    <a:pt x="398449" y="0"/>
                  </a:moveTo>
                  <a:cubicBezTo>
                    <a:pt x="398449" y="1792"/>
                    <a:pt x="398449" y="6203"/>
                    <a:pt x="398449" y="7995"/>
                  </a:cubicBezTo>
                  <a:cubicBezTo>
                    <a:pt x="401000" y="7995"/>
                    <a:pt x="449401" y="7995"/>
                    <a:pt x="451952" y="7995"/>
                  </a:cubicBezTo>
                  <a:cubicBezTo>
                    <a:pt x="451952" y="6203"/>
                    <a:pt x="451952" y="1792"/>
                    <a:pt x="451952" y="0"/>
                  </a:cubicBezTo>
                  <a:cubicBezTo>
                    <a:pt x="449332" y="0"/>
                    <a:pt x="401000" y="0"/>
                    <a:pt x="398449" y="0"/>
                  </a:cubicBezTo>
                  <a:close/>
                  <a:moveTo>
                    <a:pt x="317849" y="0"/>
                  </a:moveTo>
                  <a:cubicBezTo>
                    <a:pt x="317849" y="1792"/>
                    <a:pt x="317849" y="6203"/>
                    <a:pt x="317849" y="7995"/>
                  </a:cubicBezTo>
                  <a:cubicBezTo>
                    <a:pt x="320400" y="7995"/>
                    <a:pt x="368801" y="7995"/>
                    <a:pt x="371352" y="7995"/>
                  </a:cubicBezTo>
                  <a:cubicBezTo>
                    <a:pt x="371352" y="6203"/>
                    <a:pt x="371352" y="1792"/>
                    <a:pt x="371352" y="0"/>
                  </a:cubicBezTo>
                  <a:cubicBezTo>
                    <a:pt x="368801" y="0"/>
                    <a:pt x="320400" y="0"/>
                    <a:pt x="317849" y="0"/>
                  </a:cubicBezTo>
                  <a:close/>
                  <a:moveTo>
                    <a:pt x="237249" y="0"/>
                  </a:moveTo>
                  <a:cubicBezTo>
                    <a:pt x="237249" y="1792"/>
                    <a:pt x="237249" y="6203"/>
                    <a:pt x="237249" y="7995"/>
                  </a:cubicBezTo>
                  <a:cubicBezTo>
                    <a:pt x="239800" y="7995"/>
                    <a:pt x="288201" y="7995"/>
                    <a:pt x="290753" y="7995"/>
                  </a:cubicBezTo>
                  <a:cubicBezTo>
                    <a:pt x="290753" y="6203"/>
                    <a:pt x="290753" y="1792"/>
                    <a:pt x="290753" y="0"/>
                  </a:cubicBezTo>
                  <a:cubicBezTo>
                    <a:pt x="288201" y="0"/>
                    <a:pt x="239869" y="0"/>
                    <a:pt x="237249" y="0"/>
                  </a:cubicBezTo>
                  <a:close/>
                  <a:moveTo>
                    <a:pt x="156718" y="0"/>
                  </a:moveTo>
                  <a:cubicBezTo>
                    <a:pt x="156718" y="1792"/>
                    <a:pt x="156718" y="6203"/>
                    <a:pt x="156718" y="7995"/>
                  </a:cubicBezTo>
                  <a:cubicBezTo>
                    <a:pt x="159269" y="7995"/>
                    <a:pt x="207671" y="7995"/>
                    <a:pt x="210222" y="7995"/>
                  </a:cubicBezTo>
                  <a:cubicBezTo>
                    <a:pt x="210222" y="6203"/>
                    <a:pt x="210222" y="1792"/>
                    <a:pt x="210222" y="0"/>
                  </a:cubicBezTo>
                  <a:cubicBezTo>
                    <a:pt x="207602" y="0"/>
                    <a:pt x="159269" y="0"/>
                    <a:pt x="156718" y="0"/>
                  </a:cubicBezTo>
                  <a:close/>
                  <a:moveTo>
                    <a:pt x="76118" y="0"/>
                  </a:moveTo>
                  <a:cubicBezTo>
                    <a:pt x="76118" y="1792"/>
                    <a:pt x="76118" y="6203"/>
                    <a:pt x="76118" y="7995"/>
                  </a:cubicBezTo>
                  <a:cubicBezTo>
                    <a:pt x="78669" y="7995"/>
                    <a:pt x="127071" y="7995"/>
                    <a:pt x="129622" y="7995"/>
                  </a:cubicBezTo>
                  <a:cubicBezTo>
                    <a:pt x="129622" y="6203"/>
                    <a:pt x="129622" y="1792"/>
                    <a:pt x="129622" y="0"/>
                  </a:cubicBezTo>
                  <a:cubicBezTo>
                    <a:pt x="127071" y="0"/>
                    <a:pt x="78669" y="0"/>
                    <a:pt x="76118" y="0"/>
                  </a:cubicBezTo>
                  <a:close/>
                  <a:moveTo>
                    <a:pt x="0" y="0"/>
                  </a:moveTo>
                  <a:cubicBezTo>
                    <a:pt x="0" y="1792"/>
                    <a:pt x="0" y="6203"/>
                    <a:pt x="0" y="7995"/>
                  </a:cubicBezTo>
                  <a:cubicBezTo>
                    <a:pt x="2551" y="7995"/>
                    <a:pt x="46540" y="7995"/>
                    <a:pt x="49091" y="7995"/>
                  </a:cubicBezTo>
                  <a:cubicBezTo>
                    <a:pt x="49091" y="6203"/>
                    <a:pt x="49091" y="1792"/>
                    <a:pt x="49091" y="0"/>
                  </a:cubicBezTo>
                  <a:cubicBezTo>
                    <a:pt x="46540" y="0"/>
                    <a:pt x="2551" y="0"/>
                    <a:pt x="0" y="0"/>
                  </a:cubicBezTo>
                  <a:close/>
                </a:path>
              </a:pathLst>
            </a:custGeom>
            <a:solidFill>
              <a:srgbClr val="E4E4E4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207112">
                <a:defRPr/>
              </a:pPr>
              <a:endParaRPr lang="nl-NL" sz="1359" kern="0" dirty="0">
                <a:solidFill>
                  <a:srgbClr val="7C7C7C"/>
                </a:solidFill>
                <a:latin typeface="Roboto Condensed"/>
              </a:endParaRPr>
            </a:p>
          </p:txBody>
        </p:sp>
        <p:sp>
          <p:nvSpPr>
            <p:cNvPr id="1178" name="Freeform 12">
              <a:extLst>
                <a:ext uri="{FF2B5EF4-FFF2-40B4-BE49-F238E27FC236}">
                  <a16:creationId xmlns:a16="http://schemas.microsoft.com/office/drawing/2014/main" id="{2875AB50-C34E-9D52-EC55-5ADB13E8438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28264" y="1563761"/>
              <a:ext cx="53503" cy="7995"/>
            </a:xfrm>
            <a:custGeom>
              <a:avLst/>
              <a:gdLst>
                <a:gd name="connsiteX0" fmla="*/ 0 w 53503"/>
                <a:gd name="connsiteY0" fmla="*/ 0 h 7995"/>
                <a:gd name="connsiteX1" fmla="*/ 0 w 53503"/>
                <a:gd name="connsiteY1" fmla="*/ 7995 h 7995"/>
                <a:gd name="connsiteX2" fmla="*/ 53503 w 53503"/>
                <a:gd name="connsiteY2" fmla="*/ 7995 h 7995"/>
                <a:gd name="connsiteX3" fmla="*/ 53503 w 53503"/>
                <a:gd name="connsiteY3" fmla="*/ 0 h 7995"/>
                <a:gd name="connsiteX4" fmla="*/ 0 w 53503"/>
                <a:gd name="connsiteY4" fmla="*/ 0 h 7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503" h="7995">
                  <a:moveTo>
                    <a:pt x="0" y="0"/>
                  </a:moveTo>
                  <a:cubicBezTo>
                    <a:pt x="0" y="1792"/>
                    <a:pt x="0" y="6203"/>
                    <a:pt x="0" y="7995"/>
                  </a:cubicBezTo>
                  <a:cubicBezTo>
                    <a:pt x="2551" y="7995"/>
                    <a:pt x="50952" y="7995"/>
                    <a:pt x="53503" y="7995"/>
                  </a:cubicBezTo>
                  <a:cubicBezTo>
                    <a:pt x="53503" y="6203"/>
                    <a:pt x="53503" y="1792"/>
                    <a:pt x="53503" y="0"/>
                  </a:cubicBezTo>
                  <a:cubicBezTo>
                    <a:pt x="50952" y="0"/>
                    <a:pt x="2551" y="0"/>
                    <a:pt x="0" y="0"/>
                  </a:cubicBezTo>
                  <a:close/>
                </a:path>
              </a:pathLst>
            </a:custGeom>
            <a:solidFill>
              <a:srgbClr val="E4E4E4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207112">
                <a:defRPr/>
              </a:pPr>
              <a:endParaRPr lang="nl-NL" sz="1359" kern="0" dirty="0">
                <a:solidFill>
                  <a:srgbClr val="7C7C7C"/>
                </a:solidFill>
                <a:latin typeface="Roboto Condensed"/>
              </a:endParaRPr>
            </a:p>
          </p:txBody>
        </p:sp>
        <p:grpSp>
          <p:nvGrpSpPr>
            <p:cNvPr id="1179" name="Graphic 4">
              <a:extLst>
                <a:ext uri="{FF2B5EF4-FFF2-40B4-BE49-F238E27FC236}">
                  <a16:creationId xmlns:a16="http://schemas.microsoft.com/office/drawing/2014/main" id="{136F2CD2-D4CB-7009-184E-F658E68D3445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15508" y="1463821"/>
              <a:ext cx="1362269" cy="207807"/>
              <a:chOff x="515508" y="1463821"/>
              <a:chExt cx="1362269" cy="207807"/>
            </a:xfrm>
            <a:solidFill>
              <a:srgbClr val="E4E4E4"/>
            </a:solidFill>
          </p:grpSpPr>
          <p:sp>
            <p:nvSpPr>
              <p:cNvPr id="1180" name="Freeform 14">
                <a:extLst>
                  <a:ext uri="{FF2B5EF4-FFF2-40B4-BE49-F238E27FC236}">
                    <a16:creationId xmlns:a16="http://schemas.microsoft.com/office/drawing/2014/main" id="{7324897F-6894-09A7-DA49-063A071DD58B}"/>
                  </a:ext>
                </a:extLst>
              </p:cNvPr>
              <p:cNvSpPr/>
              <p:nvPr/>
            </p:nvSpPr>
            <p:spPr>
              <a:xfrm>
                <a:off x="515508" y="1663357"/>
                <a:ext cx="1362269" cy="8270"/>
              </a:xfrm>
              <a:custGeom>
                <a:avLst/>
                <a:gdLst>
                  <a:gd name="connsiteX0" fmla="*/ 0 w 1362269"/>
                  <a:gd name="connsiteY0" fmla="*/ 0 h 8270"/>
                  <a:gd name="connsiteX1" fmla="*/ 1362269 w 1362269"/>
                  <a:gd name="connsiteY1" fmla="*/ 0 h 8270"/>
                  <a:gd name="connsiteX2" fmla="*/ 1362269 w 1362269"/>
                  <a:gd name="connsiteY2" fmla="*/ 8271 h 8270"/>
                  <a:gd name="connsiteX3" fmla="*/ 0 w 1362269"/>
                  <a:gd name="connsiteY3" fmla="*/ 8271 h 8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62269" h="8270">
                    <a:moveTo>
                      <a:pt x="0" y="0"/>
                    </a:moveTo>
                    <a:lnTo>
                      <a:pt x="1362269" y="0"/>
                    </a:lnTo>
                    <a:lnTo>
                      <a:pt x="1362269" y="8271"/>
                    </a:lnTo>
                    <a:lnTo>
                      <a:pt x="0" y="8271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207112">
                  <a:defRPr/>
                </a:pPr>
                <a:endParaRPr lang="nl-NL" sz="1359" kern="0" dirty="0">
                  <a:solidFill>
                    <a:srgbClr val="7C7C7C"/>
                  </a:solidFill>
                  <a:latin typeface="Roboto Condensed"/>
                </a:endParaRPr>
              </a:p>
            </p:txBody>
          </p:sp>
          <p:sp>
            <p:nvSpPr>
              <p:cNvPr id="1181" name="Freeform 15">
                <a:extLst>
                  <a:ext uri="{FF2B5EF4-FFF2-40B4-BE49-F238E27FC236}">
                    <a16:creationId xmlns:a16="http://schemas.microsoft.com/office/drawing/2014/main" id="{352DF577-072B-838D-7EEA-F18133166D5C}"/>
                  </a:ext>
                </a:extLst>
              </p:cNvPr>
              <p:cNvSpPr/>
              <p:nvPr/>
            </p:nvSpPr>
            <p:spPr>
              <a:xfrm>
                <a:off x="515508" y="1463821"/>
                <a:ext cx="1362269" cy="8270"/>
              </a:xfrm>
              <a:custGeom>
                <a:avLst/>
                <a:gdLst>
                  <a:gd name="connsiteX0" fmla="*/ 0 w 1362269"/>
                  <a:gd name="connsiteY0" fmla="*/ 0 h 8270"/>
                  <a:gd name="connsiteX1" fmla="*/ 1362269 w 1362269"/>
                  <a:gd name="connsiteY1" fmla="*/ 0 h 8270"/>
                  <a:gd name="connsiteX2" fmla="*/ 1362269 w 1362269"/>
                  <a:gd name="connsiteY2" fmla="*/ 8271 h 8270"/>
                  <a:gd name="connsiteX3" fmla="*/ 0 w 1362269"/>
                  <a:gd name="connsiteY3" fmla="*/ 8271 h 8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62269" h="8270">
                    <a:moveTo>
                      <a:pt x="0" y="0"/>
                    </a:moveTo>
                    <a:lnTo>
                      <a:pt x="1362269" y="0"/>
                    </a:lnTo>
                    <a:lnTo>
                      <a:pt x="1362269" y="8271"/>
                    </a:lnTo>
                    <a:lnTo>
                      <a:pt x="0" y="8271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207112">
                  <a:defRPr/>
                </a:pPr>
                <a:endParaRPr lang="nl-NL" sz="1359" kern="0" dirty="0">
                  <a:solidFill>
                    <a:srgbClr val="7C7C7C"/>
                  </a:solidFill>
                  <a:latin typeface="Roboto Condensed"/>
                </a:endParaRPr>
              </a:p>
            </p:txBody>
          </p:sp>
        </p:grpSp>
      </p:grpSp>
      <p:grpSp>
        <p:nvGrpSpPr>
          <p:cNvPr id="1182" name="Group 1181">
            <a:extLst>
              <a:ext uri="{FF2B5EF4-FFF2-40B4-BE49-F238E27FC236}">
                <a16:creationId xmlns:a16="http://schemas.microsoft.com/office/drawing/2014/main" id="{0F982ECC-28FF-94E9-D74E-2E42B07440FE}"/>
              </a:ext>
            </a:extLst>
          </p:cNvPr>
          <p:cNvGrpSpPr>
            <a:grpSpLocks noChangeAspect="1"/>
          </p:cNvGrpSpPr>
          <p:nvPr/>
        </p:nvGrpSpPr>
        <p:grpSpPr>
          <a:xfrm>
            <a:off x="4557240" y="555590"/>
            <a:ext cx="1647268" cy="592066"/>
            <a:chOff x="515508" y="1450725"/>
            <a:chExt cx="1362269" cy="233999"/>
          </a:xfrm>
        </p:grpSpPr>
        <p:sp>
          <p:nvSpPr>
            <p:cNvPr id="1183" name="Freeform 9">
              <a:extLst>
                <a:ext uri="{FF2B5EF4-FFF2-40B4-BE49-F238E27FC236}">
                  <a16:creationId xmlns:a16="http://schemas.microsoft.com/office/drawing/2014/main" id="{1D21552B-0AC0-842D-9F3B-22F3A4B4052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15508" y="1450725"/>
              <a:ext cx="1362269" cy="233999"/>
            </a:xfrm>
            <a:custGeom>
              <a:avLst/>
              <a:gdLst>
                <a:gd name="connsiteX0" fmla="*/ 0 w 1362269"/>
                <a:gd name="connsiteY0" fmla="*/ 0 h 233999"/>
                <a:gd name="connsiteX1" fmla="*/ 1362269 w 1362269"/>
                <a:gd name="connsiteY1" fmla="*/ 0 h 233999"/>
                <a:gd name="connsiteX2" fmla="*/ 1362269 w 1362269"/>
                <a:gd name="connsiteY2" fmla="*/ 233999 h 233999"/>
                <a:gd name="connsiteX3" fmla="*/ 0 w 1362269"/>
                <a:gd name="connsiteY3" fmla="*/ 233999 h 233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2269" h="233999">
                  <a:moveTo>
                    <a:pt x="0" y="0"/>
                  </a:moveTo>
                  <a:lnTo>
                    <a:pt x="1362269" y="0"/>
                  </a:lnTo>
                  <a:lnTo>
                    <a:pt x="1362269" y="233999"/>
                  </a:lnTo>
                  <a:lnTo>
                    <a:pt x="0" y="233999"/>
                  </a:lnTo>
                  <a:close/>
                </a:path>
              </a:pathLst>
            </a:custGeom>
            <a:solidFill>
              <a:srgbClr val="60B3BB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207112">
                <a:defRPr/>
              </a:pPr>
              <a:endParaRPr lang="nl-NL" sz="1359" kern="0" dirty="0">
                <a:solidFill>
                  <a:srgbClr val="7C7C7C"/>
                </a:solidFill>
                <a:latin typeface="Roboto Condensed"/>
              </a:endParaRPr>
            </a:p>
          </p:txBody>
        </p:sp>
        <p:sp>
          <p:nvSpPr>
            <p:cNvPr id="1184" name="Freeform 10">
              <a:extLst>
                <a:ext uri="{FF2B5EF4-FFF2-40B4-BE49-F238E27FC236}">
                  <a16:creationId xmlns:a16="http://schemas.microsoft.com/office/drawing/2014/main" id="{F39703CC-55BC-655A-3655-4B48DF7432D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53801" y="1563761"/>
              <a:ext cx="613152" cy="7995"/>
            </a:xfrm>
            <a:custGeom>
              <a:avLst/>
              <a:gdLst>
                <a:gd name="connsiteX0" fmla="*/ 559649 w 613152"/>
                <a:gd name="connsiteY0" fmla="*/ 0 h 7995"/>
                <a:gd name="connsiteX1" fmla="*/ 559649 w 613152"/>
                <a:gd name="connsiteY1" fmla="*/ 7995 h 7995"/>
                <a:gd name="connsiteX2" fmla="*/ 613152 w 613152"/>
                <a:gd name="connsiteY2" fmla="*/ 7995 h 7995"/>
                <a:gd name="connsiteX3" fmla="*/ 613152 w 613152"/>
                <a:gd name="connsiteY3" fmla="*/ 0 h 7995"/>
                <a:gd name="connsiteX4" fmla="*/ 559649 w 613152"/>
                <a:gd name="connsiteY4" fmla="*/ 0 h 7995"/>
                <a:gd name="connsiteX5" fmla="*/ 479049 w 613152"/>
                <a:gd name="connsiteY5" fmla="*/ 0 h 7995"/>
                <a:gd name="connsiteX6" fmla="*/ 479049 w 613152"/>
                <a:gd name="connsiteY6" fmla="*/ 7995 h 7995"/>
                <a:gd name="connsiteX7" fmla="*/ 532552 w 613152"/>
                <a:gd name="connsiteY7" fmla="*/ 7995 h 7995"/>
                <a:gd name="connsiteX8" fmla="*/ 532552 w 613152"/>
                <a:gd name="connsiteY8" fmla="*/ 0 h 7995"/>
                <a:gd name="connsiteX9" fmla="*/ 479049 w 613152"/>
                <a:gd name="connsiteY9" fmla="*/ 0 h 7995"/>
                <a:gd name="connsiteX10" fmla="*/ 398449 w 613152"/>
                <a:gd name="connsiteY10" fmla="*/ 0 h 7995"/>
                <a:gd name="connsiteX11" fmla="*/ 398449 w 613152"/>
                <a:gd name="connsiteY11" fmla="*/ 7995 h 7995"/>
                <a:gd name="connsiteX12" fmla="*/ 451952 w 613152"/>
                <a:gd name="connsiteY12" fmla="*/ 7995 h 7995"/>
                <a:gd name="connsiteX13" fmla="*/ 451952 w 613152"/>
                <a:gd name="connsiteY13" fmla="*/ 0 h 7995"/>
                <a:gd name="connsiteX14" fmla="*/ 398449 w 613152"/>
                <a:gd name="connsiteY14" fmla="*/ 0 h 7995"/>
                <a:gd name="connsiteX15" fmla="*/ 317918 w 613152"/>
                <a:gd name="connsiteY15" fmla="*/ 0 h 7995"/>
                <a:gd name="connsiteX16" fmla="*/ 317918 w 613152"/>
                <a:gd name="connsiteY16" fmla="*/ 7995 h 7995"/>
                <a:gd name="connsiteX17" fmla="*/ 371421 w 613152"/>
                <a:gd name="connsiteY17" fmla="*/ 7995 h 7995"/>
                <a:gd name="connsiteX18" fmla="*/ 371421 w 613152"/>
                <a:gd name="connsiteY18" fmla="*/ 0 h 7995"/>
                <a:gd name="connsiteX19" fmla="*/ 317918 w 613152"/>
                <a:gd name="connsiteY19" fmla="*/ 0 h 7995"/>
                <a:gd name="connsiteX20" fmla="*/ 237318 w 613152"/>
                <a:gd name="connsiteY20" fmla="*/ 0 h 7995"/>
                <a:gd name="connsiteX21" fmla="*/ 237318 w 613152"/>
                <a:gd name="connsiteY21" fmla="*/ 7995 h 7995"/>
                <a:gd name="connsiteX22" fmla="*/ 290822 w 613152"/>
                <a:gd name="connsiteY22" fmla="*/ 7995 h 7995"/>
                <a:gd name="connsiteX23" fmla="*/ 290822 w 613152"/>
                <a:gd name="connsiteY23" fmla="*/ 0 h 7995"/>
                <a:gd name="connsiteX24" fmla="*/ 237318 w 613152"/>
                <a:gd name="connsiteY24" fmla="*/ 0 h 7995"/>
                <a:gd name="connsiteX25" fmla="*/ 156787 w 613152"/>
                <a:gd name="connsiteY25" fmla="*/ 0 h 7995"/>
                <a:gd name="connsiteX26" fmla="*/ 156787 w 613152"/>
                <a:gd name="connsiteY26" fmla="*/ 7995 h 7995"/>
                <a:gd name="connsiteX27" fmla="*/ 210291 w 613152"/>
                <a:gd name="connsiteY27" fmla="*/ 7995 h 7995"/>
                <a:gd name="connsiteX28" fmla="*/ 210291 w 613152"/>
                <a:gd name="connsiteY28" fmla="*/ 0 h 7995"/>
                <a:gd name="connsiteX29" fmla="*/ 156787 w 613152"/>
                <a:gd name="connsiteY29" fmla="*/ 0 h 7995"/>
                <a:gd name="connsiteX30" fmla="*/ 76187 w 613152"/>
                <a:gd name="connsiteY30" fmla="*/ 0 h 7995"/>
                <a:gd name="connsiteX31" fmla="*/ 76187 w 613152"/>
                <a:gd name="connsiteY31" fmla="*/ 7995 h 7995"/>
                <a:gd name="connsiteX32" fmla="*/ 129691 w 613152"/>
                <a:gd name="connsiteY32" fmla="*/ 7995 h 7995"/>
                <a:gd name="connsiteX33" fmla="*/ 129691 w 613152"/>
                <a:gd name="connsiteY33" fmla="*/ 0 h 7995"/>
                <a:gd name="connsiteX34" fmla="*/ 76187 w 613152"/>
                <a:gd name="connsiteY34" fmla="*/ 0 h 7995"/>
                <a:gd name="connsiteX35" fmla="*/ 0 w 613152"/>
                <a:gd name="connsiteY35" fmla="*/ 0 h 7995"/>
                <a:gd name="connsiteX36" fmla="*/ 0 w 613152"/>
                <a:gd name="connsiteY36" fmla="*/ 7995 h 7995"/>
                <a:gd name="connsiteX37" fmla="*/ 49091 w 613152"/>
                <a:gd name="connsiteY37" fmla="*/ 7995 h 7995"/>
                <a:gd name="connsiteX38" fmla="*/ 49091 w 613152"/>
                <a:gd name="connsiteY38" fmla="*/ 0 h 7995"/>
                <a:gd name="connsiteX39" fmla="*/ 0 w 613152"/>
                <a:gd name="connsiteY39" fmla="*/ 0 h 7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613152" h="7995">
                  <a:moveTo>
                    <a:pt x="559649" y="0"/>
                  </a:moveTo>
                  <a:cubicBezTo>
                    <a:pt x="559649" y="1792"/>
                    <a:pt x="559649" y="6203"/>
                    <a:pt x="559649" y="7995"/>
                  </a:cubicBezTo>
                  <a:cubicBezTo>
                    <a:pt x="562200" y="7995"/>
                    <a:pt x="610601" y="7995"/>
                    <a:pt x="613152" y="7995"/>
                  </a:cubicBezTo>
                  <a:cubicBezTo>
                    <a:pt x="613152" y="6203"/>
                    <a:pt x="613152" y="1792"/>
                    <a:pt x="613152" y="0"/>
                  </a:cubicBezTo>
                  <a:cubicBezTo>
                    <a:pt x="610532" y="0"/>
                    <a:pt x="562200" y="0"/>
                    <a:pt x="559649" y="0"/>
                  </a:cubicBezTo>
                  <a:close/>
                  <a:moveTo>
                    <a:pt x="479049" y="0"/>
                  </a:moveTo>
                  <a:cubicBezTo>
                    <a:pt x="479049" y="1792"/>
                    <a:pt x="479049" y="6203"/>
                    <a:pt x="479049" y="7995"/>
                  </a:cubicBezTo>
                  <a:cubicBezTo>
                    <a:pt x="481600" y="7995"/>
                    <a:pt x="530001" y="7995"/>
                    <a:pt x="532552" y="7995"/>
                  </a:cubicBezTo>
                  <a:cubicBezTo>
                    <a:pt x="532552" y="6203"/>
                    <a:pt x="532552" y="1792"/>
                    <a:pt x="532552" y="0"/>
                  </a:cubicBezTo>
                  <a:cubicBezTo>
                    <a:pt x="530001" y="0"/>
                    <a:pt x="481600" y="0"/>
                    <a:pt x="479049" y="0"/>
                  </a:cubicBezTo>
                  <a:close/>
                  <a:moveTo>
                    <a:pt x="398449" y="0"/>
                  </a:moveTo>
                  <a:cubicBezTo>
                    <a:pt x="398449" y="1792"/>
                    <a:pt x="398449" y="6203"/>
                    <a:pt x="398449" y="7995"/>
                  </a:cubicBezTo>
                  <a:cubicBezTo>
                    <a:pt x="401000" y="7995"/>
                    <a:pt x="449401" y="7995"/>
                    <a:pt x="451952" y="7995"/>
                  </a:cubicBezTo>
                  <a:cubicBezTo>
                    <a:pt x="451952" y="6203"/>
                    <a:pt x="451952" y="1792"/>
                    <a:pt x="451952" y="0"/>
                  </a:cubicBezTo>
                  <a:cubicBezTo>
                    <a:pt x="449401" y="0"/>
                    <a:pt x="401069" y="0"/>
                    <a:pt x="398449" y="0"/>
                  </a:cubicBezTo>
                  <a:close/>
                  <a:moveTo>
                    <a:pt x="317918" y="0"/>
                  </a:moveTo>
                  <a:cubicBezTo>
                    <a:pt x="317918" y="1792"/>
                    <a:pt x="317918" y="6203"/>
                    <a:pt x="317918" y="7995"/>
                  </a:cubicBezTo>
                  <a:cubicBezTo>
                    <a:pt x="320469" y="7995"/>
                    <a:pt x="368870" y="7995"/>
                    <a:pt x="371421" y="7995"/>
                  </a:cubicBezTo>
                  <a:cubicBezTo>
                    <a:pt x="371421" y="6203"/>
                    <a:pt x="371421" y="1792"/>
                    <a:pt x="371421" y="0"/>
                  </a:cubicBezTo>
                  <a:cubicBezTo>
                    <a:pt x="368801" y="0"/>
                    <a:pt x="320469" y="0"/>
                    <a:pt x="317918" y="0"/>
                  </a:cubicBezTo>
                  <a:close/>
                  <a:moveTo>
                    <a:pt x="237318" y="0"/>
                  </a:moveTo>
                  <a:cubicBezTo>
                    <a:pt x="237318" y="1792"/>
                    <a:pt x="237318" y="6203"/>
                    <a:pt x="237318" y="7995"/>
                  </a:cubicBezTo>
                  <a:cubicBezTo>
                    <a:pt x="239869" y="7995"/>
                    <a:pt x="288270" y="7995"/>
                    <a:pt x="290822" y="7995"/>
                  </a:cubicBezTo>
                  <a:cubicBezTo>
                    <a:pt x="290822" y="6203"/>
                    <a:pt x="290822" y="1792"/>
                    <a:pt x="290822" y="0"/>
                  </a:cubicBezTo>
                  <a:cubicBezTo>
                    <a:pt x="288270" y="0"/>
                    <a:pt x="239869" y="0"/>
                    <a:pt x="237318" y="0"/>
                  </a:cubicBezTo>
                  <a:close/>
                  <a:moveTo>
                    <a:pt x="156787" y="0"/>
                  </a:moveTo>
                  <a:cubicBezTo>
                    <a:pt x="156787" y="1792"/>
                    <a:pt x="156787" y="6203"/>
                    <a:pt x="156787" y="7995"/>
                  </a:cubicBezTo>
                  <a:cubicBezTo>
                    <a:pt x="159338" y="7995"/>
                    <a:pt x="207740" y="7995"/>
                    <a:pt x="210291" y="7995"/>
                  </a:cubicBezTo>
                  <a:cubicBezTo>
                    <a:pt x="210291" y="6203"/>
                    <a:pt x="210291" y="1792"/>
                    <a:pt x="210291" y="0"/>
                  </a:cubicBezTo>
                  <a:cubicBezTo>
                    <a:pt x="207671" y="0"/>
                    <a:pt x="159338" y="0"/>
                    <a:pt x="156787" y="0"/>
                  </a:cubicBezTo>
                  <a:close/>
                  <a:moveTo>
                    <a:pt x="76187" y="0"/>
                  </a:moveTo>
                  <a:cubicBezTo>
                    <a:pt x="76187" y="1792"/>
                    <a:pt x="76187" y="6203"/>
                    <a:pt x="76187" y="7995"/>
                  </a:cubicBezTo>
                  <a:cubicBezTo>
                    <a:pt x="78738" y="7995"/>
                    <a:pt x="127140" y="7995"/>
                    <a:pt x="129691" y="7995"/>
                  </a:cubicBezTo>
                  <a:cubicBezTo>
                    <a:pt x="129691" y="6203"/>
                    <a:pt x="129691" y="1792"/>
                    <a:pt x="129691" y="0"/>
                  </a:cubicBezTo>
                  <a:cubicBezTo>
                    <a:pt x="127071" y="0"/>
                    <a:pt x="78738" y="0"/>
                    <a:pt x="76187" y="0"/>
                  </a:cubicBezTo>
                  <a:close/>
                  <a:moveTo>
                    <a:pt x="0" y="0"/>
                  </a:moveTo>
                  <a:cubicBezTo>
                    <a:pt x="0" y="1792"/>
                    <a:pt x="0" y="6203"/>
                    <a:pt x="0" y="7995"/>
                  </a:cubicBezTo>
                  <a:cubicBezTo>
                    <a:pt x="2551" y="7995"/>
                    <a:pt x="46540" y="7995"/>
                    <a:pt x="49091" y="7995"/>
                  </a:cubicBezTo>
                  <a:cubicBezTo>
                    <a:pt x="49091" y="6203"/>
                    <a:pt x="49091" y="1792"/>
                    <a:pt x="49091" y="0"/>
                  </a:cubicBezTo>
                  <a:cubicBezTo>
                    <a:pt x="46540" y="0"/>
                    <a:pt x="2551" y="0"/>
                    <a:pt x="0" y="0"/>
                  </a:cubicBezTo>
                  <a:close/>
                </a:path>
              </a:pathLst>
            </a:custGeom>
            <a:solidFill>
              <a:srgbClr val="E4E4E4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207112">
                <a:defRPr/>
              </a:pPr>
              <a:endParaRPr lang="nl-NL" sz="1359" kern="0" dirty="0">
                <a:solidFill>
                  <a:srgbClr val="7C7C7C"/>
                </a:solidFill>
                <a:latin typeface="Roboto Condensed"/>
              </a:endParaRPr>
            </a:p>
          </p:txBody>
        </p:sp>
        <p:sp>
          <p:nvSpPr>
            <p:cNvPr id="1185" name="Freeform 11">
              <a:extLst>
                <a:ext uri="{FF2B5EF4-FFF2-40B4-BE49-F238E27FC236}">
                  <a16:creationId xmlns:a16="http://schemas.microsoft.com/office/drawing/2014/main" id="{8A326607-2FF6-16FA-BE60-63F180648CD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13207" y="1563761"/>
              <a:ext cx="613083" cy="7995"/>
            </a:xfrm>
            <a:custGeom>
              <a:avLst/>
              <a:gdLst>
                <a:gd name="connsiteX0" fmla="*/ 559580 w 613083"/>
                <a:gd name="connsiteY0" fmla="*/ 0 h 7995"/>
                <a:gd name="connsiteX1" fmla="*/ 559580 w 613083"/>
                <a:gd name="connsiteY1" fmla="*/ 7995 h 7995"/>
                <a:gd name="connsiteX2" fmla="*/ 613083 w 613083"/>
                <a:gd name="connsiteY2" fmla="*/ 7995 h 7995"/>
                <a:gd name="connsiteX3" fmla="*/ 613083 w 613083"/>
                <a:gd name="connsiteY3" fmla="*/ 0 h 7995"/>
                <a:gd name="connsiteX4" fmla="*/ 559580 w 613083"/>
                <a:gd name="connsiteY4" fmla="*/ 0 h 7995"/>
                <a:gd name="connsiteX5" fmla="*/ 478980 w 613083"/>
                <a:gd name="connsiteY5" fmla="*/ 0 h 7995"/>
                <a:gd name="connsiteX6" fmla="*/ 478980 w 613083"/>
                <a:gd name="connsiteY6" fmla="*/ 7995 h 7995"/>
                <a:gd name="connsiteX7" fmla="*/ 532483 w 613083"/>
                <a:gd name="connsiteY7" fmla="*/ 7995 h 7995"/>
                <a:gd name="connsiteX8" fmla="*/ 532483 w 613083"/>
                <a:gd name="connsiteY8" fmla="*/ 0 h 7995"/>
                <a:gd name="connsiteX9" fmla="*/ 478980 w 613083"/>
                <a:gd name="connsiteY9" fmla="*/ 0 h 7995"/>
                <a:gd name="connsiteX10" fmla="*/ 398449 w 613083"/>
                <a:gd name="connsiteY10" fmla="*/ 0 h 7995"/>
                <a:gd name="connsiteX11" fmla="*/ 398449 w 613083"/>
                <a:gd name="connsiteY11" fmla="*/ 7995 h 7995"/>
                <a:gd name="connsiteX12" fmla="*/ 451952 w 613083"/>
                <a:gd name="connsiteY12" fmla="*/ 7995 h 7995"/>
                <a:gd name="connsiteX13" fmla="*/ 451952 w 613083"/>
                <a:gd name="connsiteY13" fmla="*/ 0 h 7995"/>
                <a:gd name="connsiteX14" fmla="*/ 398449 w 613083"/>
                <a:gd name="connsiteY14" fmla="*/ 0 h 7995"/>
                <a:gd name="connsiteX15" fmla="*/ 317849 w 613083"/>
                <a:gd name="connsiteY15" fmla="*/ 0 h 7995"/>
                <a:gd name="connsiteX16" fmla="*/ 317849 w 613083"/>
                <a:gd name="connsiteY16" fmla="*/ 7995 h 7995"/>
                <a:gd name="connsiteX17" fmla="*/ 371352 w 613083"/>
                <a:gd name="connsiteY17" fmla="*/ 7995 h 7995"/>
                <a:gd name="connsiteX18" fmla="*/ 371352 w 613083"/>
                <a:gd name="connsiteY18" fmla="*/ 0 h 7995"/>
                <a:gd name="connsiteX19" fmla="*/ 317849 w 613083"/>
                <a:gd name="connsiteY19" fmla="*/ 0 h 7995"/>
                <a:gd name="connsiteX20" fmla="*/ 237249 w 613083"/>
                <a:gd name="connsiteY20" fmla="*/ 0 h 7995"/>
                <a:gd name="connsiteX21" fmla="*/ 237249 w 613083"/>
                <a:gd name="connsiteY21" fmla="*/ 7995 h 7995"/>
                <a:gd name="connsiteX22" fmla="*/ 290753 w 613083"/>
                <a:gd name="connsiteY22" fmla="*/ 7995 h 7995"/>
                <a:gd name="connsiteX23" fmla="*/ 290753 w 613083"/>
                <a:gd name="connsiteY23" fmla="*/ 0 h 7995"/>
                <a:gd name="connsiteX24" fmla="*/ 237249 w 613083"/>
                <a:gd name="connsiteY24" fmla="*/ 0 h 7995"/>
                <a:gd name="connsiteX25" fmla="*/ 156718 w 613083"/>
                <a:gd name="connsiteY25" fmla="*/ 0 h 7995"/>
                <a:gd name="connsiteX26" fmla="*/ 156718 w 613083"/>
                <a:gd name="connsiteY26" fmla="*/ 7995 h 7995"/>
                <a:gd name="connsiteX27" fmla="*/ 210222 w 613083"/>
                <a:gd name="connsiteY27" fmla="*/ 7995 h 7995"/>
                <a:gd name="connsiteX28" fmla="*/ 210222 w 613083"/>
                <a:gd name="connsiteY28" fmla="*/ 0 h 7995"/>
                <a:gd name="connsiteX29" fmla="*/ 156718 w 613083"/>
                <a:gd name="connsiteY29" fmla="*/ 0 h 7995"/>
                <a:gd name="connsiteX30" fmla="*/ 76118 w 613083"/>
                <a:gd name="connsiteY30" fmla="*/ 0 h 7995"/>
                <a:gd name="connsiteX31" fmla="*/ 76118 w 613083"/>
                <a:gd name="connsiteY31" fmla="*/ 7995 h 7995"/>
                <a:gd name="connsiteX32" fmla="*/ 129622 w 613083"/>
                <a:gd name="connsiteY32" fmla="*/ 7995 h 7995"/>
                <a:gd name="connsiteX33" fmla="*/ 129622 w 613083"/>
                <a:gd name="connsiteY33" fmla="*/ 0 h 7995"/>
                <a:gd name="connsiteX34" fmla="*/ 76118 w 613083"/>
                <a:gd name="connsiteY34" fmla="*/ 0 h 7995"/>
                <a:gd name="connsiteX35" fmla="*/ 0 w 613083"/>
                <a:gd name="connsiteY35" fmla="*/ 0 h 7995"/>
                <a:gd name="connsiteX36" fmla="*/ 0 w 613083"/>
                <a:gd name="connsiteY36" fmla="*/ 7995 h 7995"/>
                <a:gd name="connsiteX37" fmla="*/ 49091 w 613083"/>
                <a:gd name="connsiteY37" fmla="*/ 7995 h 7995"/>
                <a:gd name="connsiteX38" fmla="*/ 49091 w 613083"/>
                <a:gd name="connsiteY38" fmla="*/ 0 h 7995"/>
                <a:gd name="connsiteX39" fmla="*/ 0 w 613083"/>
                <a:gd name="connsiteY39" fmla="*/ 0 h 7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613083" h="7995">
                  <a:moveTo>
                    <a:pt x="559580" y="0"/>
                  </a:moveTo>
                  <a:cubicBezTo>
                    <a:pt x="559580" y="1792"/>
                    <a:pt x="559580" y="6203"/>
                    <a:pt x="559580" y="7995"/>
                  </a:cubicBezTo>
                  <a:cubicBezTo>
                    <a:pt x="562131" y="7995"/>
                    <a:pt x="610532" y="7995"/>
                    <a:pt x="613083" y="7995"/>
                  </a:cubicBezTo>
                  <a:cubicBezTo>
                    <a:pt x="613083" y="6203"/>
                    <a:pt x="613083" y="1792"/>
                    <a:pt x="613083" y="0"/>
                  </a:cubicBezTo>
                  <a:cubicBezTo>
                    <a:pt x="610532" y="0"/>
                    <a:pt x="562131" y="0"/>
                    <a:pt x="559580" y="0"/>
                  </a:cubicBezTo>
                  <a:close/>
                  <a:moveTo>
                    <a:pt x="478980" y="0"/>
                  </a:moveTo>
                  <a:cubicBezTo>
                    <a:pt x="478980" y="1792"/>
                    <a:pt x="478980" y="6203"/>
                    <a:pt x="478980" y="7995"/>
                  </a:cubicBezTo>
                  <a:cubicBezTo>
                    <a:pt x="481531" y="7995"/>
                    <a:pt x="529932" y="7995"/>
                    <a:pt x="532483" y="7995"/>
                  </a:cubicBezTo>
                  <a:cubicBezTo>
                    <a:pt x="532483" y="6203"/>
                    <a:pt x="532483" y="1792"/>
                    <a:pt x="532483" y="0"/>
                  </a:cubicBezTo>
                  <a:cubicBezTo>
                    <a:pt x="529932" y="0"/>
                    <a:pt x="481531" y="0"/>
                    <a:pt x="478980" y="0"/>
                  </a:cubicBezTo>
                  <a:close/>
                  <a:moveTo>
                    <a:pt x="398449" y="0"/>
                  </a:moveTo>
                  <a:cubicBezTo>
                    <a:pt x="398449" y="1792"/>
                    <a:pt x="398449" y="6203"/>
                    <a:pt x="398449" y="7995"/>
                  </a:cubicBezTo>
                  <a:cubicBezTo>
                    <a:pt x="401000" y="7995"/>
                    <a:pt x="449401" y="7995"/>
                    <a:pt x="451952" y="7995"/>
                  </a:cubicBezTo>
                  <a:cubicBezTo>
                    <a:pt x="451952" y="6203"/>
                    <a:pt x="451952" y="1792"/>
                    <a:pt x="451952" y="0"/>
                  </a:cubicBezTo>
                  <a:cubicBezTo>
                    <a:pt x="449332" y="0"/>
                    <a:pt x="401000" y="0"/>
                    <a:pt x="398449" y="0"/>
                  </a:cubicBezTo>
                  <a:close/>
                  <a:moveTo>
                    <a:pt x="317849" y="0"/>
                  </a:moveTo>
                  <a:cubicBezTo>
                    <a:pt x="317849" y="1792"/>
                    <a:pt x="317849" y="6203"/>
                    <a:pt x="317849" y="7995"/>
                  </a:cubicBezTo>
                  <a:cubicBezTo>
                    <a:pt x="320400" y="7995"/>
                    <a:pt x="368801" y="7995"/>
                    <a:pt x="371352" y="7995"/>
                  </a:cubicBezTo>
                  <a:cubicBezTo>
                    <a:pt x="371352" y="6203"/>
                    <a:pt x="371352" y="1792"/>
                    <a:pt x="371352" y="0"/>
                  </a:cubicBezTo>
                  <a:cubicBezTo>
                    <a:pt x="368801" y="0"/>
                    <a:pt x="320400" y="0"/>
                    <a:pt x="317849" y="0"/>
                  </a:cubicBezTo>
                  <a:close/>
                  <a:moveTo>
                    <a:pt x="237249" y="0"/>
                  </a:moveTo>
                  <a:cubicBezTo>
                    <a:pt x="237249" y="1792"/>
                    <a:pt x="237249" y="6203"/>
                    <a:pt x="237249" y="7995"/>
                  </a:cubicBezTo>
                  <a:cubicBezTo>
                    <a:pt x="239800" y="7995"/>
                    <a:pt x="288201" y="7995"/>
                    <a:pt x="290753" y="7995"/>
                  </a:cubicBezTo>
                  <a:cubicBezTo>
                    <a:pt x="290753" y="6203"/>
                    <a:pt x="290753" y="1792"/>
                    <a:pt x="290753" y="0"/>
                  </a:cubicBezTo>
                  <a:cubicBezTo>
                    <a:pt x="288201" y="0"/>
                    <a:pt x="239869" y="0"/>
                    <a:pt x="237249" y="0"/>
                  </a:cubicBezTo>
                  <a:close/>
                  <a:moveTo>
                    <a:pt x="156718" y="0"/>
                  </a:moveTo>
                  <a:cubicBezTo>
                    <a:pt x="156718" y="1792"/>
                    <a:pt x="156718" y="6203"/>
                    <a:pt x="156718" y="7995"/>
                  </a:cubicBezTo>
                  <a:cubicBezTo>
                    <a:pt x="159269" y="7995"/>
                    <a:pt x="207671" y="7995"/>
                    <a:pt x="210222" y="7995"/>
                  </a:cubicBezTo>
                  <a:cubicBezTo>
                    <a:pt x="210222" y="6203"/>
                    <a:pt x="210222" y="1792"/>
                    <a:pt x="210222" y="0"/>
                  </a:cubicBezTo>
                  <a:cubicBezTo>
                    <a:pt x="207602" y="0"/>
                    <a:pt x="159269" y="0"/>
                    <a:pt x="156718" y="0"/>
                  </a:cubicBezTo>
                  <a:close/>
                  <a:moveTo>
                    <a:pt x="76118" y="0"/>
                  </a:moveTo>
                  <a:cubicBezTo>
                    <a:pt x="76118" y="1792"/>
                    <a:pt x="76118" y="6203"/>
                    <a:pt x="76118" y="7995"/>
                  </a:cubicBezTo>
                  <a:cubicBezTo>
                    <a:pt x="78669" y="7995"/>
                    <a:pt x="127071" y="7995"/>
                    <a:pt x="129622" y="7995"/>
                  </a:cubicBezTo>
                  <a:cubicBezTo>
                    <a:pt x="129622" y="6203"/>
                    <a:pt x="129622" y="1792"/>
                    <a:pt x="129622" y="0"/>
                  </a:cubicBezTo>
                  <a:cubicBezTo>
                    <a:pt x="127071" y="0"/>
                    <a:pt x="78669" y="0"/>
                    <a:pt x="76118" y="0"/>
                  </a:cubicBezTo>
                  <a:close/>
                  <a:moveTo>
                    <a:pt x="0" y="0"/>
                  </a:moveTo>
                  <a:cubicBezTo>
                    <a:pt x="0" y="1792"/>
                    <a:pt x="0" y="6203"/>
                    <a:pt x="0" y="7995"/>
                  </a:cubicBezTo>
                  <a:cubicBezTo>
                    <a:pt x="2551" y="7995"/>
                    <a:pt x="46540" y="7995"/>
                    <a:pt x="49091" y="7995"/>
                  </a:cubicBezTo>
                  <a:cubicBezTo>
                    <a:pt x="49091" y="6203"/>
                    <a:pt x="49091" y="1792"/>
                    <a:pt x="49091" y="0"/>
                  </a:cubicBezTo>
                  <a:cubicBezTo>
                    <a:pt x="46540" y="0"/>
                    <a:pt x="2551" y="0"/>
                    <a:pt x="0" y="0"/>
                  </a:cubicBezTo>
                  <a:close/>
                </a:path>
              </a:pathLst>
            </a:custGeom>
            <a:solidFill>
              <a:srgbClr val="E4E4E4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207112">
                <a:defRPr/>
              </a:pPr>
              <a:endParaRPr lang="nl-NL" sz="1359" kern="0" dirty="0">
                <a:solidFill>
                  <a:srgbClr val="7C7C7C"/>
                </a:solidFill>
                <a:latin typeface="Roboto Condensed"/>
              </a:endParaRPr>
            </a:p>
          </p:txBody>
        </p:sp>
        <p:sp>
          <p:nvSpPr>
            <p:cNvPr id="1186" name="Freeform 12">
              <a:extLst>
                <a:ext uri="{FF2B5EF4-FFF2-40B4-BE49-F238E27FC236}">
                  <a16:creationId xmlns:a16="http://schemas.microsoft.com/office/drawing/2014/main" id="{7B981199-A5A8-EBA2-1EE8-758366E35E3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28264" y="1563761"/>
              <a:ext cx="53503" cy="7995"/>
            </a:xfrm>
            <a:custGeom>
              <a:avLst/>
              <a:gdLst>
                <a:gd name="connsiteX0" fmla="*/ 0 w 53503"/>
                <a:gd name="connsiteY0" fmla="*/ 0 h 7995"/>
                <a:gd name="connsiteX1" fmla="*/ 0 w 53503"/>
                <a:gd name="connsiteY1" fmla="*/ 7995 h 7995"/>
                <a:gd name="connsiteX2" fmla="*/ 53503 w 53503"/>
                <a:gd name="connsiteY2" fmla="*/ 7995 h 7995"/>
                <a:gd name="connsiteX3" fmla="*/ 53503 w 53503"/>
                <a:gd name="connsiteY3" fmla="*/ 0 h 7995"/>
                <a:gd name="connsiteX4" fmla="*/ 0 w 53503"/>
                <a:gd name="connsiteY4" fmla="*/ 0 h 7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503" h="7995">
                  <a:moveTo>
                    <a:pt x="0" y="0"/>
                  </a:moveTo>
                  <a:cubicBezTo>
                    <a:pt x="0" y="1792"/>
                    <a:pt x="0" y="6203"/>
                    <a:pt x="0" y="7995"/>
                  </a:cubicBezTo>
                  <a:cubicBezTo>
                    <a:pt x="2551" y="7995"/>
                    <a:pt x="50952" y="7995"/>
                    <a:pt x="53503" y="7995"/>
                  </a:cubicBezTo>
                  <a:cubicBezTo>
                    <a:pt x="53503" y="6203"/>
                    <a:pt x="53503" y="1792"/>
                    <a:pt x="53503" y="0"/>
                  </a:cubicBezTo>
                  <a:cubicBezTo>
                    <a:pt x="50952" y="0"/>
                    <a:pt x="2551" y="0"/>
                    <a:pt x="0" y="0"/>
                  </a:cubicBezTo>
                  <a:close/>
                </a:path>
              </a:pathLst>
            </a:custGeom>
            <a:solidFill>
              <a:srgbClr val="E4E4E4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207112">
                <a:defRPr/>
              </a:pPr>
              <a:endParaRPr lang="nl-NL" sz="1359" kern="0" dirty="0">
                <a:solidFill>
                  <a:srgbClr val="7C7C7C"/>
                </a:solidFill>
                <a:latin typeface="Roboto Condensed"/>
              </a:endParaRPr>
            </a:p>
          </p:txBody>
        </p:sp>
        <p:grpSp>
          <p:nvGrpSpPr>
            <p:cNvPr id="1187" name="Graphic 4">
              <a:extLst>
                <a:ext uri="{FF2B5EF4-FFF2-40B4-BE49-F238E27FC236}">
                  <a16:creationId xmlns:a16="http://schemas.microsoft.com/office/drawing/2014/main" id="{B9C43F88-358A-801C-6709-290776E90127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15508" y="1463821"/>
              <a:ext cx="1362269" cy="207807"/>
              <a:chOff x="515508" y="1463821"/>
              <a:chExt cx="1362269" cy="207807"/>
            </a:xfrm>
            <a:solidFill>
              <a:srgbClr val="E4E4E4"/>
            </a:solidFill>
          </p:grpSpPr>
          <p:sp>
            <p:nvSpPr>
              <p:cNvPr id="1188" name="Freeform 14">
                <a:extLst>
                  <a:ext uri="{FF2B5EF4-FFF2-40B4-BE49-F238E27FC236}">
                    <a16:creationId xmlns:a16="http://schemas.microsoft.com/office/drawing/2014/main" id="{79B32221-D580-FF84-33B5-DC944F6FCB4D}"/>
                  </a:ext>
                </a:extLst>
              </p:cNvPr>
              <p:cNvSpPr/>
              <p:nvPr/>
            </p:nvSpPr>
            <p:spPr>
              <a:xfrm>
                <a:off x="515508" y="1663357"/>
                <a:ext cx="1362269" cy="8270"/>
              </a:xfrm>
              <a:custGeom>
                <a:avLst/>
                <a:gdLst>
                  <a:gd name="connsiteX0" fmla="*/ 0 w 1362269"/>
                  <a:gd name="connsiteY0" fmla="*/ 0 h 8270"/>
                  <a:gd name="connsiteX1" fmla="*/ 1362269 w 1362269"/>
                  <a:gd name="connsiteY1" fmla="*/ 0 h 8270"/>
                  <a:gd name="connsiteX2" fmla="*/ 1362269 w 1362269"/>
                  <a:gd name="connsiteY2" fmla="*/ 8271 h 8270"/>
                  <a:gd name="connsiteX3" fmla="*/ 0 w 1362269"/>
                  <a:gd name="connsiteY3" fmla="*/ 8271 h 8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62269" h="8270">
                    <a:moveTo>
                      <a:pt x="0" y="0"/>
                    </a:moveTo>
                    <a:lnTo>
                      <a:pt x="1362269" y="0"/>
                    </a:lnTo>
                    <a:lnTo>
                      <a:pt x="1362269" y="8271"/>
                    </a:lnTo>
                    <a:lnTo>
                      <a:pt x="0" y="8271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207112">
                  <a:defRPr/>
                </a:pPr>
                <a:endParaRPr lang="nl-NL" sz="1359" kern="0" dirty="0">
                  <a:solidFill>
                    <a:srgbClr val="7C7C7C"/>
                  </a:solidFill>
                  <a:latin typeface="Roboto Condensed"/>
                </a:endParaRPr>
              </a:p>
            </p:txBody>
          </p:sp>
          <p:sp>
            <p:nvSpPr>
              <p:cNvPr id="1189" name="Freeform 15">
                <a:extLst>
                  <a:ext uri="{FF2B5EF4-FFF2-40B4-BE49-F238E27FC236}">
                    <a16:creationId xmlns:a16="http://schemas.microsoft.com/office/drawing/2014/main" id="{4DDA8EA7-2776-CD17-467B-BD6346FF853E}"/>
                  </a:ext>
                </a:extLst>
              </p:cNvPr>
              <p:cNvSpPr/>
              <p:nvPr/>
            </p:nvSpPr>
            <p:spPr>
              <a:xfrm>
                <a:off x="515508" y="1463821"/>
                <a:ext cx="1362269" cy="8270"/>
              </a:xfrm>
              <a:custGeom>
                <a:avLst/>
                <a:gdLst>
                  <a:gd name="connsiteX0" fmla="*/ 0 w 1362269"/>
                  <a:gd name="connsiteY0" fmla="*/ 0 h 8270"/>
                  <a:gd name="connsiteX1" fmla="*/ 1362269 w 1362269"/>
                  <a:gd name="connsiteY1" fmla="*/ 0 h 8270"/>
                  <a:gd name="connsiteX2" fmla="*/ 1362269 w 1362269"/>
                  <a:gd name="connsiteY2" fmla="*/ 8271 h 8270"/>
                  <a:gd name="connsiteX3" fmla="*/ 0 w 1362269"/>
                  <a:gd name="connsiteY3" fmla="*/ 8271 h 8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62269" h="8270">
                    <a:moveTo>
                      <a:pt x="0" y="0"/>
                    </a:moveTo>
                    <a:lnTo>
                      <a:pt x="1362269" y="0"/>
                    </a:lnTo>
                    <a:lnTo>
                      <a:pt x="1362269" y="8271"/>
                    </a:lnTo>
                    <a:lnTo>
                      <a:pt x="0" y="8271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207112">
                  <a:defRPr/>
                </a:pPr>
                <a:endParaRPr lang="nl-NL" sz="1359" kern="0" dirty="0">
                  <a:solidFill>
                    <a:srgbClr val="7C7C7C"/>
                  </a:solidFill>
                  <a:latin typeface="Roboto Condensed"/>
                </a:endParaRPr>
              </a:p>
            </p:txBody>
          </p:sp>
        </p:grpSp>
      </p:grpSp>
      <p:grpSp>
        <p:nvGrpSpPr>
          <p:cNvPr id="1190" name="Group 1189">
            <a:extLst>
              <a:ext uri="{FF2B5EF4-FFF2-40B4-BE49-F238E27FC236}">
                <a16:creationId xmlns:a16="http://schemas.microsoft.com/office/drawing/2014/main" id="{2869BDC9-BC37-9BA0-4D65-72330B54A2DB}"/>
              </a:ext>
            </a:extLst>
          </p:cNvPr>
          <p:cNvGrpSpPr>
            <a:grpSpLocks noChangeAspect="1"/>
          </p:cNvGrpSpPr>
          <p:nvPr/>
        </p:nvGrpSpPr>
        <p:grpSpPr>
          <a:xfrm>
            <a:off x="6199464" y="555590"/>
            <a:ext cx="1647268" cy="592066"/>
            <a:chOff x="515508" y="1450725"/>
            <a:chExt cx="1362269" cy="233999"/>
          </a:xfrm>
        </p:grpSpPr>
        <p:sp>
          <p:nvSpPr>
            <p:cNvPr id="1191" name="Freeform 9">
              <a:extLst>
                <a:ext uri="{FF2B5EF4-FFF2-40B4-BE49-F238E27FC236}">
                  <a16:creationId xmlns:a16="http://schemas.microsoft.com/office/drawing/2014/main" id="{0B00396B-6B30-DC64-4B8F-0EE0644471B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15508" y="1450725"/>
              <a:ext cx="1362269" cy="233999"/>
            </a:xfrm>
            <a:custGeom>
              <a:avLst/>
              <a:gdLst>
                <a:gd name="connsiteX0" fmla="*/ 0 w 1362269"/>
                <a:gd name="connsiteY0" fmla="*/ 0 h 233999"/>
                <a:gd name="connsiteX1" fmla="*/ 1362269 w 1362269"/>
                <a:gd name="connsiteY1" fmla="*/ 0 h 233999"/>
                <a:gd name="connsiteX2" fmla="*/ 1362269 w 1362269"/>
                <a:gd name="connsiteY2" fmla="*/ 233999 h 233999"/>
                <a:gd name="connsiteX3" fmla="*/ 0 w 1362269"/>
                <a:gd name="connsiteY3" fmla="*/ 233999 h 233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2269" h="233999">
                  <a:moveTo>
                    <a:pt x="0" y="0"/>
                  </a:moveTo>
                  <a:lnTo>
                    <a:pt x="1362269" y="0"/>
                  </a:lnTo>
                  <a:lnTo>
                    <a:pt x="1362269" y="233999"/>
                  </a:lnTo>
                  <a:lnTo>
                    <a:pt x="0" y="233999"/>
                  </a:lnTo>
                  <a:close/>
                </a:path>
              </a:pathLst>
            </a:custGeom>
            <a:solidFill>
              <a:srgbClr val="60B3BB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207112">
                <a:defRPr/>
              </a:pPr>
              <a:endParaRPr lang="nl-NL" sz="1359" kern="0" dirty="0">
                <a:solidFill>
                  <a:srgbClr val="7C7C7C"/>
                </a:solidFill>
                <a:latin typeface="Roboto Condensed"/>
              </a:endParaRPr>
            </a:p>
          </p:txBody>
        </p:sp>
        <p:sp>
          <p:nvSpPr>
            <p:cNvPr id="1192" name="Freeform 10">
              <a:extLst>
                <a:ext uri="{FF2B5EF4-FFF2-40B4-BE49-F238E27FC236}">
                  <a16:creationId xmlns:a16="http://schemas.microsoft.com/office/drawing/2014/main" id="{0817A63F-10E4-80FB-DEF4-AC199BAEF66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53801" y="1563761"/>
              <a:ext cx="613152" cy="7995"/>
            </a:xfrm>
            <a:custGeom>
              <a:avLst/>
              <a:gdLst>
                <a:gd name="connsiteX0" fmla="*/ 559649 w 613152"/>
                <a:gd name="connsiteY0" fmla="*/ 0 h 7995"/>
                <a:gd name="connsiteX1" fmla="*/ 559649 w 613152"/>
                <a:gd name="connsiteY1" fmla="*/ 7995 h 7995"/>
                <a:gd name="connsiteX2" fmla="*/ 613152 w 613152"/>
                <a:gd name="connsiteY2" fmla="*/ 7995 h 7995"/>
                <a:gd name="connsiteX3" fmla="*/ 613152 w 613152"/>
                <a:gd name="connsiteY3" fmla="*/ 0 h 7995"/>
                <a:gd name="connsiteX4" fmla="*/ 559649 w 613152"/>
                <a:gd name="connsiteY4" fmla="*/ 0 h 7995"/>
                <a:gd name="connsiteX5" fmla="*/ 479049 w 613152"/>
                <a:gd name="connsiteY5" fmla="*/ 0 h 7995"/>
                <a:gd name="connsiteX6" fmla="*/ 479049 w 613152"/>
                <a:gd name="connsiteY6" fmla="*/ 7995 h 7995"/>
                <a:gd name="connsiteX7" fmla="*/ 532552 w 613152"/>
                <a:gd name="connsiteY7" fmla="*/ 7995 h 7995"/>
                <a:gd name="connsiteX8" fmla="*/ 532552 w 613152"/>
                <a:gd name="connsiteY8" fmla="*/ 0 h 7995"/>
                <a:gd name="connsiteX9" fmla="*/ 479049 w 613152"/>
                <a:gd name="connsiteY9" fmla="*/ 0 h 7995"/>
                <a:gd name="connsiteX10" fmla="*/ 398449 w 613152"/>
                <a:gd name="connsiteY10" fmla="*/ 0 h 7995"/>
                <a:gd name="connsiteX11" fmla="*/ 398449 w 613152"/>
                <a:gd name="connsiteY11" fmla="*/ 7995 h 7995"/>
                <a:gd name="connsiteX12" fmla="*/ 451952 w 613152"/>
                <a:gd name="connsiteY12" fmla="*/ 7995 h 7995"/>
                <a:gd name="connsiteX13" fmla="*/ 451952 w 613152"/>
                <a:gd name="connsiteY13" fmla="*/ 0 h 7995"/>
                <a:gd name="connsiteX14" fmla="*/ 398449 w 613152"/>
                <a:gd name="connsiteY14" fmla="*/ 0 h 7995"/>
                <a:gd name="connsiteX15" fmla="*/ 317918 w 613152"/>
                <a:gd name="connsiteY15" fmla="*/ 0 h 7995"/>
                <a:gd name="connsiteX16" fmla="*/ 317918 w 613152"/>
                <a:gd name="connsiteY16" fmla="*/ 7995 h 7995"/>
                <a:gd name="connsiteX17" fmla="*/ 371421 w 613152"/>
                <a:gd name="connsiteY17" fmla="*/ 7995 h 7995"/>
                <a:gd name="connsiteX18" fmla="*/ 371421 w 613152"/>
                <a:gd name="connsiteY18" fmla="*/ 0 h 7995"/>
                <a:gd name="connsiteX19" fmla="*/ 317918 w 613152"/>
                <a:gd name="connsiteY19" fmla="*/ 0 h 7995"/>
                <a:gd name="connsiteX20" fmla="*/ 237318 w 613152"/>
                <a:gd name="connsiteY20" fmla="*/ 0 h 7995"/>
                <a:gd name="connsiteX21" fmla="*/ 237318 w 613152"/>
                <a:gd name="connsiteY21" fmla="*/ 7995 h 7995"/>
                <a:gd name="connsiteX22" fmla="*/ 290822 w 613152"/>
                <a:gd name="connsiteY22" fmla="*/ 7995 h 7995"/>
                <a:gd name="connsiteX23" fmla="*/ 290822 w 613152"/>
                <a:gd name="connsiteY23" fmla="*/ 0 h 7995"/>
                <a:gd name="connsiteX24" fmla="*/ 237318 w 613152"/>
                <a:gd name="connsiteY24" fmla="*/ 0 h 7995"/>
                <a:gd name="connsiteX25" fmla="*/ 156787 w 613152"/>
                <a:gd name="connsiteY25" fmla="*/ 0 h 7995"/>
                <a:gd name="connsiteX26" fmla="*/ 156787 w 613152"/>
                <a:gd name="connsiteY26" fmla="*/ 7995 h 7995"/>
                <a:gd name="connsiteX27" fmla="*/ 210291 w 613152"/>
                <a:gd name="connsiteY27" fmla="*/ 7995 h 7995"/>
                <a:gd name="connsiteX28" fmla="*/ 210291 w 613152"/>
                <a:gd name="connsiteY28" fmla="*/ 0 h 7995"/>
                <a:gd name="connsiteX29" fmla="*/ 156787 w 613152"/>
                <a:gd name="connsiteY29" fmla="*/ 0 h 7995"/>
                <a:gd name="connsiteX30" fmla="*/ 76187 w 613152"/>
                <a:gd name="connsiteY30" fmla="*/ 0 h 7995"/>
                <a:gd name="connsiteX31" fmla="*/ 76187 w 613152"/>
                <a:gd name="connsiteY31" fmla="*/ 7995 h 7995"/>
                <a:gd name="connsiteX32" fmla="*/ 129691 w 613152"/>
                <a:gd name="connsiteY32" fmla="*/ 7995 h 7995"/>
                <a:gd name="connsiteX33" fmla="*/ 129691 w 613152"/>
                <a:gd name="connsiteY33" fmla="*/ 0 h 7995"/>
                <a:gd name="connsiteX34" fmla="*/ 76187 w 613152"/>
                <a:gd name="connsiteY34" fmla="*/ 0 h 7995"/>
                <a:gd name="connsiteX35" fmla="*/ 0 w 613152"/>
                <a:gd name="connsiteY35" fmla="*/ 0 h 7995"/>
                <a:gd name="connsiteX36" fmla="*/ 0 w 613152"/>
                <a:gd name="connsiteY36" fmla="*/ 7995 h 7995"/>
                <a:gd name="connsiteX37" fmla="*/ 49091 w 613152"/>
                <a:gd name="connsiteY37" fmla="*/ 7995 h 7995"/>
                <a:gd name="connsiteX38" fmla="*/ 49091 w 613152"/>
                <a:gd name="connsiteY38" fmla="*/ 0 h 7995"/>
                <a:gd name="connsiteX39" fmla="*/ 0 w 613152"/>
                <a:gd name="connsiteY39" fmla="*/ 0 h 7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613152" h="7995">
                  <a:moveTo>
                    <a:pt x="559649" y="0"/>
                  </a:moveTo>
                  <a:cubicBezTo>
                    <a:pt x="559649" y="1792"/>
                    <a:pt x="559649" y="6203"/>
                    <a:pt x="559649" y="7995"/>
                  </a:cubicBezTo>
                  <a:cubicBezTo>
                    <a:pt x="562200" y="7995"/>
                    <a:pt x="610601" y="7995"/>
                    <a:pt x="613152" y="7995"/>
                  </a:cubicBezTo>
                  <a:cubicBezTo>
                    <a:pt x="613152" y="6203"/>
                    <a:pt x="613152" y="1792"/>
                    <a:pt x="613152" y="0"/>
                  </a:cubicBezTo>
                  <a:cubicBezTo>
                    <a:pt x="610532" y="0"/>
                    <a:pt x="562200" y="0"/>
                    <a:pt x="559649" y="0"/>
                  </a:cubicBezTo>
                  <a:close/>
                  <a:moveTo>
                    <a:pt x="479049" y="0"/>
                  </a:moveTo>
                  <a:cubicBezTo>
                    <a:pt x="479049" y="1792"/>
                    <a:pt x="479049" y="6203"/>
                    <a:pt x="479049" y="7995"/>
                  </a:cubicBezTo>
                  <a:cubicBezTo>
                    <a:pt x="481600" y="7995"/>
                    <a:pt x="530001" y="7995"/>
                    <a:pt x="532552" y="7995"/>
                  </a:cubicBezTo>
                  <a:cubicBezTo>
                    <a:pt x="532552" y="6203"/>
                    <a:pt x="532552" y="1792"/>
                    <a:pt x="532552" y="0"/>
                  </a:cubicBezTo>
                  <a:cubicBezTo>
                    <a:pt x="530001" y="0"/>
                    <a:pt x="481600" y="0"/>
                    <a:pt x="479049" y="0"/>
                  </a:cubicBezTo>
                  <a:close/>
                  <a:moveTo>
                    <a:pt x="398449" y="0"/>
                  </a:moveTo>
                  <a:cubicBezTo>
                    <a:pt x="398449" y="1792"/>
                    <a:pt x="398449" y="6203"/>
                    <a:pt x="398449" y="7995"/>
                  </a:cubicBezTo>
                  <a:cubicBezTo>
                    <a:pt x="401000" y="7995"/>
                    <a:pt x="449401" y="7995"/>
                    <a:pt x="451952" y="7995"/>
                  </a:cubicBezTo>
                  <a:cubicBezTo>
                    <a:pt x="451952" y="6203"/>
                    <a:pt x="451952" y="1792"/>
                    <a:pt x="451952" y="0"/>
                  </a:cubicBezTo>
                  <a:cubicBezTo>
                    <a:pt x="449401" y="0"/>
                    <a:pt x="401069" y="0"/>
                    <a:pt x="398449" y="0"/>
                  </a:cubicBezTo>
                  <a:close/>
                  <a:moveTo>
                    <a:pt x="317918" y="0"/>
                  </a:moveTo>
                  <a:cubicBezTo>
                    <a:pt x="317918" y="1792"/>
                    <a:pt x="317918" y="6203"/>
                    <a:pt x="317918" y="7995"/>
                  </a:cubicBezTo>
                  <a:cubicBezTo>
                    <a:pt x="320469" y="7995"/>
                    <a:pt x="368870" y="7995"/>
                    <a:pt x="371421" y="7995"/>
                  </a:cubicBezTo>
                  <a:cubicBezTo>
                    <a:pt x="371421" y="6203"/>
                    <a:pt x="371421" y="1792"/>
                    <a:pt x="371421" y="0"/>
                  </a:cubicBezTo>
                  <a:cubicBezTo>
                    <a:pt x="368801" y="0"/>
                    <a:pt x="320469" y="0"/>
                    <a:pt x="317918" y="0"/>
                  </a:cubicBezTo>
                  <a:close/>
                  <a:moveTo>
                    <a:pt x="237318" y="0"/>
                  </a:moveTo>
                  <a:cubicBezTo>
                    <a:pt x="237318" y="1792"/>
                    <a:pt x="237318" y="6203"/>
                    <a:pt x="237318" y="7995"/>
                  </a:cubicBezTo>
                  <a:cubicBezTo>
                    <a:pt x="239869" y="7995"/>
                    <a:pt x="288270" y="7995"/>
                    <a:pt x="290822" y="7995"/>
                  </a:cubicBezTo>
                  <a:cubicBezTo>
                    <a:pt x="290822" y="6203"/>
                    <a:pt x="290822" y="1792"/>
                    <a:pt x="290822" y="0"/>
                  </a:cubicBezTo>
                  <a:cubicBezTo>
                    <a:pt x="288270" y="0"/>
                    <a:pt x="239869" y="0"/>
                    <a:pt x="237318" y="0"/>
                  </a:cubicBezTo>
                  <a:close/>
                  <a:moveTo>
                    <a:pt x="156787" y="0"/>
                  </a:moveTo>
                  <a:cubicBezTo>
                    <a:pt x="156787" y="1792"/>
                    <a:pt x="156787" y="6203"/>
                    <a:pt x="156787" y="7995"/>
                  </a:cubicBezTo>
                  <a:cubicBezTo>
                    <a:pt x="159338" y="7995"/>
                    <a:pt x="207740" y="7995"/>
                    <a:pt x="210291" y="7995"/>
                  </a:cubicBezTo>
                  <a:cubicBezTo>
                    <a:pt x="210291" y="6203"/>
                    <a:pt x="210291" y="1792"/>
                    <a:pt x="210291" y="0"/>
                  </a:cubicBezTo>
                  <a:cubicBezTo>
                    <a:pt x="207671" y="0"/>
                    <a:pt x="159338" y="0"/>
                    <a:pt x="156787" y="0"/>
                  </a:cubicBezTo>
                  <a:close/>
                  <a:moveTo>
                    <a:pt x="76187" y="0"/>
                  </a:moveTo>
                  <a:cubicBezTo>
                    <a:pt x="76187" y="1792"/>
                    <a:pt x="76187" y="6203"/>
                    <a:pt x="76187" y="7995"/>
                  </a:cubicBezTo>
                  <a:cubicBezTo>
                    <a:pt x="78738" y="7995"/>
                    <a:pt x="127140" y="7995"/>
                    <a:pt x="129691" y="7995"/>
                  </a:cubicBezTo>
                  <a:cubicBezTo>
                    <a:pt x="129691" y="6203"/>
                    <a:pt x="129691" y="1792"/>
                    <a:pt x="129691" y="0"/>
                  </a:cubicBezTo>
                  <a:cubicBezTo>
                    <a:pt x="127071" y="0"/>
                    <a:pt x="78738" y="0"/>
                    <a:pt x="76187" y="0"/>
                  </a:cubicBezTo>
                  <a:close/>
                  <a:moveTo>
                    <a:pt x="0" y="0"/>
                  </a:moveTo>
                  <a:cubicBezTo>
                    <a:pt x="0" y="1792"/>
                    <a:pt x="0" y="6203"/>
                    <a:pt x="0" y="7995"/>
                  </a:cubicBezTo>
                  <a:cubicBezTo>
                    <a:pt x="2551" y="7995"/>
                    <a:pt x="46540" y="7995"/>
                    <a:pt x="49091" y="7995"/>
                  </a:cubicBezTo>
                  <a:cubicBezTo>
                    <a:pt x="49091" y="6203"/>
                    <a:pt x="49091" y="1792"/>
                    <a:pt x="49091" y="0"/>
                  </a:cubicBezTo>
                  <a:cubicBezTo>
                    <a:pt x="46540" y="0"/>
                    <a:pt x="2551" y="0"/>
                    <a:pt x="0" y="0"/>
                  </a:cubicBezTo>
                  <a:close/>
                </a:path>
              </a:pathLst>
            </a:custGeom>
            <a:solidFill>
              <a:srgbClr val="E4E4E4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207112">
                <a:defRPr/>
              </a:pPr>
              <a:endParaRPr lang="nl-NL" sz="1359" kern="0" dirty="0">
                <a:solidFill>
                  <a:srgbClr val="7C7C7C"/>
                </a:solidFill>
                <a:latin typeface="Roboto Condensed"/>
              </a:endParaRPr>
            </a:p>
          </p:txBody>
        </p:sp>
        <p:sp>
          <p:nvSpPr>
            <p:cNvPr id="1193" name="Freeform 11">
              <a:extLst>
                <a:ext uri="{FF2B5EF4-FFF2-40B4-BE49-F238E27FC236}">
                  <a16:creationId xmlns:a16="http://schemas.microsoft.com/office/drawing/2014/main" id="{12118385-4BC9-DA79-E83E-81AC85281A4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13207" y="1563761"/>
              <a:ext cx="613083" cy="7995"/>
            </a:xfrm>
            <a:custGeom>
              <a:avLst/>
              <a:gdLst>
                <a:gd name="connsiteX0" fmla="*/ 559580 w 613083"/>
                <a:gd name="connsiteY0" fmla="*/ 0 h 7995"/>
                <a:gd name="connsiteX1" fmla="*/ 559580 w 613083"/>
                <a:gd name="connsiteY1" fmla="*/ 7995 h 7995"/>
                <a:gd name="connsiteX2" fmla="*/ 613083 w 613083"/>
                <a:gd name="connsiteY2" fmla="*/ 7995 h 7995"/>
                <a:gd name="connsiteX3" fmla="*/ 613083 w 613083"/>
                <a:gd name="connsiteY3" fmla="*/ 0 h 7995"/>
                <a:gd name="connsiteX4" fmla="*/ 559580 w 613083"/>
                <a:gd name="connsiteY4" fmla="*/ 0 h 7995"/>
                <a:gd name="connsiteX5" fmla="*/ 478980 w 613083"/>
                <a:gd name="connsiteY5" fmla="*/ 0 h 7995"/>
                <a:gd name="connsiteX6" fmla="*/ 478980 w 613083"/>
                <a:gd name="connsiteY6" fmla="*/ 7995 h 7995"/>
                <a:gd name="connsiteX7" fmla="*/ 532483 w 613083"/>
                <a:gd name="connsiteY7" fmla="*/ 7995 h 7995"/>
                <a:gd name="connsiteX8" fmla="*/ 532483 w 613083"/>
                <a:gd name="connsiteY8" fmla="*/ 0 h 7995"/>
                <a:gd name="connsiteX9" fmla="*/ 478980 w 613083"/>
                <a:gd name="connsiteY9" fmla="*/ 0 h 7995"/>
                <a:gd name="connsiteX10" fmla="*/ 398449 w 613083"/>
                <a:gd name="connsiteY10" fmla="*/ 0 h 7995"/>
                <a:gd name="connsiteX11" fmla="*/ 398449 w 613083"/>
                <a:gd name="connsiteY11" fmla="*/ 7995 h 7995"/>
                <a:gd name="connsiteX12" fmla="*/ 451952 w 613083"/>
                <a:gd name="connsiteY12" fmla="*/ 7995 h 7995"/>
                <a:gd name="connsiteX13" fmla="*/ 451952 w 613083"/>
                <a:gd name="connsiteY13" fmla="*/ 0 h 7995"/>
                <a:gd name="connsiteX14" fmla="*/ 398449 w 613083"/>
                <a:gd name="connsiteY14" fmla="*/ 0 h 7995"/>
                <a:gd name="connsiteX15" fmla="*/ 317849 w 613083"/>
                <a:gd name="connsiteY15" fmla="*/ 0 h 7995"/>
                <a:gd name="connsiteX16" fmla="*/ 317849 w 613083"/>
                <a:gd name="connsiteY16" fmla="*/ 7995 h 7995"/>
                <a:gd name="connsiteX17" fmla="*/ 371352 w 613083"/>
                <a:gd name="connsiteY17" fmla="*/ 7995 h 7995"/>
                <a:gd name="connsiteX18" fmla="*/ 371352 w 613083"/>
                <a:gd name="connsiteY18" fmla="*/ 0 h 7995"/>
                <a:gd name="connsiteX19" fmla="*/ 317849 w 613083"/>
                <a:gd name="connsiteY19" fmla="*/ 0 h 7995"/>
                <a:gd name="connsiteX20" fmla="*/ 237249 w 613083"/>
                <a:gd name="connsiteY20" fmla="*/ 0 h 7995"/>
                <a:gd name="connsiteX21" fmla="*/ 237249 w 613083"/>
                <a:gd name="connsiteY21" fmla="*/ 7995 h 7995"/>
                <a:gd name="connsiteX22" fmla="*/ 290753 w 613083"/>
                <a:gd name="connsiteY22" fmla="*/ 7995 h 7995"/>
                <a:gd name="connsiteX23" fmla="*/ 290753 w 613083"/>
                <a:gd name="connsiteY23" fmla="*/ 0 h 7995"/>
                <a:gd name="connsiteX24" fmla="*/ 237249 w 613083"/>
                <a:gd name="connsiteY24" fmla="*/ 0 h 7995"/>
                <a:gd name="connsiteX25" fmla="*/ 156718 w 613083"/>
                <a:gd name="connsiteY25" fmla="*/ 0 h 7995"/>
                <a:gd name="connsiteX26" fmla="*/ 156718 w 613083"/>
                <a:gd name="connsiteY26" fmla="*/ 7995 h 7995"/>
                <a:gd name="connsiteX27" fmla="*/ 210222 w 613083"/>
                <a:gd name="connsiteY27" fmla="*/ 7995 h 7995"/>
                <a:gd name="connsiteX28" fmla="*/ 210222 w 613083"/>
                <a:gd name="connsiteY28" fmla="*/ 0 h 7995"/>
                <a:gd name="connsiteX29" fmla="*/ 156718 w 613083"/>
                <a:gd name="connsiteY29" fmla="*/ 0 h 7995"/>
                <a:gd name="connsiteX30" fmla="*/ 76118 w 613083"/>
                <a:gd name="connsiteY30" fmla="*/ 0 h 7995"/>
                <a:gd name="connsiteX31" fmla="*/ 76118 w 613083"/>
                <a:gd name="connsiteY31" fmla="*/ 7995 h 7995"/>
                <a:gd name="connsiteX32" fmla="*/ 129622 w 613083"/>
                <a:gd name="connsiteY32" fmla="*/ 7995 h 7995"/>
                <a:gd name="connsiteX33" fmla="*/ 129622 w 613083"/>
                <a:gd name="connsiteY33" fmla="*/ 0 h 7995"/>
                <a:gd name="connsiteX34" fmla="*/ 76118 w 613083"/>
                <a:gd name="connsiteY34" fmla="*/ 0 h 7995"/>
                <a:gd name="connsiteX35" fmla="*/ 0 w 613083"/>
                <a:gd name="connsiteY35" fmla="*/ 0 h 7995"/>
                <a:gd name="connsiteX36" fmla="*/ 0 w 613083"/>
                <a:gd name="connsiteY36" fmla="*/ 7995 h 7995"/>
                <a:gd name="connsiteX37" fmla="*/ 49091 w 613083"/>
                <a:gd name="connsiteY37" fmla="*/ 7995 h 7995"/>
                <a:gd name="connsiteX38" fmla="*/ 49091 w 613083"/>
                <a:gd name="connsiteY38" fmla="*/ 0 h 7995"/>
                <a:gd name="connsiteX39" fmla="*/ 0 w 613083"/>
                <a:gd name="connsiteY39" fmla="*/ 0 h 7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613083" h="7995">
                  <a:moveTo>
                    <a:pt x="559580" y="0"/>
                  </a:moveTo>
                  <a:cubicBezTo>
                    <a:pt x="559580" y="1792"/>
                    <a:pt x="559580" y="6203"/>
                    <a:pt x="559580" y="7995"/>
                  </a:cubicBezTo>
                  <a:cubicBezTo>
                    <a:pt x="562131" y="7995"/>
                    <a:pt x="610532" y="7995"/>
                    <a:pt x="613083" y="7995"/>
                  </a:cubicBezTo>
                  <a:cubicBezTo>
                    <a:pt x="613083" y="6203"/>
                    <a:pt x="613083" y="1792"/>
                    <a:pt x="613083" y="0"/>
                  </a:cubicBezTo>
                  <a:cubicBezTo>
                    <a:pt x="610532" y="0"/>
                    <a:pt x="562131" y="0"/>
                    <a:pt x="559580" y="0"/>
                  </a:cubicBezTo>
                  <a:close/>
                  <a:moveTo>
                    <a:pt x="478980" y="0"/>
                  </a:moveTo>
                  <a:cubicBezTo>
                    <a:pt x="478980" y="1792"/>
                    <a:pt x="478980" y="6203"/>
                    <a:pt x="478980" y="7995"/>
                  </a:cubicBezTo>
                  <a:cubicBezTo>
                    <a:pt x="481531" y="7995"/>
                    <a:pt x="529932" y="7995"/>
                    <a:pt x="532483" y="7995"/>
                  </a:cubicBezTo>
                  <a:cubicBezTo>
                    <a:pt x="532483" y="6203"/>
                    <a:pt x="532483" y="1792"/>
                    <a:pt x="532483" y="0"/>
                  </a:cubicBezTo>
                  <a:cubicBezTo>
                    <a:pt x="529932" y="0"/>
                    <a:pt x="481531" y="0"/>
                    <a:pt x="478980" y="0"/>
                  </a:cubicBezTo>
                  <a:close/>
                  <a:moveTo>
                    <a:pt x="398449" y="0"/>
                  </a:moveTo>
                  <a:cubicBezTo>
                    <a:pt x="398449" y="1792"/>
                    <a:pt x="398449" y="6203"/>
                    <a:pt x="398449" y="7995"/>
                  </a:cubicBezTo>
                  <a:cubicBezTo>
                    <a:pt x="401000" y="7995"/>
                    <a:pt x="449401" y="7995"/>
                    <a:pt x="451952" y="7995"/>
                  </a:cubicBezTo>
                  <a:cubicBezTo>
                    <a:pt x="451952" y="6203"/>
                    <a:pt x="451952" y="1792"/>
                    <a:pt x="451952" y="0"/>
                  </a:cubicBezTo>
                  <a:cubicBezTo>
                    <a:pt x="449332" y="0"/>
                    <a:pt x="401000" y="0"/>
                    <a:pt x="398449" y="0"/>
                  </a:cubicBezTo>
                  <a:close/>
                  <a:moveTo>
                    <a:pt x="317849" y="0"/>
                  </a:moveTo>
                  <a:cubicBezTo>
                    <a:pt x="317849" y="1792"/>
                    <a:pt x="317849" y="6203"/>
                    <a:pt x="317849" y="7995"/>
                  </a:cubicBezTo>
                  <a:cubicBezTo>
                    <a:pt x="320400" y="7995"/>
                    <a:pt x="368801" y="7995"/>
                    <a:pt x="371352" y="7995"/>
                  </a:cubicBezTo>
                  <a:cubicBezTo>
                    <a:pt x="371352" y="6203"/>
                    <a:pt x="371352" y="1792"/>
                    <a:pt x="371352" y="0"/>
                  </a:cubicBezTo>
                  <a:cubicBezTo>
                    <a:pt x="368801" y="0"/>
                    <a:pt x="320400" y="0"/>
                    <a:pt x="317849" y="0"/>
                  </a:cubicBezTo>
                  <a:close/>
                  <a:moveTo>
                    <a:pt x="237249" y="0"/>
                  </a:moveTo>
                  <a:cubicBezTo>
                    <a:pt x="237249" y="1792"/>
                    <a:pt x="237249" y="6203"/>
                    <a:pt x="237249" y="7995"/>
                  </a:cubicBezTo>
                  <a:cubicBezTo>
                    <a:pt x="239800" y="7995"/>
                    <a:pt x="288201" y="7995"/>
                    <a:pt x="290753" y="7995"/>
                  </a:cubicBezTo>
                  <a:cubicBezTo>
                    <a:pt x="290753" y="6203"/>
                    <a:pt x="290753" y="1792"/>
                    <a:pt x="290753" y="0"/>
                  </a:cubicBezTo>
                  <a:cubicBezTo>
                    <a:pt x="288201" y="0"/>
                    <a:pt x="239869" y="0"/>
                    <a:pt x="237249" y="0"/>
                  </a:cubicBezTo>
                  <a:close/>
                  <a:moveTo>
                    <a:pt x="156718" y="0"/>
                  </a:moveTo>
                  <a:cubicBezTo>
                    <a:pt x="156718" y="1792"/>
                    <a:pt x="156718" y="6203"/>
                    <a:pt x="156718" y="7995"/>
                  </a:cubicBezTo>
                  <a:cubicBezTo>
                    <a:pt x="159269" y="7995"/>
                    <a:pt x="207671" y="7995"/>
                    <a:pt x="210222" y="7995"/>
                  </a:cubicBezTo>
                  <a:cubicBezTo>
                    <a:pt x="210222" y="6203"/>
                    <a:pt x="210222" y="1792"/>
                    <a:pt x="210222" y="0"/>
                  </a:cubicBezTo>
                  <a:cubicBezTo>
                    <a:pt x="207602" y="0"/>
                    <a:pt x="159269" y="0"/>
                    <a:pt x="156718" y="0"/>
                  </a:cubicBezTo>
                  <a:close/>
                  <a:moveTo>
                    <a:pt x="76118" y="0"/>
                  </a:moveTo>
                  <a:cubicBezTo>
                    <a:pt x="76118" y="1792"/>
                    <a:pt x="76118" y="6203"/>
                    <a:pt x="76118" y="7995"/>
                  </a:cubicBezTo>
                  <a:cubicBezTo>
                    <a:pt x="78669" y="7995"/>
                    <a:pt x="127071" y="7995"/>
                    <a:pt x="129622" y="7995"/>
                  </a:cubicBezTo>
                  <a:cubicBezTo>
                    <a:pt x="129622" y="6203"/>
                    <a:pt x="129622" y="1792"/>
                    <a:pt x="129622" y="0"/>
                  </a:cubicBezTo>
                  <a:cubicBezTo>
                    <a:pt x="127071" y="0"/>
                    <a:pt x="78669" y="0"/>
                    <a:pt x="76118" y="0"/>
                  </a:cubicBezTo>
                  <a:close/>
                  <a:moveTo>
                    <a:pt x="0" y="0"/>
                  </a:moveTo>
                  <a:cubicBezTo>
                    <a:pt x="0" y="1792"/>
                    <a:pt x="0" y="6203"/>
                    <a:pt x="0" y="7995"/>
                  </a:cubicBezTo>
                  <a:cubicBezTo>
                    <a:pt x="2551" y="7995"/>
                    <a:pt x="46540" y="7995"/>
                    <a:pt x="49091" y="7995"/>
                  </a:cubicBezTo>
                  <a:cubicBezTo>
                    <a:pt x="49091" y="6203"/>
                    <a:pt x="49091" y="1792"/>
                    <a:pt x="49091" y="0"/>
                  </a:cubicBezTo>
                  <a:cubicBezTo>
                    <a:pt x="46540" y="0"/>
                    <a:pt x="2551" y="0"/>
                    <a:pt x="0" y="0"/>
                  </a:cubicBezTo>
                  <a:close/>
                </a:path>
              </a:pathLst>
            </a:custGeom>
            <a:solidFill>
              <a:srgbClr val="E4E4E4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207112">
                <a:defRPr/>
              </a:pPr>
              <a:endParaRPr lang="nl-NL" sz="1359" kern="0" dirty="0">
                <a:solidFill>
                  <a:srgbClr val="7C7C7C"/>
                </a:solidFill>
                <a:latin typeface="Roboto Condensed"/>
              </a:endParaRPr>
            </a:p>
          </p:txBody>
        </p:sp>
        <p:sp>
          <p:nvSpPr>
            <p:cNvPr id="1194" name="Freeform 12">
              <a:extLst>
                <a:ext uri="{FF2B5EF4-FFF2-40B4-BE49-F238E27FC236}">
                  <a16:creationId xmlns:a16="http://schemas.microsoft.com/office/drawing/2014/main" id="{8D4FA1C3-D35A-8470-C96E-AB7A52B3533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28264" y="1563761"/>
              <a:ext cx="53503" cy="7995"/>
            </a:xfrm>
            <a:custGeom>
              <a:avLst/>
              <a:gdLst>
                <a:gd name="connsiteX0" fmla="*/ 0 w 53503"/>
                <a:gd name="connsiteY0" fmla="*/ 0 h 7995"/>
                <a:gd name="connsiteX1" fmla="*/ 0 w 53503"/>
                <a:gd name="connsiteY1" fmla="*/ 7995 h 7995"/>
                <a:gd name="connsiteX2" fmla="*/ 53503 w 53503"/>
                <a:gd name="connsiteY2" fmla="*/ 7995 h 7995"/>
                <a:gd name="connsiteX3" fmla="*/ 53503 w 53503"/>
                <a:gd name="connsiteY3" fmla="*/ 0 h 7995"/>
                <a:gd name="connsiteX4" fmla="*/ 0 w 53503"/>
                <a:gd name="connsiteY4" fmla="*/ 0 h 7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503" h="7995">
                  <a:moveTo>
                    <a:pt x="0" y="0"/>
                  </a:moveTo>
                  <a:cubicBezTo>
                    <a:pt x="0" y="1792"/>
                    <a:pt x="0" y="6203"/>
                    <a:pt x="0" y="7995"/>
                  </a:cubicBezTo>
                  <a:cubicBezTo>
                    <a:pt x="2551" y="7995"/>
                    <a:pt x="50952" y="7995"/>
                    <a:pt x="53503" y="7995"/>
                  </a:cubicBezTo>
                  <a:cubicBezTo>
                    <a:pt x="53503" y="6203"/>
                    <a:pt x="53503" y="1792"/>
                    <a:pt x="53503" y="0"/>
                  </a:cubicBezTo>
                  <a:cubicBezTo>
                    <a:pt x="50952" y="0"/>
                    <a:pt x="2551" y="0"/>
                    <a:pt x="0" y="0"/>
                  </a:cubicBezTo>
                  <a:close/>
                </a:path>
              </a:pathLst>
            </a:custGeom>
            <a:solidFill>
              <a:srgbClr val="E4E4E4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207112">
                <a:defRPr/>
              </a:pPr>
              <a:endParaRPr lang="nl-NL" sz="1359" kern="0" dirty="0">
                <a:solidFill>
                  <a:srgbClr val="7C7C7C"/>
                </a:solidFill>
                <a:latin typeface="Roboto Condensed"/>
              </a:endParaRPr>
            </a:p>
          </p:txBody>
        </p:sp>
        <p:grpSp>
          <p:nvGrpSpPr>
            <p:cNvPr id="1195" name="Graphic 4">
              <a:extLst>
                <a:ext uri="{FF2B5EF4-FFF2-40B4-BE49-F238E27FC236}">
                  <a16:creationId xmlns:a16="http://schemas.microsoft.com/office/drawing/2014/main" id="{B7C537B3-EFA3-FF88-1557-DF0A22BD6794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15508" y="1463821"/>
              <a:ext cx="1362269" cy="207807"/>
              <a:chOff x="515508" y="1463821"/>
              <a:chExt cx="1362269" cy="207807"/>
            </a:xfrm>
            <a:solidFill>
              <a:srgbClr val="E4E4E4"/>
            </a:solidFill>
          </p:grpSpPr>
          <p:sp>
            <p:nvSpPr>
              <p:cNvPr id="1196" name="Freeform 14">
                <a:extLst>
                  <a:ext uri="{FF2B5EF4-FFF2-40B4-BE49-F238E27FC236}">
                    <a16:creationId xmlns:a16="http://schemas.microsoft.com/office/drawing/2014/main" id="{6FAAC02C-AA2A-59FE-C77B-927699083D5D}"/>
                  </a:ext>
                </a:extLst>
              </p:cNvPr>
              <p:cNvSpPr/>
              <p:nvPr/>
            </p:nvSpPr>
            <p:spPr>
              <a:xfrm>
                <a:off x="515508" y="1663357"/>
                <a:ext cx="1362269" cy="8270"/>
              </a:xfrm>
              <a:custGeom>
                <a:avLst/>
                <a:gdLst>
                  <a:gd name="connsiteX0" fmla="*/ 0 w 1362269"/>
                  <a:gd name="connsiteY0" fmla="*/ 0 h 8270"/>
                  <a:gd name="connsiteX1" fmla="*/ 1362269 w 1362269"/>
                  <a:gd name="connsiteY1" fmla="*/ 0 h 8270"/>
                  <a:gd name="connsiteX2" fmla="*/ 1362269 w 1362269"/>
                  <a:gd name="connsiteY2" fmla="*/ 8271 h 8270"/>
                  <a:gd name="connsiteX3" fmla="*/ 0 w 1362269"/>
                  <a:gd name="connsiteY3" fmla="*/ 8271 h 8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62269" h="8270">
                    <a:moveTo>
                      <a:pt x="0" y="0"/>
                    </a:moveTo>
                    <a:lnTo>
                      <a:pt x="1362269" y="0"/>
                    </a:lnTo>
                    <a:lnTo>
                      <a:pt x="1362269" y="8271"/>
                    </a:lnTo>
                    <a:lnTo>
                      <a:pt x="0" y="8271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207112">
                  <a:defRPr/>
                </a:pPr>
                <a:endParaRPr lang="nl-NL" sz="1359" kern="0" dirty="0">
                  <a:solidFill>
                    <a:srgbClr val="7C7C7C"/>
                  </a:solidFill>
                  <a:latin typeface="Roboto Condensed"/>
                </a:endParaRPr>
              </a:p>
            </p:txBody>
          </p:sp>
          <p:sp>
            <p:nvSpPr>
              <p:cNvPr id="1197" name="Freeform 15">
                <a:extLst>
                  <a:ext uri="{FF2B5EF4-FFF2-40B4-BE49-F238E27FC236}">
                    <a16:creationId xmlns:a16="http://schemas.microsoft.com/office/drawing/2014/main" id="{41AE8D80-AA88-5642-036E-44D4246AEBC2}"/>
                  </a:ext>
                </a:extLst>
              </p:cNvPr>
              <p:cNvSpPr/>
              <p:nvPr/>
            </p:nvSpPr>
            <p:spPr>
              <a:xfrm>
                <a:off x="515508" y="1463821"/>
                <a:ext cx="1362269" cy="8270"/>
              </a:xfrm>
              <a:custGeom>
                <a:avLst/>
                <a:gdLst>
                  <a:gd name="connsiteX0" fmla="*/ 0 w 1362269"/>
                  <a:gd name="connsiteY0" fmla="*/ 0 h 8270"/>
                  <a:gd name="connsiteX1" fmla="*/ 1362269 w 1362269"/>
                  <a:gd name="connsiteY1" fmla="*/ 0 h 8270"/>
                  <a:gd name="connsiteX2" fmla="*/ 1362269 w 1362269"/>
                  <a:gd name="connsiteY2" fmla="*/ 8271 h 8270"/>
                  <a:gd name="connsiteX3" fmla="*/ 0 w 1362269"/>
                  <a:gd name="connsiteY3" fmla="*/ 8271 h 8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62269" h="8270">
                    <a:moveTo>
                      <a:pt x="0" y="0"/>
                    </a:moveTo>
                    <a:lnTo>
                      <a:pt x="1362269" y="0"/>
                    </a:lnTo>
                    <a:lnTo>
                      <a:pt x="1362269" y="8271"/>
                    </a:lnTo>
                    <a:lnTo>
                      <a:pt x="0" y="8271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207112">
                  <a:defRPr/>
                </a:pPr>
                <a:endParaRPr lang="nl-NL" sz="1359" kern="0" dirty="0">
                  <a:solidFill>
                    <a:srgbClr val="7C7C7C"/>
                  </a:solidFill>
                  <a:latin typeface="Roboto Condensed"/>
                </a:endParaRPr>
              </a:p>
            </p:txBody>
          </p:sp>
        </p:grpSp>
      </p:grpSp>
      <p:grpSp>
        <p:nvGrpSpPr>
          <p:cNvPr id="1198" name="Group 1197">
            <a:extLst>
              <a:ext uri="{FF2B5EF4-FFF2-40B4-BE49-F238E27FC236}">
                <a16:creationId xmlns:a16="http://schemas.microsoft.com/office/drawing/2014/main" id="{EF3BEF6E-E751-64AF-5FBD-FFAAA6C6E376}"/>
              </a:ext>
            </a:extLst>
          </p:cNvPr>
          <p:cNvGrpSpPr>
            <a:grpSpLocks noChangeAspect="1"/>
          </p:cNvGrpSpPr>
          <p:nvPr/>
        </p:nvGrpSpPr>
        <p:grpSpPr>
          <a:xfrm>
            <a:off x="7841687" y="555590"/>
            <a:ext cx="1647268" cy="592066"/>
            <a:chOff x="515508" y="1450725"/>
            <a:chExt cx="1362269" cy="233999"/>
          </a:xfrm>
        </p:grpSpPr>
        <p:sp>
          <p:nvSpPr>
            <p:cNvPr id="1199" name="Freeform 9">
              <a:extLst>
                <a:ext uri="{FF2B5EF4-FFF2-40B4-BE49-F238E27FC236}">
                  <a16:creationId xmlns:a16="http://schemas.microsoft.com/office/drawing/2014/main" id="{2A2D8BB5-97AD-920A-F074-D92BDF729D9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15508" y="1450725"/>
              <a:ext cx="1362269" cy="233999"/>
            </a:xfrm>
            <a:custGeom>
              <a:avLst/>
              <a:gdLst>
                <a:gd name="connsiteX0" fmla="*/ 0 w 1362269"/>
                <a:gd name="connsiteY0" fmla="*/ 0 h 233999"/>
                <a:gd name="connsiteX1" fmla="*/ 1362269 w 1362269"/>
                <a:gd name="connsiteY1" fmla="*/ 0 h 233999"/>
                <a:gd name="connsiteX2" fmla="*/ 1362269 w 1362269"/>
                <a:gd name="connsiteY2" fmla="*/ 233999 h 233999"/>
                <a:gd name="connsiteX3" fmla="*/ 0 w 1362269"/>
                <a:gd name="connsiteY3" fmla="*/ 233999 h 233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2269" h="233999">
                  <a:moveTo>
                    <a:pt x="0" y="0"/>
                  </a:moveTo>
                  <a:lnTo>
                    <a:pt x="1362269" y="0"/>
                  </a:lnTo>
                  <a:lnTo>
                    <a:pt x="1362269" y="233999"/>
                  </a:lnTo>
                  <a:lnTo>
                    <a:pt x="0" y="233999"/>
                  </a:lnTo>
                  <a:close/>
                </a:path>
              </a:pathLst>
            </a:custGeom>
            <a:solidFill>
              <a:srgbClr val="60B3BB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207112">
                <a:defRPr/>
              </a:pPr>
              <a:endParaRPr lang="nl-NL" sz="1359" kern="0" dirty="0">
                <a:solidFill>
                  <a:srgbClr val="7C7C7C"/>
                </a:solidFill>
                <a:latin typeface="Roboto Condensed"/>
              </a:endParaRPr>
            </a:p>
          </p:txBody>
        </p:sp>
        <p:sp>
          <p:nvSpPr>
            <p:cNvPr id="1200" name="Freeform 10">
              <a:extLst>
                <a:ext uri="{FF2B5EF4-FFF2-40B4-BE49-F238E27FC236}">
                  <a16:creationId xmlns:a16="http://schemas.microsoft.com/office/drawing/2014/main" id="{E78069A3-607F-6E78-DD18-CAF4F10B263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53801" y="1563761"/>
              <a:ext cx="613152" cy="7995"/>
            </a:xfrm>
            <a:custGeom>
              <a:avLst/>
              <a:gdLst>
                <a:gd name="connsiteX0" fmla="*/ 559649 w 613152"/>
                <a:gd name="connsiteY0" fmla="*/ 0 h 7995"/>
                <a:gd name="connsiteX1" fmla="*/ 559649 w 613152"/>
                <a:gd name="connsiteY1" fmla="*/ 7995 h 7995"/>
                <a:gd name="connsiteX2" fmla="*/ 613152 w 613152"/>
                <a:gd name="connsiteY2" fmla="*/ 7995 h 7995"/>
                <a:gd name="connsiteX3" fmla="*/ 613152 w 613152"/>
                <a:gd name="connsiteY3" fmla="*/ 0 h 7995"/>
                <a:gd name="connsiteX4" fmla="*/ 559649 w 613152"/>
                <a:gd name="connsiteY4" fmla="*/ 0 h 7995"/>
                <a:gd name="connsiteX5" fmla="*/ 479049 w 613152"/>
                <a:gd name="connsiteY5" fmla="*/ 0 h 7995"/>
                <a:gd name="connsiteX6" fmla="*/ 479049 w 613152"/>
                <a:gd name="connsiteY6" fmla="*/ 7995 h 7995"/>
                <a:gd name="connsiteX7" fmla="*/ 532552 w 613152"/>
                <a:gd name="connsiteY7" fmla="*/ 7995 h 7995"/>
                <a:gd name="connsiteX8" fmla="*/ 532552 w 613152"/>
                <a:gd name="connsiteY8" fmla="*/ 0 h 7995"/>
                <a:gd name="connsiteX9" fmla="*/ 479049 w 613152"/>
                <a:gd name="connsiteY9" fmla="*/ 0 h 7995"/>
                <a:gd name="connsiteX10" fmla="*/ 398449 w 613152"/>
                <a:gd name="connsiteY10" fmla="*/ 0 h 7995"/>
                <a:gd name="connsiteX11" fmla="*/ 398449 w 613152"/>
                <a:gd name="connsiteY11" fmla="*/ 7995 h 7995"/>
                <a:gd name="connsiteX12" fmla="*/ 451952 w 613152"/>
                <a:gd name="connsiteY12" fmla="*/ 7995 h 7995"/>
                <a:gd name="connsiteX13" fmla="*/ 451952 w 613152"/>
                <a:gd name="connsiteY13" fmla="*/ 0 h 7995"/>
                <a:gd name="connsiteX14" fmla="*/ 398449 w 613152"/>
                <a:gd name="connsiteY14" fmla="*/ 0 h 7995"/>
                <a:gd name="connsiteX15" fmla="*/ 317918 w 613152"/>
                <a:gd name="connsiteY15" fmla="*/ 0 h 7995"/>
                <a:gd name="connsiteX16" fmla="*/ 317918 w 613152"/>
                <a:gd name="connsiteY16" fmla="*/ 7995 h 7995"/>
                <a:gd name="connsiteX17" fmla="*/ 371421 w 613152"/>
                <a:gd name="connsiteY17" fmla="*/ 7995 h 7995"/>
                <a:gd name="connsiteX18" fmla="*/ 371421 w 613152"/>
                <a:gd name="connsiteY18" fmla="*/ 0 h 7995"/>
                <a:gd name="connsiteX19" fmla="*/ 317918 w 613152"/>
                <a:gd name="connsiteY19" fmla="*/ 0 h 7995"/>
                <a:gd name="connsiteX20" fmla="*/ 237318 w 613152"/>
                <a:gd name="connsiteY20" fmla="*/ 0 h 7995"/>
                <a:gd name="connsiteX21" fmla="*/ 237318 w 613152"/>
                <a:gd name="connsiteY21" fmla="*/ 7995 h 7995"/>
                <a:gd name="connsiteX22" fmla="*/ 290822 w 613152"/>
                <a:gd name="connsiteY22" fmla="*/ 7995 h 7995"/>
                <a:gd name="connsiteX23" fmla="*/ 290822 w 613152"/>
                <a:gd name="connsiteY23" fmla="*/ 0 h 7995"/>
                <a:gd name="connsiteX24" fmla="*/ 237318 w 613152"/>
                <a:gd name="connsiteY24" fmla="*/ 0 h 7995"/>
                <a:gd name="connsiteX25" fmla="*/ 156787 w 613152"/>
                <a:gd name="connsiteY25" fmla="*/ 0 h 7995"/>
                <a:gd name="connsiteX26" fmla="*/ 156787 w 613152"/>
                <a:gd name="connsiteY26" fmla="*/ 7995 h 7995"/>
                <a:gd name="connsiteX27" fmla="*/ 210291 w 613152"/>
                <a:gd name="connsiteY27" fmla="*/ 7995 h 7995"/>
                <a:gd name="connsiteX28" fmla="*/ 210291 w 613152"/>
                <a:gd name="connsiteY28" fmla="*/ 0 h 7995"/>
                <a:gd name="connsiteX29" fmla="*/ 156787 w 613152"/>
                <a:gd name="connsiteY29" fmla="*/ 0 h 7995"/>
                <a:gd name="connsiteX30" fmla="*/ 76187 w 613152"/>
                <a:gd name="connsiteY30" fmla="*/ 0 h 7995"/>
                <a:gd name="connsiteX31" fmla="*/ 76187 w 613152"/>
                <a:gd name="connsiteY31" fmla="*/ 7995 h 7995"/>
                <a:gd name="connsiteX32" fmla="*/ 129691 w 613152"/>
                <a:gd name="connsiteY32" fmla="*/ 7995 h 7995"/>
                <a:gd name="connsiteX33" fmla="*/ 129691 w 613152"/>
                <a:gd name="connsiteY33" fmla="*/ 0 h 7995"/>
                <a:gd name="connsiteX34" fmla="*/ 76187 w 613152"/>
                <a:gd name="connsiteY34" fmla="*/ 0 h 7995"/>
                <a:gd name="connsiteX35" fmla="*/ 0 w 613152"/>
                <a:gd name="connsiteY35" fmla="*/ 0 h 7995"/>
                <a:gd name="connsiteX36" fmla="*/ 0 w 613152"/>
                <a:gd name="connsiteY36" fmla="*/ 7995 h 7995"/>
                <a:gd name="connsiteX37" fmla="*/ 49091 w 613152"/>
                <a:gd name="connsiteY37" fmla="*/ 7995 h 7995"/>
                <a:gd name="connsiteX38" fmla="*/ 49091 w 613152"/>
                <a:gd name="connsiteY38" fmla="*/ 0 h 7995"/>
                <a:gd name="connsiteX39" fmla="*/ 0 w 613152"/>
                <a:gd name="connsiteY39" fmla="*/ 0 h 7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613152" h="7995">
                  <a:moveTo>
                    <a:pt x="559649" y="0"/>
                  </a:moveTo>
                  <a:cubicBezTo>
                    <a:pt x="559649" y="1792"/>
                    <a:pt x="559649" y="6203"/>
                    <a:pt x="559649" y="7995"/>
                  </a:cubicBezTo>
                  <a:cubicBezTo>
                    <a:pt x="562200" y="7995"/>
                    <a:pt x="610601" y="7995"/>
                    <a:pt x="613152" y="7995"/>
                  </a:cubicBezTo>
                  <a:cubicBezTo>
                    <a:pt x="613152" y="6203"/>
                    <a:pt x="613152" y="1792"/>
                    <a:pt x="613152" y="0"/>
                  </a:cubicBezTo>
                  <a:cubicBezTo>
                    <a:pt x="610532" y="0"/>
                    <a:pt x="562200" y="0"/>
                    <a:pt x="559649" y="0"/>
                  </a:cubicBezTo>
                  <a:close/>
                  <a:moveTo>
                    <a:pt x="479049" y="0"/>
                  </a:moveTo>
                  <a:cubicBezTo>
                    <a:pt x="479049" y="1792"/>
                    <a:pt x="479049" y="6203"/>
                    <a:pt x="479049" y="7995"/>
                  </a:cubicBezTo>
                  <a:cubicBezTo>
                    <a:pt x="481600" y="7995"/>
                    <a:pt x="530001" y="7995"/>
                    <a:pt x="532552" y="7995"/>
                  </a:cubicBezTo>
                  <a:cubicBezTo>
                    <a:pt x="532552" y="6203"/>
                    <a:pt x="532552" y="1792"/>
                    <a:pt x="532552" y="0"/>
                  </a:cubicBezTo>
                  <a:cubicBezTo>
                    <a:pt x="530001" y="0"/>
                    <a:pt x="481600" y="0"/>
                    <a:pt x="479049" y="0"/>
                  </a:cubicBezTo>
                  <a:close/>
                  <a:moveTo>
                    <a:pt x="398449" y="0"/>
                  </a:moveTo>
                  <a:cubicBezTo>
                    <a:pt x="398449" y="1792"/>
                    <a:pt x="398449" y="6203"/>
                    <a:pt x="398449" y="7995"/>
                  </a:cubicBezTo>
                  <a:cubicBezTo>
                    <a:pt x="401000" y="7995"/>
                    <a:pt x="449401" y="7995"/>
                    <a:pt x="451952" y="7995"/>
                  </a:cubicBezTo>
                  <a:cubicBezTo>
                    <a:pt x="451952" y="6203"/>
                    <a:pt x="451952" y="1792"/>
                    <a:pt x="451952" y="0"/>
                  </a:cubicBezTo>
                  <a:cubicBezTo>
                    <a:pt x="449401" y="0"/>
                    <a:pt x="401069" y="0"/>
                    <a:pt x="398449" y="0"/>
                  </a:cubicBezTo>
                  <a:close/>
                  <a:moveTo>
                    <a:pt x="317918" y="0"/>
                  </a:moveTo>
                  <a:cubicBezTo>
                    <a:pt x="317918" y="1792"/>
                    <a:pt x="317918" y="6203"/>
                    <a:pt x="317918" y="7995"/>
                  </a:cubicBezTo>
                  <a:cubicBezTo>
                    <a:pt x="320469" y="7995"/>
                    <a:pt x="368870" y="7995"/>
                    <a:pt x="371421" y="7995"/>
                  </a:cubicBezTo>
                  <a:cubicBezTo>
                    <a:pt x="371421" y="6203"/>
                    <a:pt x="371421" y="1792"/>
                    <a:pt x="371421" y="0"/>
                  </a:cubicBezTo>
                  <a:cubicBezTo>
                    <a:pt x="368801" y="0"/>
                    <a:pt x="320469" y="0"/>
                    <a:pt x="317918" y="0"/>
                  </a:cubicBezTo>
                  <a:close/>
                  <a:moveTo>
                    <a:pt x="237318" y="0"/>
                  </a:moveTo>
                  <a:cubicBezTo>
                    <a:pt x="237318" y="1792"/>
                    <a:pt x="237318" y="6203"/>
                    <a:pt x="237318" y="7995"/>
                  </a:cubicBezTo>
                  <a:cubicBezTo>
                    <a:pt x="239869" y="7995"/>
                    <a:pt x="288270" y="7995"/>
                    <a:pt x="290822" y="7995"/>
                  </a:cubicBezTo>
                  <a:cubicBezTo>
                    <a:pt x="290822" y="6203"/>
                    <a:pt x="290822" y="1792"/>
                    <a:pt x="290822" y="0"/>
                  </a:cubicBezTo>
                  <a:cubicBezTo>
                    <a:pt x="288270" y="0"/>
                    <a:pt x="239869" y="0"/>
                    <a:pt x="237318" y="0"/>
                  </a:cubicBezTo>
                  <a:close/>
                  <a:moveTo>
                    <a:pt x="156787" y="0"/>
                  </a:moveTo>
                  <a:cubicBezTo>
                    <a:pt x="156787" y="1792"/>
                    <a:pt x="156787" y="6203"/>
                    <a:pt x="156787" y="7995"/>
                  </a:cubicBezTo>
                  <a:cubicBezTo>
                    <a:pt x="159338" y="7995"/>
                    <a:pt x="207740" y="7995"/>
                    <a:pt x="210291" y="7995"/>
                  </a:cubicBezTo>
                  <a:cubicBezTo>
                    <a:pt x="210291" y="6203"/>
                    <a:pt x="210291" y="1792"/>
                    <a:pt x="210291" y="0"/>
                  </a:cubicBezTo>
                  <a:cubicBezTo>
                    <a:pt x="207671" y="0"/>
                    <a:pt x="159338" y="0"/>
                    <a:pt x="156787" y="0"/>
                  </a:cubicBezTo>
                  <a:close/>
                  <a:moveTo>
                    <a:pt x="76187" y="0"/>
                  </a:moveTo>
                  <a:cubicBezTo>
                    <a:pt x="76187" y="1792"/>
                    <a:pt x="76187" y="6203"/>
                    <a:pt x="76187" y="7995"/>
                  </a:cubicBezTo>
                  <a:cubicBezTo>
                    <a:pt x="78738" y="7995"/>
                    <a:pt x="127140" y="7995"/>
                    <a:pt x="129691" y="7995"/>
                  </a:cubicBezTo>
                  <a:cubicBezTo>
                    <a:pt x="129691" y="6203"/>
                    <a:pt x="129691" y="1792"/>
                    <a:pt x="129691" y="0"/>
                  </a:cubicBezTo>
                  <a:cubicBezTo>
                    <a:pt x="127071" y="0"/>
                    <a:pt x="78738" y="0"/>
                    <a:pt x="76187" y="0"/>
                  </a:cubicBezTo>
                  <a:close/>
                  <a:moveTo>
                    <a:pt x="0" y="0"/>
                  </a:moveTo>
                  <a:cubicBezTo>
                    <a:pt x="0" y="1792"/>
                    <a:pt x="0" y="6203"/>
                    <a:pt x="0" y="7995"/>
                  </a:cubicBezTo>
                  <a:cubicBezTo>
                    <a:pt x="2551" y="7995"/>
                    <a:pt x="46540" y="7995"/>
                    <a:pt x="49091" y="7995"/>
                  </a:cubicBezTo>
                  <a:cubicBezTo>
                    <a:pt x="49091" y="6203"/>
                    <a:pt x="49091" y="1792"/>
                    <a:pt x="49091" y="0"/>
                  </a:cubicBezTo>
                  <a:cubicBezTo>
                    <a:pt x="46540" y="0"/>
                    <a:pt x="2551" y="0"/>
                    <a:pt x="0" y="0"/>
                  </a:cubicBezTo>
                  <a:close/>
                </a:path>
              </a:pathLst>
            </a:custGeom>
            <a:solidFill>
              <a:srgbClr val="E4E4E4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207112">
                <a:defRPr/>
              </a:pPr>
              <a:endParaRPr lang="nl-NL" sz="1359" kern="0" dirty="0">
                <a:solidFill>
                  <a:srgbClr val="7C7C7C"/>
                </a:solidFill>
                <a:latin typeface="Roboto Condensed"/>
              </a:endParaRPr>
            </a:p>
          </p:txBody>
        </p:sp>
        <p:sp>
          <p:nvSpPr>
            <p:cNvPr id="1201" name="Freeform 11">
              <a:extLst>
                <a:ext uri="{FF2B5EF4-FFF2-40B4-BE49-F238E27FC236}">
                  <a16:creationId xmlns:a16="http://schemas.microsoft.com/office/drawing/2014/main" id="{D471D8AF-8D30-7E63-AEFB-A61520E5C5C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13207" y="1563761"/>
              <a:ext cx="613083" cy="7995"/>
            </a:xfrm>
            <a:custGeom>
              <a:avLst/>
              <a:gdLst>
                <a:gd name="connsiteX0" fmla="*/ 559580 w 613083"/>
                <a:gd name="connsiteY0" fmla="*/ 0 h 7995"/>
                <a:gd name="connsiteX1" fmla="*/ 559580 w 613083"/>
                <a:gd name="connsiteY1" fmla="*/ 7995 h 7995"/>
                <a:gd name="connsiteX2" fmla="*/ 613083 w 613083"/>
                <a:gd name="connsiteY2" fmla="*/ 7995 h 7995"/>
                <a:gd name="connsiteX3" fmla="*/ 613083 w 613083"/>
                <a:gd name="connsiteY3" fmla="*/ 0 h 7995"/>
                <a:gd name="connsiteX4" fmla="*/ 559580 w 613083"/>
                <a:gd name="connsiteY4" fmla="*/ 0 h 7995"/>
                <a:gd name="connsiteX5" fmla="*/ 478980 w 613083"/>
                <a:gd name="connsiteY5" fmla="*/ 0 h 7995"/>
                <a:gd name="connsiteX6" fmla="*/ 478980 w 613083"/>
                <a:gd name="connsiteY6" fmla="*/ 7995 h 7995"/>
                <a:gd name="connsiteX7" fmla="*/ 532483 w 613083"/>
                <a:gd name="connsiteY7" fmla="*/ 7995 h 7995"/>
                <a:gd name="connsiteX8" fmla="*/ 532483 w 613083"/>
                <a:gd name="connsiteY8" fmla="*/ 0 h 7995"/>
                <a:gd name="connsiteX9" fmla="*/ 478980 w 613083"/>
                <a:gd name="connsiteY9" fmla="*/ 0 h 7995"/>
                <a:gd name="connsiteX10" fmla="*/ 398449 w 613083"/>
                <a:gd name="connsiteY10" fmla="*/ 0 h 7995"/>
                <a:gd name="connsiteX11" fmla="*/ 398449 w 613083"/>
                <a:gd name="connsiteY11" fmla="*/ 7995 h 7995"/>
                <a:gd name="connsiteX12" fmla="*/ 451952 w 613083"/>
                <a:gd name="connsiteY12" fmla="*/ 7995 h 7995"/>
                <a:gd name="connsiteX13" fmla="*/ 451952 w 613083"/>
                <a:gd name="connsiteY13" fmla="*/ 0 h 7995"/>
                <a:gd name="connsiteX14" fmla="*/ 398449 w 613083"/>
                <a:gd name="connsiteY14" fmla="*/ 0 h 7995"/>
                <a:gd name="connsiteX15" fmla="*/ 317849 w 613083"/>
                <a:gd name="connsiteY15" fmla="*/ 0 h 7995"/>
                <a:gd name="connsiteX16" fmla="*/ 317849 w 613083"/>
                <a:gd name="connsiteY16" fmla="*/ 7995 h 7995"/>
                <a:gd name="connsiteX17" fmla="*/ 371352 w 613083"/>
                <a:gd name="connsiteY17" fmla="*/ 7995 h 7995"/>
                <a:gd name="connsiteX18" fmla="*/ 371352 w 613083"/>
                <a:gd name="connsiteY18" fmla="*/ 0 h 7995"/>
                <a:gd name="connsiteX19" fmla="*/ 317849 w 613083"/>
                <a:gd name="connsiteY19" fmla="*/ 0 h 7995"/>
                <a:gd name="connsiteX20" fmla="*/ 237249 w 613083"/>
                <a:gd name="connsiteY20" fmla="*/ 0 h 7995"/>
                <a:gd name="connsiteX21" fmla="*/ 237249 w 613083"/>
                <a:gd name="connsiteY21" fmla="*/ 7995 h 7995"/>
                <a:gd name="connsiteX22" fmla="*/ 290753 w 613083"/>
                <a:gd name="connsiteY22" fmla="*/ 7995 h 7995"/>
                <a:gd name="connsiteX23" fmla="*/ 290753 w 613083"/>
                <a:gd name="connsiteY23" fmla="*/ 0 h 7995"/>
                <a:gd name="connsiteX24" fmla="*/ 237249 w 613083"/>
                <a:gd name="connsiteY24" fmla="*/ 0 h 7995"/>
                <a:gd name="connsiteX25" fmla="*/ 156718 w 613083"/>
                <a:gd name="connsiteY25" fmla="*/ 0 h 7995"/>
                <a:gd name="connsiteX26" fmla="*/ 156718 w 613083"/>
                <a:gd name="connsiteY26" fmla="*/ 7995 h 7995"/>
                <a:gd name="connsiteX27" fmla="*/ 210222 w 613083"/>
                <a:gd name="connsiteY27" fmla="*/ 7995 h 7995"/>
                <a:gd name="connsiteX28" fmla="*/ 210222 w 613083"/>
                <a:gd name="connsiteY28" fmla="*/ 0 h 7995"/>
                <a:gd name="connsiteX29" fmla="*/ 156718 w 613083"/>
                <a:gd name="connsiteY29" fmla="*/ 0 h 7995"/>
                <a:gd name="connsiteX30" fmla="*/ 76118 w 613083"/>
                <a:gd name="connsiteY30" fmla="*/ 0 h 7995"/>
                <a:gd name="connsiteX31" fmla="*/ 76118 w 613083"/>
                <a:gd name="connsiteY31" fmla="*/ 7995 h 7995"/>
                <a:gd name="connsiteX32" fmla="*/ 129622 w 613083"/>
                <a:gd name="connsiteY32" fmla="*/ 7995 h 7995"/>
                <a:gd name="connsiteX33" fmla="*/ 129622 w 613083"/>
                <a:gd name="connsiteY33" fmla="*/ 0 h 7995"/>
                <a:gd name="connsiteX34" fmla="*/ 76118 w 613083"/>
                <a:gd name="connsiteY34" fmla="*/ 0 h 7995"/>
                <a:gd name="connsiteX35" fmla="*/ 0 w 613083"/>
                <a:gd name="connsiteY35" fmla="*/ 0 h 7995"/>
                <a:gd name="connsiteX36" fmla="*/ 0 w 613083"/>
                <a:gd name="connsiteY36" fmla="*/ 7995 h 7995"/>
                <a:gd name="connsiteX37" fmla="*/ 49091 w 613083"/>
                <a:gd name="connsiteY37" fmla="*/ 7995 h 7995"/>
                <a:gd name="connsiteX38" fmla="*/ 49091 w 613083"/>
                <a:gd name="connsiteY38" fmla="*/ 0 h 7995"/>
                <a:gd name="connsiteX39" fmla="*/ 0 w 613083"/>
                <a:gd name="connsiteY39" fmla="*/ 0 h 7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613083" h="7995">
                  <a:moveTo>
                    <a:pt x="559580" y="0"/>
                  </a:moveTo>
                  <a:cubicBezTo>
                    <a:pt x="559580" y="1792"/>
                    <a:pt x="559580" y="6203"/>
                    <a:pt x="559580" y="7995"/>
                  </a:cubicBezTo>
                  <a:cubicBezTo>
                    <a:pt x="562131" y="7995"/>
                    <a:pt x="610532" y="7995"/>
                    <a:pt x="613083" y="7995"/>
                  </a:cubicBezTo>
                  <a:cubicBezTo>
                    <a:pt x="613083" y="6203"/>
                    <a:pt x="613083" y="1792"/>
                    <a:pt x="613083" y="0"/>
                  </a:cubicBezTo>
                  <a:cubicBezTo>
                    <a:pt x="610532" y="0"/>
                    <a:pt x="562131" y="0"/>
                    <a:pt x="559580" y="0"/>
                  </a:cubicBezTo>
                  <a:close/>
                  <a:moveTo>
                    <a:pt x="478980" y="0"/>
                  </a:moveTo>
                  <a:cubicBezTo>
                    <a:pt x="478980" y="1792"/>
                    <a:pt x="478980" y="6203"/>
                    <a:pt x="478980" y="7995"/>
                  </a:cubicBezTo>
                  <a:cubicBezTo>
                    <a:pt x="481531" y="7995"/>
                    <a:pt x="529932" y="7995"/>
                    <a:pt x="532483" y="7995"/>
                  </a:cubicBezTo>
                  <a:cubicBezTo>
                    <a:pt x="532483" y="6203"/>
                    <a:pt x="532483" y="1792"/>
                    <a:pt x="532483" y="0"/>
                  </a:cubicBezTo>
                  <a:cubicBezTo>
                    <a:pt x="529932" y="0"/>
                    <a:pt x="481531" y="0"/>
                    <a:pt x="478980" y="0"/>
                  </a:cubicBezTo>
                  <a:close/>
                  <a:moveTo>
                    <a:pt x="398449" y="0"/>
                  </a:moveTo>
                  <a:cubicBezTo>
                    <a:pt x="398449" y="1792"/>
                    <a:pt x="398449" y="6203"/>
                    <a:pt x="398449" y="7995"/>
                  </a:cubicBezTo>
                  <a:cubicBezTo>
                    <a:pt x="401000" y="7995"/>
                    <a:pt x="449401" y="7995"/>
                    <a:pt x="451952" y="7995"/>
                  </a:cubicBezTo>
                  <a:cubicBezTo>
                    <a:pt x="451952" y="6203"/>
                    <a:pt x="451952" y="1792"/>
                    <a:pt x="451952" y="0"/>
                  </a:cubicBezTo>
                  <a:cubicBezTo>
                    <a:pt x="449332" y="0"/>
                    <a:pt x="401000" y="0"/>
                    <a:pt x="398449" y="0"/>
                  </a:cubicBezTo>
                  <a:close/>
                  <a:moveTo>
                    <a:pt x="317849" y="0"/>
                  </a:moveTo>
                  <a:cubicBezTo>
                    <a:pt x="317849" y="1792"/>
                    <a:pt x="317849" y="6203"/>
                    <a:pt x="317849" y="7995"/>
                  </a:cubicBezTo>
                  <a:cubicBezTo>
                    <a:pt x="320400" y="7995"/>
                    <a:pt x="368801" y="7995"/>
                    <a:pt x="371352" y="7995"/>
                  </a:cubicBezTo>
                  <a:cubicBezTo>
                    <a:pt x="371352" y="6203"/>
                    <a:pt x="371352" y="1792"/>
                    <a:pt x="371352" y="0"/>
                  </a:cubicBezTo>
                  <a:cubicBezTo>
                    <a:pt x="368801" y="0"/>
                    <a:pt x="320400" y="0"/>
                    <a:pt x="317849" y="0"/>
                  </a:cubicBezTo>
                  <a:close/>
                  <a:moveTo>
                    <a:pt x="237249" y="0"/>
                  </a:moveTo>
                  <a:cubicBezTo>
                    <a:pt x="237249" y="1792"/>
                    <a:pt x="237249" y="6203"/>
                    <a:pt x="237249" y="7995"/>
                  </a:cubicBezTo>
                  <a:cubicBezTo>
                    <a:pt x="239800" y="7995"/>
                    <a:pt x="288201" y="7995"/>
                    <a:pt x="290753" y="7995"/>
                  </a:cubicBezTo>
                  <a:cubicBezTo>
                    <a:pt x="290753" y="6203"/>
                    <a:pt x="290753" y="1792"/>
                    <a:pt x="290753" y="0"/>
                  </a:cubicBezTo>
                  <a:cubicBezTo>
                    <a:pt x="288201" y="0"/>
                    <a:pt x="239869" y="0"/>
                    <a:pt x="237249" y="0"/>
                  </a:cubicBezTo>
                  <a:close/>
                  <a:moveTo>
                    <a:pt x="156718" y="0"/>
                  </a:moveTo>
                  <a:cubicBezTo>
                    <a:pt x="156718" y="1792"/>
                    <a:pt x="156718" y="6203"/>
                    <a:pt x="156718" y="7995"/>
                  </a:cubicBezTo>
                  <a:cubicBezTo>
                    <a:pt x="159269" y="7995"/>
                    <a:pt x="207671" y="7995"/>
                    <a:pt x="210222" y="7995"/>
                  </a:cubicBezTo>
                  <a:cubicBezTo>
                    <a:pt x="210222" y="6203"/>
                    <a:pt x="210222" y="1792"/>
                    <a:pt x="210222" y="0"/>
                  </a:cubicBezTo>
                  <a:cubicBezTo>
                    <a:pt x="207602" y="0"/>
                    <a:pt x="159269" y="0"/>
                    <a:pt x="156718" y="0"/>
                  </a:cubicBezTo>
                  <a:close/>
                  <a:moveTo>
                    <a:pt x="76118" y="0"/>
                  </a:moveTo>
                  <a:cubicBezTo>
                    <a:pt x="76118" y="1792"/>
                    <a:pt x="76118" y="6203"/>
                    <a:pt x="76118" y="7995"/>
                  </a:cubicBezTo>
                  <a:cubicBezTo>
                    <a:pt x="78669" y="7995"/>
                    <a:pt x="127071" y="7995"/>
                    <a:pt x="129622" y="7995"/>
                  </a:cubicBezTo>
                  <a:cubicBezTo>
                    <a:pt x="129622" y="6203"/>
                    <a:pt x="129622" y="1792"/>
                    <a:pt x="129622" y="0"/>
                  </a:cubicBezTo>
                  <a:cubicBezTo>
                    <a:pt x="127071" y="0"/>
                    <a:pt x="78669" y="0"/>
                    <a:pt x="76118" y="0"/>
                  </a:cubicBezTo>
                  <a:close/>
                  <a:moveTo>
                    <a:pt x="0" y="0"/>
                  </a:moveTo>
                  <a:cubicBezTo>
                    <a:pt x="0" y="1792"/>
                    <a:pt x="0" y="6203"/>
                    <a:pt x="0" y="7995"/>
                  </a:cubicBezTo>
                  <a:cubicBezTo>
                    <a:pt x="2551" y="7995"/>
                    <a:pt x="46540" y="7995"/>
                    <a:pt x="49091" y="7995"/>
                  </a:cubicBezTo>
                  <a:cubicBezTo>
                    <a:pt x="49091" y="6203"/>
                    <a:pt x="49091" y="1792"/>
                    <a:pt x="49091" y="0"/>
                  </a:cubicBezTo>
                  <a:cubicBezTo>
                    <a:pt x="46540" y="0"/>
                    <a:pt x="2551" y="0"/>
                    <a:pt x="0" y="0"/>
                  </a:cubicBezTo>
                  <a:close/>
                </a:path>
              </a:pathLst>
            </a:custGeom>
            <a:solidFill>
              <a:srgbClr val="E4E4E4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207112">
                <a:defRPr/>
              </a:pPr>
              <a:endParaRPr lang="nl-NL" sz="1359" kern="0" dirty="0">
                <a:solidFill>
                  <a:srgbClr val="7C7C7C"/>
                </a:solidFill>
                <a:latin typeface="Roboto Condensed"/>
              </a:endParaRPr>
            </a:p>
          </p:txBody>
        </p:sp>
        <p:sp>
          <p:nvSpPr>
            <p:cNvPr id="1202" name="Freeform 12">
              <a:extLst>
                <a:ext uri="{FF2B5EF4-FFF2-40B4-BE49-F238E27FC236}">
                  <a16:creationId xmlns:a16="http://schemas.microsoft.com/office/drawing/2014/main" id="{8104B8E8-F0B1-3002-09C4-2CDC4CE10B0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28264" y="1563761"/>
              <a:ext cx="53503" cy="7995"/>
            </a:xfrm>
            <a:custGeom>
              <a:avLst/>
              <a:gdLst>
                <a:gd name="connsiteX0" fmla="*/ 0 w 53503"/>
                <a:gd name="connsiteY0" fmla="*/ 0 h 7995"/>
                <a:gd name="connsiteX1" fmla="*/ 0 w 53503"/>
                <a:gd name="connsiteY1" fmla="*/ 7995 h 7995"/>
                <a:gd name="connsiteX2" fmla="*/ 53503 w 53503"/>
                <a:gd name="connsiteY2" fmla="*/ 7995 h 7995"/>
                <a:gd name="connsiteX3" fmla="*/ 53503 w 53503"/>
                <a:gd name="connsiteY3" fmla="*/ 0 h 7995"/>
                <a:gd name="connsiteX4" fmla="*/ 0 w 53503"/>
                <a:gd name="connsiteY4" fmla="*/ 0 h 7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503" h="7995">
                  <a:moveTo>
                    <a:pt x="0" y="0"/>
                  </a:moveTo>
                  <a:cubicBezTo>
                    <a:pt x="0" y="1792"/>
                    <a:pt x="0" y="6203"/>
                    <a:pt x="0" y="7995"/>
                  </a:cubicBezTo>
                  <a:cubicBezTo>
                    <a:pt x="2551" y="7995"/>
                    <a:pt x="50952" y="7995"/>
                    <a:pt x="53503" y="7995"/>
                  </a:cubicBezTo>
                  <a:cubicBezTo>
                    <a:pt x="53503" y="6203"/>
                    <a:pt x="53503" y="1792"/>
                    <a:pt x="53503" y="0"/>
                  </a:cubicBezTo>
                  <a:cubicBezTo>
                    <a:pt x="50952" y="0"/>
                    <a:pt x="2551" y="0"/>
                    <a:pt x="0" y="0"/>
                  </a:cubicBezTo>
                  <a:close/>
                </a:path>
              </a:pathLst>
            </a:custGeom>
            <a:solidFill>
              <a:srgbClr val="E4E4E4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207112">
                <a:defRPr/>
              </a:pPr>
              <a:endParaRPr lang="nl-NL" sz="1359" kern="0" dirty="0">
                <a:solidFill>
                  <a:srgbClr val="7C7C7C"/>
                </a:solidFill>
                <a:latin typeface="Roboto Condensed"/>
              </a:endParaRPr>
            </a:p>
          </p:txBody>
        </p:sp>
        <p:grpSp>
          <p:nvGrpSpPr>
            <p:cNvPr id="1203" name="Graphic 4">
              <a:extLst>
                <a:ext uri="{FF2B5EF4-FFF2-40B4-BE49-F238E27FC236}">
                  <a16:creationId xmlns:a16="http://schemas.microsoft.com/office/drawing/2014/main" id="{85B5279B-32A1-2374-04A2-59C40D61F3B3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15508" y="1463821"/>
              <a:ext cx="1362269" cy="207807"/>
              <a:chOff x="515508" y="1463821"/>
              <a:chExt cx="1362269" cy="207807"/>
            </a:xfrm>
            <a:solidFill>
              <a:srgbClr val="E4E4E4"/>
            </a:solidFill>
          </p:grpSpPr>
          <p:sp>
            <p:nvSpPr>
              <p:cNvPr id="1204" name="Freeform 14">
                <a:extLst>
                  <a:ext uri="{FF2B5EF4-FFF2-40B4-BE49-F238E27FC236}">
                    <a16:creationId xmlns:a16="http://schemas.microsoft.com/office/drawing/2014/main" id="{4AD7953D-2991-4AEB-CE49-9D0E6673A486}"/>
                  </a:ext>
                </a:extLst>
              </p:cNvPr>
              <p:cNvSpPr/>
              <p:nvPr/>
            </p:nvSpPr>
            <p:spPr>
              <a:xfrm>
                <a:off x="515508" y="1663357"/>
                <a:ext cx="1362269" cy="8270"/>
              </a:xfrm>
              <a:custGeom>
                <a:avLst/>
                <a:gdLst>
                  <a:gd name="connsiteX0" fmla="*/ 0 w 1362269"/>
                  <a:gd name="connsiteY0" fmla="*/ 0 h 8270"/>
                  <a:gd name="connsiteX1" fmla="*/ 1362269 w 1362269"/>
                  <a:gd name="connsiteY1" fmla="*/ 0 h 8270"/>
                  <a:gd name="connsiteX2" fmla="*/ 1362269 w 1362269"/>
                  <a:gd name="connsiteY2" fmla="*/ 8271 h 8270"/>
                  <a:gd name="connsiteX3" fmla="*/ 0 w 1362269"/>
                  <a:gd name="connsiteY3" fmla="*/ 8271 h 8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62269" h="8270">
                    <a:moveTo>
                      <a:pt x="0" y="0"/>
                    </a:moveTo>
                    <a:lnTo>
                      <a:pt x="1362269" y="0"/>
                    </a:lnTo>
                    <a:lnTo>
                      <a:pt x="1362269" y="8271"/>
                    </a:lnTo>
                    <a:lnTo>
                      <a:pt x="0" y="8271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207112">
                  <a:defRPr/>
                </a:pPr>
                <a:endParaRPr lang="nl-NL" sz="1359" kern="0" dirty="0">
                  <a:solidFill>
                    <a:srgbClr val="7C7C7C"/>
                  </a:solidFill>
                  <a:latin typeface="Roboto Condensed"/>
                </a:endParaRPr>
              </a:p>
            </p:txBody>
          </p:sp>
          <p:sp>
            <p:nvSpPr>
              <p:cNvPr id="1205" name="Freeform 15">
                <a:extLst>
                  <a:ext uri="{FF2B5EF4-FFF2-40B4-BE49-F238E27FC236}">
                    <a16:creationId xmlns:a16="http://schemas.microsoft.com/office/drawing/2014/main" id="{A190A356-D464-A9E5-EA93-B32FDBDC1E6E}"/>
                  </a:ext>
                </a:extLst>
              </p:cNvPr>
              <p:cNvSpPr/>
              <p:nvPr/>
            </p:nvSpPr>
            <p:spPr>
              <a:xfrm>
                <a:off x="515508" y="1463821"/>
                <a:ext cx="1362269" cy="8270"/>
              </a:xfrm>
              <a:custGeom>
                <a:avLst/>
                <a:gdLst>
                  <a:gd name="connsiteX0" fmla="*/ 0 w 1362269"/>
                  <a:gd name="connsiteY0" fmla="*/ 0 h 8270"/>
                  <a:gd name="connsiteX1" fmla="*/ 1362269 w 1362269"/>
                  <a:gd name="connsiteY1" fmla="*/ 0 h 8270"/>
                  <a:gd name="connsiteX2" fmla="*/ 1362269 w 1362269"/>
                  <a:gd name="connsiteY2" fmla="*/ 8271 h 8270"/>
                  <a:gd name="connsiteX3" fmla="*/ 0 w 1362269"/>
                  <a:gd name="connsiteY3" fmla="*/ 8271 h 8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62269" h="8270">
                    <a:moveTo>
                      <a:pt x="0" y="0"/>
                    </a:moveTo>
                    <a:lnTo>
                      <a:pt x="1362269" y="0"/>
                    </a:lnTo>
                    <a:lnTo>
                      <a:pt x="1362269" y="8271"/>
                    </a:lnTo>
                    <a:lnTo>
                      <a:pt x="0" y="8271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207112">
                  <a:defRPr/>
                </a:pPr>
                <a:endParaRPr lang="nl-NL" sz="1359" kern="0" dirty="0">
                  <a:solidFill>
                    <a:srgbClr val="7C7C7C"/>
                  </a:solidFill>
                  <a:latin typeface="Roboto Condensed"/>
                </a:endParaRPr>
              </a:p>
            </p:txBody>
          </p:sp>
        </p:grpSp>
      </p:grpSp>
      <p:grpSp>
        <p:nvGrpSpPr>
          <p:cNvPr id="1214" name="Group 1213">
            <a:extLst>
              <a:ext uri="{FF2B5EF4-FFF2-40B4-BE49-F238E27FC236}">
                <a16:creationId xmlns:a16="http://schemas.microsoft.com/office/drawing/2014/main" id="{BC60C827-0D06-C072-5029-028221C85FB9}"/>
              </a:ext>
            </a:extLst>
          </p:cNvPr>
          <p:cNvGrpSpPr>
            <a:grpSpLocks noChangeAspect="1"/>
          </p:cNvGrpSpPr>
          <p:nvPr/>
        </p:nvGrpSpPr>
        <p:grpSpPr>
          <a:xfrm>
            <a:off x="9106647" y="555590"/>
            <a:ext cx="1647268" cy="592066"/>
            <a:chOff x="515508" y="1450725"/>
            <a:chExt cx="1362269" cy="233999"/>
          </a:xfrm>
        </p:grpSpPr>
        <p:sp>
          <p:nvSpPr>
            <p:cNvPr id="1215" name="Freeform 9">
              <a:extLst>
                <a:ext uri="{FF2B5EF4-FFF2-40B4-BE49-F238E27FC236}">
                  <a16:creationId xmlns:a16="http://schemas.microsoft.com/office/drawing/2014/main" id="{FF78E65C-D774-FF99-097B-96F3B8B3558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15508" y="1450725"/>
              <a:ext cx="1362269" cy="233999"/>
            </a:xfrm>
            <a:custGeom>
              <a:avLst/>
              <a:gdLst>
                <a:gd name="connsiteX0" fmla="*/ 0 w 1362269"/>
                <a:gd name="connsiteY0" fmla="*/ 0 h 233999"/>
                <a:gd name="connsiteX1" fmla="*/ 1362269 w 1362269"/>
                <a:gd name="connsiteY1" fmla="*/ 0 h 233999"/>
                <a:gd name="connsiteX2" fmla="*/ 1362269 w 1362269"/>
                <a:gd name="connsiteY2" fmla="*/ 233999 h 233999"/>
                <a:gd name="connsiteX3" fmla="*/ 0 w 1362269"/>
                <a:gd name="connsiteY3" fmla="*/ 233999 h 233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2269" h="233999">
                  <a:moveTo>
                    <a:pt x="0" y="0"/>
                  </a:moveTo>
                  <a:lnTo>
                    <a:pt x="1362269" y="0"/>
                  </a:lnTo>
                  <a:lnTo>
                    <a:pt x="1362269" y="233999"/>
                  </a:lnTo>
                  <a:lnTo>
                    <a:pt x="0" y="233999"/>
                  </a:lnTo>
                  <a:close/>
                </a:path>
              </a:pathLst>
            </a:custGeom>
            <a:solidFill>
              <a:srgbClr val="60B3BB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207112">
                <a:defRPr/>
              </a:pPr>
              <a:endParaRPr lang="nl-NL" sz="1359" kern="0" dirty="0">
                <a:solidFill>
                  <a:srgbClr val="7C7C7C"/>
                </a:solidFill>
                <a:latin typeface="Roboto Condensed"/>
              </a:endParaRPr>
            </a:p>
          </p:txBody>
        </p:sp>
        <p:sp>
          <p:nvSpPr>
            <p:cNvPr id="1216" name="Freeform 10">
              <a:extLst>
                <a:ext uri="{FF2B5EF4-FFF2-40B4-BE49-F238E27FC236}">
                  <a16:creationId xmlns:a16="http://schemas.microsoft.com/office/drawing/2014/main" id="{37B428EC-7F23-288B-06E2-054A19348FE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53801" y="1563761"/>
              <a:ext cx="613152" cy="7995"/>
            </a:xfrm>
            <a:custGeom>
              <a:avLst/>
              <a:gdLst>
                <a:gd name="connsiteX0" fmla="*/ 559649 w 613152"/>
                <a:gd name="connsiteY0" fmla="*/ 0 h 7995"/>
                <a:gd name="connsiteX1" fmla="*/ 559649 w 613152"/>
                <a:gd name="connsiteY1" fmla="*/ 7995 h 7995"/>
                <a:gd name="connsiteX2" fmla="*/ 613152 w 613152"/>
                <a:gd name="connsiteY2" fmla="*/ 7995 h 7995"/>
                <a:gd name="connsiteX3" fmla="*/ 613152 w 613152"/>
                <a:gd name="connsiteY3" fmla="*/ 0 h 7995"/>
                <a:gd name="connsiteX4" fmla="*/ 559649 w 613152"/>
                <a:gd name="connsiteY4" fmla="*/ 0 h 7995"/>
                <a:gd name="connsiteX5" fmla="*/ 479049 w 613152"/>
                <a:gd name="connsiteY5" fmla="*/ 0 h 7995"/>
                <a:gd name="connsiteX6" fmla="*/ 479049 w 613152"/>
                <a:gd name="connsiteY6" fmla="*/ 7995 h 7995"/>
                <a:gd name="connsiteX7" fmla="*/ 532552 w 613152"/>
                <a:gd name="connsiteY7" fmla="*/ 7995 h 7995"/>
                <a:gd name="connsiteX8" fmla="*/ 532552 w 613152"/>
                <a:gd name="connsiteY8" fmla="*/ 0 h 7995"/>
                <a:gd name="connsiteX9" fmla="*/ 479049 w 613152"/>
                <a:gd name="connsiteY9" fmla="*/ 0 h 7995"/>
                <a:gd name="connsiteX10" fmla="*/ 398449 w 613152"/>
                <a:gd name="connsiteY10" fmla="*/ 0 h 7995"/>
                <a:gd name="connsiteX11" fmla="*/ 398449 w 613152"/>
                <a:gd name="connsiteY11" fmla="*/ 7995 h 7995"/>
                <a:gd name="connsiteX12" fmla="*/ 451952 w 613152"/>
                <a:gd name="connsiteY12" fmla="*/ 7995 h 7995"/>
                <a:gd name="connsiteX13" fmla="*/ 451952 w 613152"/>
                <a:gd name="connsiteY13" fmla="*/ 0 h 7995"/>
                <a:gd name="connsiteX14" fmla="*/ 398449 w 613152"/>
                <a:gd name="connsiteY14" fmla="*/ 0 h 7995"/>
                <a:gd name="connsiteX15" fmla="*/ 317918 w 613152"/>
                <a:gd name="connsiteY15" fmla="*/ 0 h 7995"/>
                <a:gd name="connsiteX16" fmla="*/ 317918 w 613152"/>
                <a:gd name="connsiteY16" fmla="*/ 7995 h 7995"/>
                <a:gd name="connsiteX17" fmla="*/ 371421 w 613152"/>
                <a:gd name="connsiteY17" fmla="*/ 7995 h 7995"/>
                <a:gd name="connsiteX18" fmla="*/ 371421 w 613152"/>
                <a:gd name="connsiteY18" fmla="*/ 0 h 7995"/>
                <a:gd name="connsiteX19" fmla="*/ 317918 w 613152"/>
                <a:gd name="connsiteY19" fmla="*/ 0 h 7995"/>
                <a:gd name="connsiteX20" fmla="*/ 237318 w 613152"/>
                <a:gd name="connsiteY20" fmla="*/ 0 h 7995"/>
                <a:gd name="connsiteX21" fmla="*/ 237318 w 613152"/>
                <a:gd name="connsiteY21" fmla="*/ 7995 h 7995"/>
                <a:gd name="connsiteX22" fmla="*/ 290822 w 613152"/>
                <a:gd name="connsiteY22" fmla="*/ 7995 h 7995"/>
                <a:gd name="connsiteX23" fmla="*/ 290822 w 613152"/>
                <a:gd name="connsiteY23" fmla="*/ 0 h 7995"/>
                <a:gd name="connsiteX24" fmla="*/ 237318 w 613152"/>
                <a:gd name="connsiteY24" fmla="*/ 0 h 7995"/>
                <a:gd name="connsiteX25" fmla="*/ 156787 w 613152"/>
                <a:gd name="connsiteY25" fmla="*/ 0 h 7995"/>
                <a:gd name="connsiteX26" fmla="*/ 156787 w 613152"/>
                <a:gd name="connsiteY26" fmla="*/ 7995 h 7995"/>
                <a:gd name="connsiteX27" fmla="*/ 210291 w 613152"/>
                <a:gd name="connsiteY27" fmla="*/ 7995 h 7995"/>
                <a:gd name="connsiteX28" fmla="*/ 210291 w 613152"/>
                <a:gd name="connsiteY28" fmla="*/ 0 h 7995"/>
                <a:gd name="connsiteX29" fmla="*/ 156787 w 613152"/>
                <a:gd name="connsiteY29" fmla="*/ 0 h 7995"/>
                <a:gd name="connsiteX30" fmla="*/ 76187 w 613152"/>
                <a:gd name="connsiteY30" fmla="*/ 0 h 7995"/>
                <a:gd name="connsiteX31" fmla="*/ 76187 w 613152"/>
                <a:gd name="connsiteY31" fmla="*/ 7995 h 7995"/>
                <a:gd name="connsiteX32" fmla="*/ 129691 w 613152"/>
                <a:gd name="connsiteY32" fmla="*/ 7995 h 7995"/>
                <a:gd name="connsiteX33" fmla="*/ 129691 w 613152"/>
                <a:gd name="connsiteY33" fmla="*/ 0 h 7995"/>
                <a:gd name="connsiteX34" fmla="*/ 76187 w 613152"/>
                <a:gd name="connsiteY34" fmla="*/ 0 h 7995"/>
                <a:gd name="connsiteX35" fmla="*/ 0 w 613152"/>
                <a:gd name="connsiteY35" fmla="*/ 0 h 7995"/>
                <a:gd name="connsiteX36" fmla="*/ 0 w 613152"/>
                <a:gd name="connsiteY36" fmla="*/ 7995 h 7995"/>
                <a:gd name="connsiteX37" fmla="*/ 49091 w 613152"/>
                <a:gd name="connsiteY37" fmla="*/ 7995 h 7995"/>
                <a:gd name="connsiteX38" fmla="*/ 49091 w 613152"/>
                <a:gd name="connsiteY38" fmla="*/ 0 h 7995"/>
                <a:gd name="connsiteX39" fmla="*/ 0 w 613152"/>
                <a:gd name="connsiteY39" fmla="*/ 0 h 7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613152" h="7995">
                  <a:moveTo>
                    <a:pt x="559649" y="0"/>
                  </a:moveTo>
                  <a:cubicBezTo>
                    <a:pt x="559649" y="1792"/>
                    <a:pt x="559649" y="6203"/>
                    <a:pt x="559649" y="7995"/>
                  </a:cubicBezTo>
                  <a:cubicBezTo>
                    <a:pt x="562200" y="7995"/>
                    <a:pt x="610601" y="7995"/>
                    <a:pt x="613152" y="7995"/>
                  </a:cubicBezTo>
                  <a:cubicBezTo>
                    <a:pt x="613152" y="6203"/>
                    <a:pt x="613152" y="1792"/>
                    <a:pt x="613152" y="0"/>
                  </a:cubicBezTo>
                  <a:cubicBezTo>
                    <a:pt x="610532" y="0"/>
                    <a:pt x="562200" y="0"/>
                    <a:pt x="559649" y="0"/>
                  </a:cubicBezTo>
                  <a:close/>
                  <a:moveTo>
                    <a:pt x="479049" y="0"/>
                  </a:moveTo>
                  <a:cubicBezTo>
                    <a:pt x="479049" y="1792"/>
                    <a:pt x="479049" y="6203"/>
                    <a:pt x="479049" y="7995"/>
                  </a:cubicBezTo>
                  <a:cubicBezTo>
                    <a:pt x="481600" y="7995"/>
                    <a:pt x="530001" y="7995"/>
                    <a:pt x="532552" y="7995"/>
                  </a:cubicBezTo>
                  <a:cubicBezTo>
                    <a:pt x="532552" y="6203"/>
                    <a:pt x="532552" y="1792"/>
                    <a:pt x="532552" y="0"/>
                  </a:cubicBezTo>
                  <a:cubicBezTo>
                    <a:pt x="530001" y="0"/>
                    <a:pt x="481600" y="0"/>
                    <a:pt x="479049" y="0"/>
                  </a:cubicBezTo>
                  <a:close/>
                  <a:moveTo>
                    <a:pt x="398449" y="0"/>
                  </a:moveTo>
                  <a:cubicBezTo>
                    <a:pt x="398449" y="1792"/>
                    <a:pt x="398449" y="6203"/>
                    <a:pt x="398449" y="7995"/>
                  </a:cubicBezTo>
                  <a:cubicBezTo>
                    <a:pt x="401000" y="7995"/>
                    <a:pt x="449401" y="7995"/>
                    <a:pt x="451952" y="7995"/>
                  </a:cubicBezTo>
                  <a:cubicBezTo>
                    <a:pt x="451952" y="6203"/>
                    <a:pt x="451952" y="1792"/>
                    <a:pt x="451952" y="0"/>
                  </a:cubicBezTo>
                  <a:cubicBezTo>
                    <a:pt x="449401" y="0"/>
                    <a:pt x="401069" y="0"/>
                    <a:pt x="398449" y="0"/>
                  </a:cubicBezTo>
                  <a:close/>
                  <a:moveTo>
                    <a:pt x="317918" y="0"/>
                  </a:moveTo>
                  <a:cubicBezTo>
                    <a:pt x="317918" y="1792"/>
                    <a:pt x="317918" y="6203"/>
                    <a:pt x="317918" y="7995"/>
                  </a:cubicBezTo>
                  <a:cubicBezTo>
                    <a:pt x="320469" y="7995"/>
                    <a:pt x="368870" y="7995"/>
                    <a:pt x="371421" y="7995"/>
                  </a:cubicBezTo>
                  <a:cubicBezTo>
                    <a:pt x="371421" y="6203"/>
                    <a:pt x="371421" y="1792"/>
                    <a:pt x="371421" y="0"/>
                  </a:cubicBezTo>
                  <a:cubicBezTo>
                    <a:pt x="368801" y="0"/>
                    <a:pt x="320469" y="0"/>
                    <a:pt x="317918" y="0"/>
                  </a:cubicBezTo>
                  <a:close/>
                  <a:moveTo>
                    <a:pt x="237318" y="0"/>
                  </a:moveTo>
                  <a:cubicBezTo>
                    <a:pt x="237318" y="1792"/>
                    <a:pt x="237318" y="6203"/>
                    <a:pt x="237318" y="7995"/>
                  </a:cubicBezTo>
                  <a:cubicBezTo>
                    <a:pt x="239869" y="7995"/>
                    <a:pt x="288270" y="7995"/>
                    <a:pt x="290822" y="7995"/>
                  </a:cubicBezTo>
                  <a:cubicBezTo>
                    <a:pt x="290822" y="6203"/>
                    <a:pt x="290822" y="1792"/>
                    <a:pt x="290822" y="0"/>
                  </a:cubicBezTo>
                  <a:cubicBezTo>
                    <a:pt x="288270" y="0"/>
                    <a:pt x="239869" y="0"/>
                    <a:pt x="237318" y="0"/>
                  </a:cubicBezTo>
                  <a:close/>
                  <a:moveTo>
                    <a:pt x="156787" y="0"/>
                  </a:moveTo>
                  <a:cubicBezTo>
                    <a:pt x="156787" y="1792"/>
                    <a:pt x="156787" y="6203"/>
                    <a:pt x="156787" y="7995"/>
                  </a:cubicBezTo>
                  <a:cubicBezTo>
                    <a:pt x="159338" y="7995"/>
                    <a:pt x="207740" y="7995"/>
                    <a:pt x="210291" y="7995"/>
                  </a:cubicBezTo>
                  <a:cubicBezTo>
                    <a:pt x="210291" y="6203"/>
                    <a:pt x="210291" y="1792"/>
                    <a:pt x="210291" y="0"/>
                  </a:cubicBezTo>
                  <a:cubicBezTo>
                    <a:pt x="207671" y="0"/>
                    <a:pt x="159338" y="0"/>
                    <a:pt x="156787" y="0"/>
                  </a:cubicBezTo>
                  <a:close/>
                  <a:moveTo>
                    <a:pt x="76187" y="0"/>
                  </a:moveTo>
                  <a:cubicBezTo>
                    <a:pt x="76187" y="1792"/>
                    <a:pt x="76187" y="6203"/>
                    <a:pt x="76187" y="7995"/>
                  </a:cubicBezTo>
                  <a:cubicBezTo>
                    <a:pt x="78738" y="7995"/>
                    <a:pt x="127140" y="7995"/>
                    <a:pt x="129691" y="7995"/>
                  </a:cubicBezTo>
                  <a:cubicBezTo>
                    <a:pt x="129691" y="6203"/>
                    <a:pt x="129691" y="1792"/>
                    <a:pt x="129691" y="0"/>
                  </a:cubicBezTo>
                  <a:cubicBezTo>
                    <a:pt x="127071" y="0"/>
                    <a:pt x="78738" y="0"/>
                    <a:pt x="76187" y="0"/>
                  </a:cubicBezTo>
                  <a:close/>
                  <a:moveTo>
                    <a:pt x="0" y="0"/>
                  </a:moveTo>
                  <a:cubicBezTo>
                    <a:pt x="0" y="1792"/>
                    <a:pt x="0" y="6203"/>
                    <a:pt x="0" y="7995"/>
                  </a:cubicBezTo>
                  <a:cubicBezTo>
                    <a:pt x="2551" y="7995"/>
                    <a:pt x="46540" y="7995"/>
                    <a:pt x="49091" y="7995"/>
                  </a:cubicBezTo>
                  <a:cubicBezTo>
                    <a:pt x="49091" y="6203"/>
                    <a:pt x="49091" y="1792"/>
                    <a:pt x="49091" y="0"/>
                  </a:cubicBezTo>
                  <a:cubicBezTo>
                    <a:pt x="46540" y="0"/>
                    <a:pt x="2551" y="0"/>
                    <a:pt x="0" y="0"/>
                  </a:cubicBezTo>
                  <a:close/>
                </a:path>
              </a:pathLst>
            </a:custGeom>
            <a:solidFill>
              <a:srgbClr val="E4E4E4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207112">
                <a:defRPr/>
              </a:pPr>
              <a:endParaRPr lang="nl-NL" sz="1359" kern="0" dirty="0">
                <a:solidFill>
                  <a:srgbClr val="7C7C7C"/>
                </a:solidFill>
                <a:latin typeface="Roboto Condensed"/>
              </a:endParaRPr>
            </a:p>
          </p:txBody>
        </p:sp>
        <p:sp>
          <p:nvSpPr>
            <p:cNvPr id="1217" name="Freeform 11">
              <a:extLst>
                <a:ext uri="{FF2B5EF4-FFF2-40B4-BE49-F238E27FC236}">
                  <a16:creationId xmlns:a16="http://schemas.microsoft.com/office/drawing/2014/main" id="{C00F5203-547B-85F8-A7F5-EA3882F85B6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13207" y="1563761"/>
              <a:ext cx="613083" cy="7995"/>
            </a:xfrm>
            <a:custGeom>
              <a:avLst/>
              <a:gdLst>
                <a:gd name="connsiteX0" fmla="*/ 559580 w 613083"/>
                <a:gd name="connsiteY0" fmla="*/ 0 h 7995"/>
                <a:gd name="connsiteX1" fmla="*/ 559580 w 613083"/>
                <a:gd name="connsiteY1" fmla="*/ 7995 h 7995"/>
                <a:gd name="connsiteX2" fmla="*/ 613083 w 613083"/>
                <a:gd name="connsiteY2" fmla="*/ 7995 h 7995"/>
                <a:gd name="connsiteX3" fmla="*/ 613083 w 613083"/>
                <a:gd name="connsiteY3" fmla="*/ 0 h 7995"/>
                <a:gd name="connsiteX4" fmla="*/ 559580 w 613083"/>
                <a:gd name="connsiteY4" fmla="*/ 0 h 7995"/>
                <a:gd name="connsiteX5" fmla="*/ 478980 w 613083"/>
                <a:gd name="connsiteY5" fmla="*/ 0 h 7995"/>
                <a:gd name="connsiteX6" fmla="*/ 478980 w 613083"/>
                <a:gd name="connsiteY6" fmla="*/ 7995 h 7995"/>
                <a:gd name="connsiteX7" fmla="*/ 532483 w 613083"/>
                <a:gd name="connsiteY7" fmla="*/ 7995 h 7995"/>
                <a:gd name="connsiteX8" fmla="*/ 532483 w 613083"/>
                <a:gd name="connsiteY8" fmla="*/ 0 h 7995"/>
                <a:gd name="connsiteX9" fmla="*/ 478980 w 613083"/>
                <a:gd name="connsiteY9" fmla="*/ 0 h 7995"/>
                <a:gd name="connsiteX10" fmla="*/ 398449 w 613083"/>
                <a:gd name="connsiteY10" fmla="*/ 0 h 7995"/>
                <a:gd name="connsiteX11" fmla="*/ 398449 w 613083"/>
                <a:gd name="connsiteY11" fmla="*/ 7995 h 7995"/>
                <a:gd name="connsiteX12" fmla="*/ 451952 w 613083"/>
                <a:gd name="connsiteY12" fmla="*/ 7995 h 7995"/>
                <a:gd name="connsiteX13" fmla="*/ 451952 w 613083"/>
                <a:gd name="connsiteY13" fmla="*/ 0 h 7995"/>
                <a:gd name="connsiteX14" fmla="*/ 398449 w 613083"/>
                <a:gd name="connsiteY14" fmla="*/ 0 h 7995"/>
                <a:gd name="connsiteX15" fmla="*/ 317849 w 613083"/>
                <a:gd name="connsiteY15" fmla="*/ 0 h 7995"/>
                <a:gd name="connsiteX16" fmla="*/ 317849 w 613083"/>
                <a:gd name="connsiteY16" fmla="*/ 7995 h 7995"/>
                <a:gd name="connsiteX17" fmla="*/ 371352 w 613083"/>
                <a:gd name="connsiteY17" fmla="*/ 7995 h 7995"/>
                <a:gd name="connsiteX18" fmla="*/ 371352 w 613083"/>
                <a:gd name="connsiteY18" fmla="*/ 0 h 7995"/>
                <a:gd name="connsiteX19" fmla="*/ 317849 w 613083"/>
                <a:gd name="connsiteY19" fmla="*/ 0 h 7995"/>
                <a:gd name="connsiteX20" fmla="*/ 237249 w 613083"/>
                <a:gd name="connsiteY20" fmla="*/ 0 h 7995"/>
                <a:gd name="connsiteX21" fmla="*/ 237249 w 613083"/>
                <a:gd name="connsiteY21" fmla="*/ 7995 h 7995"/>
                <a:gd name="connsiteX22" fmla="*/ 290753 w 613083"/>
                <a:gd name="connsiteY22" fmla="*/ 7995 h 7995"/>
                <a:gd name="connsiteX23" fmla="*/ 290753 w 613083"/>
                <a:gd name="connsiteY23" fmla="*/ 0 h 7995"/>
                <a:gd name="connsiteX24" fmla="*/ 237249 w 613083"/>
                <a:gd name="connsiteY24" fmla="*/ 0 h 7995"/>
                <a:gd name="connsiteX25" fmla="*/ 156718 w 613083"/>
                <a:gd name="connsiteY25" fmla="*/ 0 h 7995"/>
                <a:gd name="connsiteX26" fmla="*/ 156718 w 613083"/>
                <a:gd name="connsiteY26" fmla="*/ 7995 h 7995"/>
                <a:gd name="connsiteX27" fmla="*/ 210222 w 613083"/>
                <a:gd name="connsiteY27" fmla="*/ 7995 h 7995"/>
                <a:gd name="connsiteX28" fmla="*/ 210222 w 613083"/>
                <a:gd name="connsiteY28" fmla="*/ 0 h 7995"/>
                <a:gd name="connsiteX29" fmla="*/ 156718 w 613083"/>
                <a:gd name="connsiteY29" fmla="*/ 0 h 7995"/>
                <a:gd name="connsiteX30" fmla="*/ 76118 w 613083"/>
                <a:gd name="connsiteY30" fmla="*/ 0 h 7995"/>
                <a:gd name="connsiteX31" fmla="*/ 76118 w 613083"/>
                <a:gd name="connsiteY31" fmla="*/ 7995 h 7995"/>
                <a:gd name="connsiteX32" fmla="*/ 129622 w 613083"/>
                <a:gd name="connsiteY32" fmla="*/ 7995 h 7995"/>
                <a:gd name="connsiteX33" fmla="*/ 129622 w 613083"/>
                <a:gd name="connsiteY33" fmla="*/ 0 h 7995"/>
                <a:gd name="connsiteX34" fmla="*/ 76118 w 613083"/>
                <a:gd name="connsiteY34" fmla="*/ 0 h 7995"/>
                <a:gd name="connsiteX35" fmla="*/ 0 w 613083"/>
                <a:gd name="connsiteY35" fmla="*/ 0 h 7995"/>
                <a:gd name="connsiteX36" fmla="*/ 0 w 613083"/>
                <a:gd name="connsiteY36" fmla="*/ 7995 h 7995"/>
                <a:gd name="connsiteX37" fmla="*/ 49091 w 613083"/>
                <a:gd name="connsiteY37" fmla="*/ 7995 h 7995"/>
                <a:gd name="connsiteX38" fmla="*/ 49091 w 613083"/>
                <a:gd name="connsiteY38" fmla="*/ 0 h 7995"/>
                <a:gd name="connsiteX39" fmla="*/ 0 w 613083"/>
                <a:gd name="connsiteY39" fmla="*/ 0 h 7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613083" h="7995">
                  <a:moveTo>
                    <a:pt x="559580" y="0"/>
                  </a:moveTo>
                  <a:cubicBezTo>
                    <a:pt x="559580" y="1792"/>
                    <a:pt x="559580" y="6203"/>
                    <a:pt x="559580" y="7995"/>
                  </a:cubicBezTo>
                  <a:cubicBezTo>
                    <a:pt x="562131" y="7995"/>
                    <a:pt x="610532" y="7995"/>
                    <a:pt x="613083" y="7995"/>
                  </a:cubicBezTo>
                  <a:cubicBezTo>
                    <a:pt x="613083" y="6203"/>
                    <a:pt x="613083" y="1792"/>
                    <a:pt x="613083" y="0"/>
                  </a:cubicBezTo>
                  <a:cubicBezTo>
                    <a:pt x="610532" y="0"/>
                    <a:pt x="562131" y="0"/>
                    <a:pt x="559580" y="0"/>
                  </a:cubicBezTo>
                  <a:close/>
                  <a:moveTo>
                    <a:pt x="478980" y="0"/>
                  </a:moveTo>
                  <a:cubicBezTo>
                    <a:pt x="478980" y="1792"/>
                    <a:pt x="478980" y="6203"/>
                    <a:pt x="478980" y="7995"/>
                  </a:cubicBezTo>
                  <a:cubicBezTo>
                    <a:pt x="481531" y="7995"/>
                    <a:pt x="529932" y="7995"/>
                    <a:pt x="532483" y="7995"/>
                  </a:cubicBezTo>
                  <a:cubicBezTo>
                    <a:pt x="532483" y="6203"/>
                    <a:pt x="532483" y="1792"/>
                    <a:pt x="532483" y="0"/>
                  </a:cubicBezTo>
                  <a:cubicBezTo>
                    <a:pt x="529932" y="0"/>
                    <a:pt x="481531" y="0"/>
                    <a:pt x="478980" y="0"/>
                  </a:cubicBezTo>
                  <a:close/>
                  <a:moveTo>
                    <a:pt x="398449" y="0"/>
                  </a:moveTo>
                  <a:cubicBezTo>
                    <a:pt x="398449" y="1792"/>
                    <a:pt x="398449" y="6203"/>
                    <a:pt x="398449" y="7995"/>
                  </a:cubicBezTo>
                  <a:cubicBezTo>
                    <a:pt x="401000" y="7995"/>
                    <a:pt x="449401" y="7995"/>
                    <a:pt x="451952" y="7995"/>
                  </a:cubicBezTo>
                  <a:cubicBezTo>
                    <a:pt x="451952" y="6203"/>
                    <a:pt x="451952" y="1792"/>
                    <a:pt x="451952" y="0"/>
                  </a:cubicBezTo>
                  <a:cubicBezTo>
                    <a:pt x="449332" y="0"/>
                    <a:pt x="401000" y="0"/>
                    <a:pt x="398449" y="0"/>
                  </a:cubicBezTo>
                  <a:close/>
                  <a:moveTo>
                    <a:pt x="317849" y="0"/>
                  </a:moveTo>
                  <a:cubicBezTo>
                    <a:pt x="317849" y="1792"/>
                    <a:pt x="317849" y="6203"/>
                    <a:pt x="317849" y="7995"/>
                  </a:cubicBezTo>
                  <a:cubicBezTo>
                    <a:pt x="320400" y="7995"/>
                    <a:pt x="368801" y="7995"/>
                    <a:pt x="371352" y="7995"/>
                  </a:cubicBezTo>
                  <a:cubicBezTo>
                    <a:pt x="371352" y="6203"/>
                    <a:pt x="371352" y="1792"/>
                    <a:pt x="371352" y="0"/>
                  </a:cubicBezTo>
                  <a:cubicBezTo>
                    <a:pt x="368801" y="0"/>
                    <a:pt x="320400" y="0"/>
                    <a:pt x="317849" y="0"/>
                  </a:cubicBezTo>
                  <a:close/>
                  <a:moveTo>
                    <a:pt x="237249" y="0"/>
                  </a:moveTo>
                  <a:cubicBezTo>
                    <a:pt x="237249" y="1792"/>
                    <a:pt x="237249" y="6203"/>
                    <a:pt x="237249" y="7995"/>
                  </a:cubicBezTo>
                  <a:cubicBezTo>
                    <a:pt x="239800" y="7995"/>
                    <a:pt x="288201" y="7995"/>
                    <a:pt x="290753" y="7995"/>
                  </a:cubicBezTo>
                  <a:cubicBezTo>
                    <a:pt x="290753" y="6203"/>
                    <a:pt x="290753" y="1792"/>
                    <a:pt x="290753" y="0"/>
                  </a:cubicBezTo>
                  <a:cubicBezTo>
                    <a:pt x="288201" y="0"/>
                    <a:pt x="239869" y="0"/>
                    <a:pt x="237249" y="0"/>
                  </a:cubicBezTo>
                  <a:close/>
                  <a:moveTo>
                    <a:pt x="156718" y="0"/>
                  </a:moveTo>
                  <a:cubicBezTo>
                    <a:pt x="156718" y="1792"/>
                    <a:pt x="156718" y="6203"/>
                    <a:pt x="156718" y="7995"/>
                  </a:cubicBezTo>
                  <a:cubicBezTo>
                    <a:pt x="159269" y="7995"/>
                    <a:pt x="207671" y="7995"/>
                    <a:pt x="210222" y="7995"/>
                  </a:cubicBezTo>
                  <a:cubicBezTo>
                    <a:pt x="210222" y="6203"/>
                    <a:pt x="210222" y="1792"/>
                    <a:pt x="210222" y="0"/>
                  </a:cubicBezTo>
                  <a:cubicBezTo>
                    <a:pt x="207602" y="0"/>
                    <a:pt x="159269" y="0"/>
                    <a:pt x="156718" y="0"/>
                  </a:cubicBezTo>
                  <a:close/>
                  <a:moveTo>
                    <a:pt x="76118" y="0"/>
                  </a:moveTo>
                  <a:cubicBezTo>
                    <a:pt x="76118" y="1792"/>
                    <a:pt x="76118" y="6203"/>
                    <a:pt x="76118" y="7995"/>
                  </a:cubicBezTo>
                  <a:cubicBezTo>
                    <a:pt x="78669" y="7995"/>
                    <a:pt x="127071" y="7995"/>
                    <a:pt x="129622" y="7995"/>
                  </a:cubicBezTo>
                  <a:cubicBezTo>
                    <a:pt x="129622" y="6203"/>
                    <a:pt x="129622" y="1792"/>
                    <a:pt x="129622" y="0"/>
                  </a:cubicBezTo>
                  <a:cubicBezTo>
                    <a:pt x="127071" y="0"/>
                    <a:pt x="78669" y="0"/>
                    <a:pt x="76118" y="0"/>
                  </a:cubicBezTo>
                  <a:close/>
                  <a:moveTo>
                    <a:pt x="0" y="0"/>
                  </a:moveTo>
                  <a:cubicBezTo>
                    <a:pt x="0" y="1792"/>
                    <a:pt x="0" y="6203"/>
                    <a:pt x="0" y="7995"/>
                  </a:cubicBezTo>
                  <a:cubicBezTo>
                    <a:pt x="2551" y="7995"/>
                    <a:pt x="46540" y="7995"/>
                    <a:pt x="49091" y="7995"/>
                  </a:cubicBezTo>
                  <a:cubicBezTo>
                    <a:pt x="49091" y="6203"/>
                    <a:pt x="49091" y="1792"/>
                    <a:pt x="49091" y="0"/>
                  </a:cubicBezTo>
                  <a:cubicBezTo>
                    <a:pt x="46540" y="0"/>
                    <a:pt x="2551" y="0"/>
                    <a:pt x="0" y="0"/>
                  </a:cubicBezTo>
                  <a:close/>
                </a:path>
              </a:pathLst>
            </a:custGeom>
            <a:solidFill>
              <a:srgbClr val="E4E4E4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207112">
                <a:defRPr/>
              </a:pPr>
              <a:endParaRPr lang="nl-NL" sz="1359" kern="0" dirty="0">
                <a:solidFill>
                  <a:srgbClr val="7C7C7C"/>
                </a:solidFill>
                <a:latin typeface="Roboto Condensed"/>
              </a:endParaRPr>
            </a:p>
          </p:txBody>
        </p:sp>
        <p:sp>
          <p:nvSpPr>
            <p:cNvPr id="1218" name="Freeform 12">
              <a:extLst>
                <a:ext uri="{FF2B5EF4-FFF2-40B4-BE49-F238E27FC236}">
                  <a16:creationId xmlns:a16="http://schemas.microsoft.com/office/drawing/2014/main" id="{A5BB3F6B-0BE5-D467-678A-B51A5A7D69B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28264" y="1563761"/>
              <a:ext cx="53503" cy="7995"/>
            </a:xfrm>
            <a:custGeom>
              <a:avLst/>
              <a:gdLst>
                <a:gd name="connsiteX0" fmla="*/ 0 w 53503"/>
                <a:gd name="connsiteY0" fmla="*/ 0 h 7995"/>
                <a:gd name="connsiteX1" fmla="*/ 0 w 53503"/>
                <a:gd name="connsiteY1" fmla="*/ 7995 h 7995"/>
                <a:gd name="connsiteX2" fmla="*/ 53503 w 53503"/>
                <a:gd name="connsiteY2" fmla="*/ 7995 h 7995"/>
                <a:gd name="connsiteX3" fmla="*/ 53503 w 53503"/>
                <a:gd name="connsiteY3" fmla="*/ 0 h 7995"/>
                <a:gd name="connsiteX4" fmla="*/ 0 w 53503"/>
                <a:gd name="connsiteY4" fmla="*/ 0 h 7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503" h="7995">
                  <a:moveTo>
                    <a:pt x="0" y="0"/>
                  </a:moveTo>
                  <a:cubicBezTo>
                    <a:pt x="0" y="1792"/>
                    <a:pt x="0" y="6203"/>
                    <a:pt x="0" y="7995"/>
                  </a:cubicBezTo>
                  <a:cubicBezTo>
                    <a:pt x="2551" y="7995"/>
                    <a:pt x="50952" y="7995"/>
                    <a:pt x="53503" y="7995"/>
                  </a:cubicBezTo>
                  <a:cubicBezTo>
                    <a:pt x="53503" y="6203"/>
                    <a:pt x="53503" y="1792"/>
                    <a:pt x="53503" y="0"/>
                  </a:cubicBezTo>
                  <a:cubicBezTo>
                    <a:pt x="50952" y="0"/>
                    <a:pt x="2551" y="0"/>
                    <a:pt x="0" y="0"/>
                  </a:cubicBezTo>
                  <a:close/>
                </a:path>
              </a:pathLst>
            </a:custGeom>
            <a:solidFill>
              <a:srgbClr val="E4E4E4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207112">
                <a:defRPr/>
              </a:pPr>
              <a:endParaRPr lang="nl-NL" sz="1359" kern="0" dirty="0">
                <a:solidFill>
                  <a:srgbClr val="7C7C7C"/>
                </a:solidFill>
                <a:latin typeface="Roboto Condensed"/>
              </a:endParaRPr>
            </a:p>
          </p:txBody>
        </p:sp>
        <p:grpSp>
          <p:nvGrpSpPr>
            <p:cNvPr id="1219" name="Graphic 4">
              <a:extLst>
                <a:ext uri="{FF2B5EF4-FFF2-40B4-BE49-F238E27FC236}">
                  <a16:creationId xmlns:a16="http://schemas.microsoft.com/office/drawing/2014/main" id="{1E98E263-0AB4-354D-9BB3-B46C3D9F3A4C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15508" y="1463821"/>
              <a:ext cx="1362269" cy="207807"/>
              <a:chOff x="515508" y="1463821"/>
              <a:chExt cx="1362269" cy="207807"/>
            </a:xfrm>
            <a:solidFill>
              <a:srgbClr val="E4E4E4"/>
            </a:solidFill>
          </p:grpSpPr>
          <p:sp>
            <p:nvSpPr>
              <p:cNvPr id="1220" name="Freeform 14">
                <a:extLst>
                  <a:ext uri="{FF2B5EF4-FFF2-40B4-BE49-F238E27FC236}">
                    <a16:creationId xmlns:a16="http://schemas.microsoft.com/office/drawing/2014/main" id="{94559B53-1C3C-9BFD-0FDD-BD3D860356B2}"/>
                  </a:ext>
                </a:extLst>
              </p:cNvPr>
              <p:cNvSpPr/>
              <p:nvPr/>
            </p:nvSpPr>
            <p:spPr>
              <a:xfrm>
                <a:off x="515508" y="1663357"/>
                <a:ext cx="1362269" cy="8270"/>
              </a:xfrm>
              <a:custGeom>
                <a:avLst/>
                <a:gdLst>
                  <a:gd name="connsiteX0" fmla="*/ 0 w 1362269"/>
                  <a:gd name="connsiteY0" fmla="*/ 0 h 8270"/>
                  <a:gd name="connsiteX1" fmla="*/ 1362269 w 1362269"/>
                  <a:gd name="connsiteY1" fmla="*/ 0 h 8270"/>
                  <a:gd name="connsiteX2" fmla="*/ 1362269 w 1362269"/>
                  <a:gd name="connsiteY2" fmla="*/ 8271 h 8270"/>
                  <a:gd name="connsiteX3" fmla="*/ 0 w 1362269"/>
                  <a:gd name="connsiteY3" fmla="*/ 8271 h 8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62269" h="8270">
                    <a:moveTo>
                      <a:pt x="0" y="0"/>
                    </a:moveTo>
                    <a:lnTo>
                      <a:pt x="1362269" y="0"/>
                    </a:lnTo>
                    <a:lnTo>
                      <a:pt x="1362269" y="8271"/>
                    </a:lnTo>
                    <a:lnTo>
                      <a:pt x="0" y="8271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207112">
                  <a:defRPr/>
                </a:pPr>
                <a:endParaRPr lang="nl-NL" sz="1359" kern="0" dirty="0">
                  <a:solidFill>
                    <a:srgbClr val="7C7C7C"/>
                  </a:solidFill>
                  <a:latin typeface="Roboto Condensed"/>
                </a:endParaRPr>
              </a:p>
            </p:txBody>
          </p:sp>
          <p:sp>
            <p:nvSpPr>
              <p:cNvPr id="1221" name="Freeform 15">
                <a:extLst>
                  <a:ext uri="{FF2B5EF4-FFF2-40B4-BE49-F238E27FC236}">
                    <a16:creationId xmlns:a16="http://schemas.microsoft.com/office/drawing/2014/main" id="{4D84B140-BC23-5613-A004-341BBF7FC9AC}"/>
                  </a:ext>
                </a:extLst>
              </p:cNvPr>
              <p:cNvSpPr/>
              <p:nvPr/>
            </p:nvSpPr>
            <p:spPr>
              <a:xfrm>
                <a:off x="515508" y="1463821"/>
                <a:ext cx="1362269" cy="8270"/>
              </a:xfrm>
              <a:custGeom>
                <a:avLst/>
                <a:gdLst>
                  <a:gd name="connsiteX0" fmla="*/ 0 w 1362269"/>
                  <a:gd name="connsiteY0" fmla="*/ 0 h 8270"/>
                  <a:gd name="connsiteX1" fmla="*/ 1362269 w 1362269"/>
                  <a:gd name="connsiteY1" fmla="*/ 0 h 8270"/>
                  <a:gd name="connsiteX2" fmla="*/ 1362269 w 1362269"/>
                  <a:gd name="connsiteY2" fmla="*/ 8271 h 8270"/>
                  <a:gd name="connsiteX3" fmla="*/ 0 w 1362269"/>
                  <a:gd name="connsiteY3" fmla="*/ 8271 h 8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62269" h="8270">
                    <a:moveTo>
                      <a:pt x="0" y="0"/>
                    </a:moveTo>
                    <a:lnTo>
                      <a:pt x="1362269" y="0"/>
                    </a:lnTo>
                    <a:lnTo>
                      <a:pt x="1362269" y="8271"/>
                    </a:lnTo>
                    <a:lnTo>
                      <a:pt x="0" y="8271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207112">
                  <a:defRPr/>
                </a:pPr>
                <a:endParaRPr lang="nl-NL" sz="1359" kern="0" dirty="0">
                  <a:solidFill>
                    <a:srgbClr val="7C7C7C"/>
                  </a:solidFill>
                  <a:latin typeface="Roboto Condensed"/>
                </a:endParaRPr>
              </a:p>
            </p:txBody>
          </p:sp>
        </p:grpSp>
      </p:grpSp>
      <p:sp>
        <p:nvSpPr>
          <p:cNvPr id="1165" name="Rectangle 1164">
            <a:extLst>
              <a:ext uri="{FF2B5EF4-FFF2-40B4-BE49-F238E27FC236}">
                <a16:creationId xmlns:a16="http://schemas.microsoft.com/office/drawing/2014/main" id="{B2649EF7-D9C4-AECC-BA5E-B177F34A51EF}"/>
              </a:ext>
            </a:extLst>
          </p:cNvPr>
          <p:cNvSpPr/>
          <p:nvPr/>
        </p:nvSpPr>
        <p:spPr>
          <a:xfrm>
            <a:off x="1529586" y="5040068"/>
            <a:ext cx="2068038" cy="176598"/>
          </a:xfrm>
          <a:prstGeom prst="rect">
            <a:avLst/>
          </a:prstGeom>
          <a:solidFill>
            <a:srgbClr val="8098A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408" dirty="0"/>
          </a:p>
        </p:txBody>
      </p:sp>
      <p:sp>
        <p:nvSpPr>
          <p:cNvPr id="1164" name="Oval 1163">
            <a:extLst>
              <a:ext uri="{FF2B5EF4-FFF2-40B4-BE49-F238E27FC236}">
                <a16:creationId xmlns:a16="http://schemas.microsoft.com/office/drawing/2014/main" id="{115D4282-FCDB-E27E-9641-A4CD4C838AF0}"/>
              </a:ext>
            </a:extLst>
          </p:cNvPr>
          <p:cNvSpPr/>
          <p:nvPr/>
        </p:nvSpPr>
        <p:spPr>
          <a:xfrm>
            <a:off x="1320834" y="4937470"/>
            <a:ext cx="408251" cy="408251"/>
          </a:xfrm>
          <a:prstGeom prst="ellipse">
            <a:avLst/>
          </a:prstGeom>
          <a:solidFill>
            <a:srgbClr val="8098AA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408" dirty="0"/>
          </a:p>
        </p:txBody>
      </p:sp>
      <p:sp>
        <p:nvSpPr>
          <p:cNvPr id="1163" name="Rectangle 1162">
            <a:extLst>
              <a:ext uri="{FF2B5EF4-FFF2-40B4-BE49-F238E27FC236}">
                <a16:creationId xmlns:a16="http://schemas.microsoft.com/office/drawing/2014/main" id="{D4EFEA7B-B3C2-6580-2E57-F10C0807CA13}"/>
              </a:ext>
            </a:extLst>
          </p:cNvPr>
          <p:cNvSpPr/>
          <p:nvPr/>
        </p:nvSpPr>
        <p:spPr>
          <a:xfrm>
            <a:off x="1320834" y="5390544"/>
            <a:ext cx="9461605" cy="975902"/>
          </a:xfrm>
          <a:prstGeom prst="rect">
            <a:avLst/>
          </a:prstGeom>
          <a:solidFill>
            <a:srgbClr val="60B3BB">
              <a:alpha val="14118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408" dirty="0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A556ABD4-200C-FCF8-1D08-16CB6B5448A8}"/>
              </a:ext>
            </a:extLst>
          </p:cNvPr>
          <p:cNvPicPr>
            <a:picLocks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079587" y="80543"/>
            <a:ext cx="738759" cy="737024"/>
          </a:xfrm>
          <a:prstGeom prst="rect">
            <a:avLst/>
          </a:prstGeom>
        </p:spPr>
      </p:pic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12C1AAEB-CF4B-D806-4FFA-37796E23817D}"/>
              </a:ext>
            </a:extLst>
          </p:cNvPr>
          <p:cNvSpPr/>
          <p:nvPr/>
        </p:nvSpPr>
        <p:spPr>
          <a:xfrm>
            <a:off x="1771660" y="1174312"/>
            <a:ext cx="1386314" cy="323251"/>
          </a:xfrm>
          <a:prstGeom prst="roundRect">
            <a:avLst>
              <a:gd name="adj" fmla="val 8096"/>
            </a:avLst>
          </a:prstGeom>
          <a:solidFill>
            <a:srgbClr val="98733A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207112">
              <a:defRPr/>
            </a:pPr>
            <a:endParaRPr lang="nl-NL" sz="1359" kern="0" dirty="0">
              <a:solidFill>
                <a:prstClr val="white"/>
              </a:solidFill>
              <a:latin typeface="Roboto Condensed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280C3A-E28D-8DF4-E9E8-AA6C4AB143AE}"/>
              </a:ext>
            </a:extLst>
          </p:cNvPr>
          <p:cNvSpPr txBox="1"/>
          <p:nvPr/>
        </p:nvSpPr>
        <p:spPr>
          <a:xfrm>
            <a:off x="1771659" y="1209946"/>
            <a:ext cx="1386314" cy="26667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207112">
              <a:defRPr/>
            </a:pPr>
            <a:r>
              <a:rPr lang="nl-NL" sz="1133" kern="0" dirty="0">
                <a:solidFill>
                  <a:prstClr val="white"/>
                </a:solidFill>
                <a:latin typeface="Roboto Condensed"/>
              </a:rPr>
              <a:t>Ik solliciteer</a:t>
            </a: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A8788E0D-A45A-90D4-234B-A796A444A4FC}"/>
              </a:ext>
            </a:extLst>
          </p:cNvPr>
          <p:cNvPicPr>
            <a:picLocks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550205" y="81837"/>
            <a:ext cx="231430" cy="230886"/>
          </a:xfrm>
          <a:prstGeom prst="rect">
            <a:avLst/>
          </a:prstGeom>
        </p:spPr>
      </p:pic>
      <p:sp>
        <p:nvSpPr>
          <p:cNvPr id="19" name="Ovaal 455">
            <a:extLst>
              <a:ext uri="{FF2B5EF4-FFF2-40B4-BE49-F238E27FC236}">
                <a16:creationId xmlns:a16="http://schemas.microsoft.com/office/drawing/2014/main" id="{28893E3F-9B8E-1F32-E120-A79FE4A49D69}"/>
              </a:ext>
            </a:extLst>
          </p:cNvPr>
          <p:cNvSpPr/>
          <p:nvPr/>
        </p:nvSpPr>
        <p:spPr>
          <a:xfrm>
            <a:off x="1667354" y="1079606"/>
            <a:ext cx="216237" cy="215729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98733A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207112">
              <a:defRPr/>
            </a:pPr>
            <a:r>
              <a:rPr lang="nl-NL" sz="1087" b="1" kern="0" dirty="0">
                <a:solidFill>
                  <a:srgbClr val="98733A"/>
                </a:solidFill>
                <a:latin typeface="Roboto Condensed"/>
              </a:rPr>
              <a:t>1</a:t>
            </a:r>
          </a:p>
        </p:txBody>
      </p:sp>
      <p:sp>
        <p:nvSpPr>
          <p:cNvPr id="63" name="Rectangle: Rounded Corners 62">
            <a:extLst>
              <a:ext uri="{FF2B5EF4-FFF2-40B4-BE49-F238E27FC236}">
                <a16:creationId xmlns:a16="http://schemas.microsoft.com/office/drawing/2014/main" id="{F782D58B-88FC-8E0D-A27A-F220EA488F50}"/>
              </a:ext>
            </a:extLst>
          </p:cNvPr>
          <p:cNvSpPr/>
          <p:nvPr/>
        </p:nvSpPr>
        <p:spPr>
          <a:xfrm>
            <a:off x="3288807" y="1174312"/>
            <a:ext cx="1386314" cy="326192"/>
          </a:xfrm>
          <a:prstGeom prst="roundRect">
            <a:avLst>
              <a:gd name="adj" fmla="val 8096"/>
            </a:avLst>
          </a:prstGeom>
          <a:solidFill>
            <a:srgbClr val="98733A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207112">
              <a:defRPr/>
            </a:pPr>
            <a:endParaRPr lang="nl-NL" sz="1087" kern="0" dirty="0">
              <a:solidFill>
                <a:prstClr val="white"/>
              </a:solidFill>
              <a:latin typeface="Roboto Condensed"/>
            </a:endParaRPr>
          </a:p>
        </p:txBody>
      </p:sp>
      <p:sp>
        <p:nvSpPr>
          <p:cNvPr id="512" name="TextBox 511">
            <a:extLst>
              <a:ext uri="{FF2B5EF4-FFF2-40B4-BE49-F238E27FC236}">
                <a16:creationId xmlns:a16="http://schemas.microsoft.com/office/drawing/2014/main" id="{2DDD80FD-FC75-0622-7036-48888E0BECE3}"/>
              </a:ext>
            </a:extLst>
          </p:cNvPr>
          <p:cNvSpPr txBox="1"/>
          <p:nvPr/>
        </p:nvSpPr>
        <p:spPr>
          <a:xfrm>
            <a:off x="3288807" y="1209946"/>
            <a:ext cx="1386314" cy="26667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207112">
              <a:defRPr/>
            </a:pPr>
            <a:r>
              <a:rPr lang="nl-NL" sz="1133" kern="0" dirty="0">
                <a:solidFill>
                  <a:prstClr val="white"/>
                </a:solidFill>
                <a:latin typeface="Roboto Condensed"/>
              </a:rPr>
              <a:t>Ik ben aangenomen</a:t>
            </a:r>
          </a:p>
        </p:txBody>
      </p:sp>
      <p:sp>
        <p:nvSpPr>
          <p:cNvPr id="514" name="Ovaal 455">
            <a:extLst>
              <a:ext uri="{FF2B5EF4-FFF2-40B4-BE49-F238E27FC236}">
                <a16:creationId xmlns:a16="http://schemas.microsoft.com/office/drawing/2014/main" id="{84CAB059-6A0C-C590-4B1A-EC2EE57A96D7}"/>
              </a:ext>
            </a:extLst>
          </p:cNvPr>
          <p:cNvSpPr/>
          <p:nvPr/>
        </p:nvSpPr>
        <p:spPr>
          <a:xfrm>
            <a:off x="3177319" y="1079606"/>
            <a:ext cx="215184" cy="215729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98733A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207112">
              <a:defRPr/>
            </a:pPr>
            <a:r>
              <a:rPr lang="nl-NL" sz="1087" b="1" kern="0" dirty="0">
                <a:solidFill>
                  <a:srgbClr val="98733A"/>
                </a:solidFill>
                <a:latin typeface="Roboto Condensed"/>
              </a:rPr>
              <a:t>2</a:t>
            </a:r>
          </a:p>
        </p:txBody>
      </p:sp>
      <p:sp>
        <p:nvSpPr>
          <p:cNvPr id="518" name="Rectangle: Rounded Corners 517">
            <a:extLst>
              <a:ext uri="{FF2B5EF4-FFF2-40B4-BE49-F238E27FC236}">
                <a16:creationId xmlns:a16="http://schemas.microsoft.com/office/drawing/2014/main" id="{87062596-0080-0808-DA70-5B161D3AF215}"/>
              </a:ext>
            </a:extLst>
          </p:cNvPr>
          <p:cNvSpPr/>
          <p:nvPr/>
        </p:nvSpPr>
        <p:spPr>
          <a:xfrm>
            <a:off x="4798351" y="1174312"/>
            <a:ext cx="1386314" cy="326192"/>
          </a:xfrm>
          <a:prstGeom prst="roundRect">
            <a:avLst>
              <a:gd name="adj" fmla="val 8096"/>
            </a:avLst>
          </a:prstGeom>
          <a:solidFill>
            <a:srgbClr val="98733A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207112">
              <a:defRPr/>
            </a:pPr>
            <a:endParaRPr lang="nl-NL" sz="1087" kern="0" dirty="0">
              <a:solidFill>
                <a:prstClr val="white"/>
              </a:solidFill>
              <a:latin typeface="Roboto Condensed"/>
            </a:endParaRPr>
          </a:p>
        </p:txBody>
      </p:sp>
      <p:sp>
        <p:nvSpPr>
          <p:cNvPr id="519" name="TextBox 518">
            <a:extLst>
              <a:ext uri="{FF2B5EF4-FFF2-40B4-BE49-F238E27FC236}">
                <a16:creationId xmlns:a16="http://schemas.microsoft.com/office/drawing/2014/main" id="{EBC04415-23BC-9959-4283-32598EBF18F3}"/>
              </a:ext>
            </a:extLst>
          </p:cNvPr>
          <p:cNvSpPr txBox="1"/>
          <p:nvPr/>
        </p:nvSpPr>
        <p:spPr>
          <a:xfrm>
            <a:off x="4798351" y="1209946"/>
            <a:ext cx="1386314" cy="26667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207112">
              <a:defRPr/>
            </a:pPr>
            <a:r>
              <a:rPr lang="nl-NL" sz="1133" kern="0" dirty="0">
                <a:solidFill>
                  <a:prstClr val="white"/>
                </a:solidFill>
                <a:latin typeface="Roboto Condensed"/>
              </a:rPr>
              <a:t>Ik start met werken</a:t>
            </a:r>
          </a:p>
        </p:txBody>
      </p:sp>
      <p:sp>
        <p:nvSpPr>
          <p:cNvPr id="521" name="Ovaal 455">
            <a:extLst>
              <a:ext uri="{FF2B5EF4-FFF2-40B4-BE49-F238E27FC236}">
                <a16:creationId xmlns:a16="http://schemas.microsoft.com/office/drawing/2014/main" id="{AF0C8B70-CFBE-2176-6163-E8CDE697C12A}"/>
              </a:ext>
            </a:extLst>
          </p:cNvPr>
          <p:cNvSpPr/>
          <p:nvPr/>
        </p:nvSpPr>
        <p:spPr>
          <a:xfrm>
            <a:off x="4686928" y="1079606"/>
            <a:ext cx="216237" cy="215729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98733A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207112">
              <a:defRPr/>
            </a:pPr>
            <a:r>
              <a:rPr lang="nl-NL" sz="1087" b="1" kern="0" dirty="0">
                <a:solidFill>
                  <a:srgbClr val="98733A"/>
                </a:solidFill>
                <a:latin typeface="Roboto Condensed"/>
              </a:rPr>
              <a:t>3</a:t>
            </a:r>
          </a:p>
        </p:txBody>
      </p:sp>
      <p:sp>
        <p:nvSpPr>
          <p:cNvPr id="525" name="Rectangle: Rounded Corners 524">
            <a:extLst>
              <a:ext uri="{FF2B5EF4-FFF2-40B4-BE49-F238E27FC236}">
                <a16:creationId xmlns:a16="http://schemas.microsoft.com/office/drawing/2014/main" id="{564C9A4E-724D-D886-E568-0EE6FE851E42}"/>
              </a:ext>
            </a:extLst>
          </p:cNvPr>
          <p:cNvSpPr/>
          <p:nvPr/>
        </p:nvSpPr>
        <p:spPr>
          <a:xfrm>
            <a:off x="6324174" y="1174312"/>
            <a:ext cx="1386314" cy="326192"/>
          </a:xfrm>
          <a:prstGeom prst="roundRect">
            <a:avLst>
              <a:gd name="adj" fmla="val 8096"/>
            </a:avLst>
          </a:prstGeom>
          <a:solidFill>
            <a:srgbClr val="98733A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207112">
              <a:defRPr/>
            </a:pPr>
            <a:endParaRPr lang="nl-NL" sz="1087" kern="0" dirty="0">
              <a:solidFill>
                <a:prstClr val="white"/>
              </a:solidFill>
              <a:latin typeface="Roboto Condensed"/>
            </a:endParaRPr>
          </a:p>
        </p:txBody>
      </p:sp>
      <p:sp>
        <p:nvSpPr>
          <p:cNvPr id="526" name="TextBox 525">
            <a:extLst>
              <a:ext uri="{FF2B5EF4-FFF2-40B4-BE49-F238E27FC236}">
                <a16:creationId xmlns:a16="http://schemas.microsoft.com/office/drawing/2014/main" id="{7CAC5EAA-AEF0-388F-9CF9-E4CB18D30675}"/>
              </a:ext>
            </a:extLst>
          </p:cNvPr>
          <p:cNvSpPr txBox="1"/>
          <p:nvPr/>
        </p:nvSpPr>
        <p:spPr>
          <a:xfrm>
            <a:off x="6324174" y="1209946"/>
            <a:ext cx="1386314" cy="26667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207112">
              <a:defRPr/>
            </a:pPr>
            <a:r>
              <a:rPr lang="nl-NL" sz="1133" kern="0" dirty="0">
                <a:solidFill>
                  <a:prstClr val="white"/>
                </a:solidFill>
                <a:latin typeface="Roboto Condensed"/>
              </a:rPr>
              <a:t>Ik ben aan het werk</a:t>
            </a:r>
          </a:p>
        </p:txBody>
      </p:sp>
      <p:sp>
        <p:nvSpPr>
          <p:cNvPr id="528" name="Ovaal 455">
            <a:extLst>
              <a:ext uri="{FF2B5EF4-FFF2-40B4-BE49-F238E27FC236}">
                <a16:creationId xmlns:a16="http://schemas.microsoft.com/office/drawing/2014/main" id="{71F56B87-DCB1-76E7-6D5C-37A06A2E2AE6}"/>
              </a:ext>
            </a:extLst>
          </p:cNvPr>
          <p:cNvSpPr/>
          <p:nvPr/>
        </p:nvSpPr>
        <p:spPr>
          <a:xfrm>
            <a:off x="6217468" y="1079606"/>
            <a:ext cx="216237" cy="215729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98733A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207112">
              <a:defRPr/>
            </a:pPr>
            <a:r>
              <a:rPr lang="nl-NL" sz="1087" b="1" kern="0" dirty="0">
                <a:solidFill>
                  <a:srgbClr val="98733A"/>
                </a:solidFill>
                <a:latin typeface="Roboto Condensed"/>
              </a:rPr>
              <a:t>4</a:t>
            </a:r>
          </a:p>
        </p:txBody>
      </p:sp>
      <p:sp>
        <p:nvSpPr>
          <p:cNvPr id="532" name="Rectangle: Rounded Corners 531">
            <a:extLst>
              <a:ext uri="{FF2B5EF4-FFF2-40B4-BE49-F238E27FC236}">
                <a16:creationId xmlns:a16="http://schemas.microsoft.com/office/drawing/2014/main" id="{3B4253ED-E591-A14B-36AC-CB184E61EFA9}"/>
              </a:ext>
            </a:extLst>
          </p:cNvPr>
          <p:cNvSpPr/>
          <p:nvPr/>
        </p:nvSpPr>
        <p:spPr>
          <a:xfrm>
            <a:off x="7827313" y="1174312"/>
            <a:ext cx="1386314" cy="326192"/>
          </a:xfrm>
          <a:prstGeom prst="roundRect">
            <a:avLst>
              <a:gd name="adj" fmla="val 8096"/>
            </a:avLst>
          </a:prstGeom>
          <a:solidFill>
            <a:srgbClr val="98733A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207112">
              <a:defRPr/>
            </a:pPr>
            <a:endParaRPr lang="nl-NL" sz="1087" kern="0" dirty="0">
              <a:solidFill>
                <a:prstClr val="white"/>
              </a:solidFill>
              <a:latin typeface="Roboto Condensed"/>
            </a:endParaRPr>
          </a:p>
        </p:txBody>
      </p:sp>
      <p:sp>
        <p:nvSpPr>
          <p:cNvPr id="533" name="TextBox 532">
            <a:extLst>
              <a:ext uri="{FF2B5EF4-FFF2-40B4-BE49-F238E27FC236}">
                <a16:creationId xmlns:a16="http://schemas.microsoft.com/office/drawing/2014/main" id="{96BCF955-173E-458E-41AB-CD8400F92455}"/>
              </a:ext>
            </a:extLst>
          </p:cNvPr>
          <p:cNvSpPr txBox="1"/>
          <p:nvPr/>
        </p:nvSpPr>
        <p:spPr>
          <a:xfrm>
            <a:off x="7827313" y="1209946"/>
            <a:ext cx="1386314" cy="26667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207112">
              <a:defRPr/>
            </a:pPr>
            <a:r>
              <a:rPr lang="nl-NL" sz="1133" kern="0" dirty="0">
                <a:solidFill>
                  <a:prstClr val="white"/>
                </a:solidFill>
                <a:latin typeface="Roboto Condensed"/>
              </a:rPr>
              <a:t>Ik ontwikkel mezelf</a:t>
            </a:r>
          </a:p>
        </p:txBody>
      </p:sp>
      <p:sp>
        <p:nvSpPr>
          <p:cNvPr id="535" name="Ovaal 455">
            <a:extLst>
              <a:ext uri="{FF2B5EF4-FFF2-40B4-BE49-F238E27FC236}">
                <a16:creationId xmlns:a16="http://schemas.microsoft.com/office/drawing/2014/main" id="{87D97317-89FF-2494-492E-78112DEBADFA}"/>
              </a:ext>
            </a:extLst>
          </p:cNvPr>
          <p:cNvSpPr/>
          <p:nvPr/>
        </p:nvSpPr>
        <p:spPr>
          <a:xfrm>
            <a:off x="7734173" y="1079606"/>
            <a:ext cx="216237" cy="215729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98733A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207112">
              <a:defRPr/>
            </a:pPr>
            <a:r>
              <a:rPr lang="nl-NL" sz="1087" b="1" kern="0" dirty="0">
                <a:solidFill>
                  <a:srgbClr val="98733A"/>
                </a:solidFill>
                <a:latin typeface="Roboto Condensed"/>
              </a:rPr>
              <a:t>5</a:t>
            </a:r>
          </a:p>
        </p:txBody>
      </p:sp>
      <p:sp>
        <p:nvSpPr>
          <p:cNvPr id="539" name="Rectangle: Rounded Corners 538">
            <a:extLst>
              <a:ext uri="{FF2B5EF4-FFF2-40B4-BE49-F238E27FC236}">
                <a16:creationId xmlns:a16="http://schemas.microsoft.com/office/drawing/2014/main" id="{0619D649-276E-0155-6CC5-6F18E1A63B26}"/>
              </a:ext>
            </a:extLst>
          </p:cNvPr>
          <p:cNvSpPr/>
          <p:nvPr/>
        </p:nvSpPr>
        <p:spPr>
          <a:xfrm>
            <a:off x="9336623" y="1174312"/>
            <a:ext cx="1386314" cy="326192"/>
          </a:xfrm>
          <a:prstGeom prst="roundRect">
            <a:avLst>
              <a:gd name="adj" fmla="val 8096"/>
            </a:avLst>
          </a:prstGeom>
          <a:solidFill>
            <a:srgbClr val="98733A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207112">
              <a:defRPr/>
            </a:pPr>
            <a:endParaRPr lang="nl-NL" sz="1087" kern="0" dirty="0">
              <a:solidFill>
                <a:prstClr val="white"/>
              </a:solidFill>
              <a:latin typeface="Roboto Condensed"/>
            </a:endParaRPr>
          </a:p>
        </p:txBody>
      </p:sp>
      <p:sp>
        <p:nvSpPr>
          <p:cNvPr id="540" name="TextBox 539">
            <a:extLst>
              <a:ext uri="{FF2B5EF4-FFF2-40B4-BE49-F238E27FC236}">
                <a16:creationId xmlns:a16="http://schemas.microsoft.com/office/drawing/2014/main" id="{FF82FF95-0E8D-25F5-B9CE-56E19ABAF236}"/>
              </a:ext>
            </a:extLst>
          </p:cNvPr>
          <p:cNvSpPr txBox="1"/>
          <p:nvPr/>
        </p:nvSpPr>
        <p:spPr>
          <a:xfrm>
            <a:off x="9336623" y="1209946"/>
            <a:ext cx="1386314" cy="26667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207112">
              <a:defRPr/>
            </a:pPr>
            <a:r>
              <a:rPr lang="nl-NL" sz="1133" kern="0" dirty="0">
                <a:solidFill>
                  <a:prstClr val="white"/>
                </a:solidFill>
                <a:latin typeface="Roboto Condensed"/>
              </a:rPr>
              <a:t>Het contract eindigt</a:t>
            </a:r>
          </a:p>
        </p:txBody>
      </p:sp>
      <p:sp>
        <p:nvSpPr>
          <p:cNvPr id="542" name="Ovaal 455">
            <a:extLst>
              <a:ext uri="{FF2B5EF4-FFF2-40B4-BE49-F238E27FC236}">
                <a16:creationId xmlns:a16="http://schemas.microsoft.com/office/drawing/2014/main" id="{F9E99A3E-101B-0A6C-72F5-16A552278CD0}"/>
              </a:ext>
            </a:extLst>
          </p:cNvPr>
          <p:cNvSpPr/>
          <p:nvPr/>
        </p:nvSpPr>
        <p:spPr>
          <a:xfrm>
            <a:off x="9244834" y="1079606"/>
            <a:ext cx="216237" cy="215729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98733A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207112">
              <a:defRPr/>
            </a:pPr>
            <a:r>
              <a:rPr lang="nl-NL" sz="1087" b="1" kern="0" dirty="0">
                <a:solidFill>
                  <a:srgbClr val="98733A"/>
                </a:solidFill>
                <a:latin typeface="Roboto Condensed"/>
              </a:rPr>
              <a:t>6</a:t>
            </a:r>
          </a:p>
        </p:txBody>
      </p:sp>
      <p:pic>
        <p:nvPicPr>
          <p:cNvPr id="543" name="Graphic 542">
            <a:extLst>
              <a:ext uri="{FF2B5EF4-FFF2-40B4-BE49-F238E27FC236}">
                <a16:creationId xmlns:a16="http://schemas.microsoft.com/office/drawing/2014/main" id="{DD73821A-9FC3-CD82-7DF7-F39F6F7C4B8F}"/>
              </a:ext>
            </a:extLst>
          </p:cNvPr>
          <p:cNvPicPr>
            <a:picLocks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731483" y="126589"/>
            <a:ext cx="668034" cy="668034"/>
          </a:xfrm>
          <a:prstGeom prst="rect">
            <a:avLst/>
          </a:prstGeom>
        </p:spPr>
      </p:pic>
      <p:grpSp>
        <p:nvGrpSpPr>
          <p:cNvPr id="1238" name="Group 1237">
            <a:extLst>
              <a:ext uri="{FF2B5EF4-FFF2-40B4-BE49-F238E27FC236}">
                <a16:creationId xmlns:a16="http://schemas.microsoft.com/office/drawing/2014/main" id="{3F750987-B206-CB37-75F0-0DA2683232B6}"/>
              </a:ext>
            </a:extLst>
          </p:cNvPr>
          <p:cNvGrpSpPr/>
          <p:nvPr/>
        </p:nvGrpSpPr>
        <p:grpSpPr>
          <a:xfrm>
            <a:off x="8035565" y="133130"/>
            <a:ext cx="830451" cy="619593"/>
            <a:chOff x="29360739" y="562752"/>
            <a:chExt cx="2947027" cy="2198753"/>
          </a:xfrm>
        </p:grpSpPr>
        <p:grpSp>
          <p:nvGrpSpPr>
            <p:cNvPr id="544" name="Group 595">
              <a:extLst>
                <a:ext uri="{FF2B5EF4-FFF2-40B4-BE49-F238E27FC236}">
                  <a16:creationId xmlns:a16="http://schemas.microsoft.com/office/drawing/2014/main" id="{534C1661-82A6-F82F-AF3F-780B8B4E742D}"/>
                </a:ext>
              </a:extLst>
            </p:cNvPr>
            <p:cNvGrpSpPr/>
            <p:nvPr/>
          </p:nvGrpSpPr>
          <p:grpSpPr>
            <a:xfrm>
              <a:off x="30536661" y="717952"/>
              <a:ext cx="1771105" cy="1820865"/>
              <a:chOff x="6376813" y="95334"/>
              <a:chExt cx="3667135" cy="3720666"/>
            </a:xfrm>
            <a:solidFill>
              <a:srgbClr val="8098AA"/>
            </a:solidFill>
          </p:grpSpPr>
          <p:sp>
            <p:nvSpPr>
              <p:cNvPr id="545" name="Freeform: Shape 588">
                <a:extLst>
                  <a:ext uri="{FF2B5EF4-FFF2-40B4-BE49-F238E27FC236}">
                    <a16:creationId xmlns:a16="http://schemas.microsoft.com/office/drawing/2014/main" id="{5D16BE77-2B5A-DE5B-B45A-37CEB7F50A0E}"/>
                  </a:ext>
                </a:extLst>
              </p:cNvPr>
              <p:cNvSpPr/>
              <p:nvPr/>
            </p:nvSpPr>
            <p:spPr>
              <a:xfrm>
                <a:off x="6376813" y="2946814"/>
                <a:ext cx="541736" cy="869175"/>
              </a:xfrm>
              <a:custGeom>
                <a:avLst/>
                <a:gdLst>
                  <a:gd name="connsiteX0" fmla="*/ 458393 w 541736"/>
                  <a:gd name="connsiteY0" fmla="*/ 869175 h 869175"/>
                  <a:gd name="connsiteX1" fmla="*/ 83344 w 541736"/>
                  <a:gd name="connsiteY1" fmla="*/ 869175 h 869175"/>
                  <a:gd name="connsiteX2" fmla="*/ 0 w 541736"/>
                  <a:gd name="connsiteY2" fmla="*/ 785831 h 869175"/>
                  <a:gd name="connsiteX3" fmla="*/ 0 w 541736"/>
                  <a:gd name="connsiteY3" fmla="*/ 83344 h 869175"/>
                  <a:gd name="connsiteX4" fmla="*/ 83344 w 541736"/>
                  <a:gd name="connsiteY4" fmla="*/ 0 h 869175"/>
                  <a:gd name="connsiteX5" fmla="*/ 458393 w 541736"/>
                  <a:gd name="connsiteY5" fmla="*/ 0 h 869175"/>
                  <a:gd name="connsiteX6" fmla="*/ 541736 w 541736"/>
                  <a:gd name="connsiteY6" fmla="*/ 83344 h 869175"/>
                  <a:gd name="connsiteX7" fmla="*/ 541736 w 541736"/>
                  <a:gd name="connsiteY7" fmla="*/ 779850 h 869175"/>
                  <a:gd name="connsiteX8" fmla="*/ 458393 w 541736"/>
                  <a:gd name="connsiteY8" fmla="*/ 869148 h 869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41736" h="869175">
                    <a:moveTo>
                      <a:pt x="458393" y="869175"/>
                    </a:moveTo>
                    <a:lnTo>
                      <a:pt x="83344" y="869175"/>
                    </a:lnTo>
                    <a:cubicBezTo>
                      <a:pt x="35719" y="869175"/>
                      <a:pt x="0" y="833456"/>
                      <a:pt x="0" y="785831"/>
                    </a:cubicBezTo>
                    <a:lnTo>
                      <a:pt x="0" y="83344"/>
                    </a:lnTo>
                    <a:cubicBezTo>
                      <a:pt x="0" y="35719"/>
                      <a:pt x="35719" y="0"/>
                      <a:pt x="83344" y="0"/>
                    </a:cubicBezTo>
                    <a:lnTo>
                      <a:pt x="458393" y="0"/>
                    </a:lnTo>
                    <a:cubicBezTo>
                      <a:pt x="506018" y="0"/>
                      <a:pt x="541736" y="35719"/>
                      <a:pt x="541736" y="83344"/>
                    </a:cubicBezTo>
                    <a:lnTo>
                      <a:pt x="541736" y="779850"/>
                    </a:lnTo>
                    <a:cubicBezTo>
                      <a:pt x="541736" y="827475"/>
                      <a:pt x="500063" y="869148"/>
                      <a:pt x="458393" y="869148"/>
                    </a:cubicBezTo>
                    <a:close/>
                  </a:path>
                </a:pathLst>
              </a:custGeom>
              <a:solidFill>
                <a:srgbClr val="98733A"/>
              </a:solidFill>
              <a:ln w="381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207112">
                  <a:defRPr/>
                </a:pPr>
                <a:endParaRPr lang="nl-NL" sz="1359" kern="0" dirty="0">
                  <a:solidFill>
                    <a:srgbClr val="7C7C7C"/>
                  </a:solidFill>
                  <a:latin typeface="Roboto Condensed"/>
                </a:endParaRPr>
              </a:p>
            </p:txBody>
          </p:sp>
          <p:sp>
            <p:nvSpPr>
              <p:cNvPr id="546" name="Freeform: Shape 589">
                <a:extLst>
                  <a:ext uri="{FF2B5EF4-FFF2-40B4-BE49-F238E27FC236}">
                    <a16:creationId xmlns:a16="http://schemas.microsoft.com/office/drawing/2014/main" id="{1FDB1969-7488-F46F-34AB-FD363BC9630B}"/>
                  </a:ext>
                </a:extLst>
              </p:cNvPr>
              <p:cNvSpPr/>
              <p:nvPr/>
            </p:nvSpPr>
            <p:spPr>
              <a:xfrm>
                <a:off x="7198363" y="2577739"/>
                <a:ext cx="541736" cy="1238261"/>
              </a:xfrm>
              <a:custGeom>
                <a:avLst/>
                <a:gdLst>
                  <a:gd name="connsiteX0" fmla="*/ 458393 w 541736"/>
                  <a:gd name="connsiteY0" fmla="*/ 1238250 h 1238261"/>
                  <a:gd name="connsiteX1" fmla="*/ 83344 w 541736"/>
                  <a:gd name="connsiteY1" fmla="*/ 1238250 h 1238261"/>
                  <a:gd name="connsiteX2" fmla="*/ 0 w 541736"/>
                  <a:gd name="connsiteY2" fmla="*/ 1154906 h 1238261"/>
                  <a:gd name="connsiteX3" fmla="*/ 0 w 541736"/>
                  <a:gd name="connsiteY3" fmla="*/ 83344 h 1238261"/>
                  <a:gd name="connsiteX4" fmla="*/ 83344 w 541736"/>
                  <a:gd name="connsiteY4" fmla="*/ 0 h 1238261"/>
                  <a:gd name="connsiteX5" fmla="*/ 458393 w 541736"/>
                  <a:gd name="connsiteY5" fmla="*/ 0 h 1238261"/>
                  <a:gd name="connsiteX6" fmla="*/ 541736 w 541736"/>
                  <a:gd name="connsiteY6" fmla="*/ 83344 h 1238261"/>
                  <a:gd name="connsiteX7" fmla="*/ 541736 w 541736"/>
                  <a:gd name="connsiteY7" fmla="*/ 1148963 h 1238261"/>
                  <a:gd name="connsiteX8" fmla="*/ 458393 w 541736"/>
                  <a:gd name="connsiteY8" fmla="*/ 1238262 h 12382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41736" h="1238261">
                    <a:moveTo>
                      <a:pt x="458393" y="1238250"/>
                    </a:moveTo>
                    <a:lnTo>
                      <a:pt x="83344" y="1238250"/>
                    </a:lnTo>
                    <a:cubicBezTo>
                      <a:pt x="35719" y="1238250"/>
                      <a:pt x="0" y="1202531"/>
                      <a:pt x="0" y="1154906"/>
                    </a:cubicBezTo>
                    <a:lnTo>
                      <a:pt x="0" y="83344"/>
                    </a:lnTo>
                    <a:cubicBezTo>
                      <a:pt x="0" y="35719"/>
                      <a:pt x="35719" y="0"/>
                      <a:pt x="83344" y="0"/>
                    </a:cubicBezTo>
                    <a:lnTo>
                      <a:pt x="458393" y="0"/>
                    </a:lnTo>
                    <a:cubicBezTo>
                      <a:pt x="506018" y="0"/>
                      <a:pt x="541736" y="35719"/>
                      <a:pt x="541736" y="83344"/>
                    </a:cubicBezTo>
                    <a:lnTo>
                      <a:pt x="541736" y="1148963"/>
                    </a:lnTo>
                    <a:cubicBezTo>
                      <a:pt x="541736" y="1196588"/>
                      <a:pt x="506018" y="1238262"/>
                      <a:pt x="458393" y="1238262"/>
                    </a:cubicBezTo>
                    <a:close/>
                  </a:path>
                </a:pathLst>
              </a:custGeom>
              <a:solidFill>
                <a:srgbClr val="98733A"/>
              </a:solidFill>
              <a:ln w="381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207112">
                  <a:defRPr/>
                </a:pPr>
                <a:endParaRPr lang="nl-NL" sz="1359" kern="0" dirty="0">
                  <a:solidFill>
                    <a:srgbClr val="7C7C7C"/>
                  </a:solidFill>
                  <a:latin typeface="Roboto Condensed"/>
                </a:endParaRPr>
              </a:p>
            </p:txBody>
          </p:sp>
          <p:sp>
            <p:nvSpPr>
              <p:cNvPr id="547" name="Freeform: Shape 590">
                <a:extLst>
                  <a:ext uri="{FF2B5EF4-FFF2-40B4-BE49-F238E27FC236}">
                    <a16:creationId xmlns:a16="http://schemas.microsoft.com/office/drawing/2014/main" id="{2C7EE12B-616D-98F8-918E-548C9AF10994}"/>
                  </a:ext>
                </a:extLst>
              </p:cNvPr>
              <p:cNvSpPr/>
              <p:nvPr/>
            </p:nvSpPr>
            <p:spPr>
              <a:xfrm>
                <a:off x="8025857" y="1845495"/>
                <a:ext cx="541736" cy="1970505"/>
              </a:xfrm>
              <a:custGeom>
                <a:avLst/>
                <a:gdLst>
                  <a:gd name="connsiteX0" fmla="*/ 458393 w 541736"/>
                  <a:gd name="connsiteY0" fmla="*/ 1970494 h 1970505"/>
                  <a:gd name="connsiteX1" fmla="*/ 83344 w 541736"/>
                  <a:gd name="connsiteY1" fmla="*/ 1970494 h 1970505"/>
                  <a:gd name="connsiteX2" fmla="*/ 0 w 541736"/>
                  <a:gd name="connsiteY2" fmla="*/ 1887150 h 1970505"/>
                  <a:gd name="connsiteX3" fmla="*/ 0 w 541736"/>
                  <a:gd name="connsiteY3" fmla="*/ 83344 h 1970505"/>
                  <a:gd name="connsiteX4" fmla="*/ 83344 w 541736"/>
                  <a:gd name="connsiteY4" fmla="*/ 0 h 1970505"/>
                  <a:gd name="connsiteX5" fmla="*/ 458393 w 541736"/>
                  <a:gd name="connsiteY5" fmla="*/ 0 h 1970505"/>
                  <a:gd name="connsiteX6" fmla="*/ 541736 w 541736"/>
                  <a:gd name="connsiteY6" fmla="*/ 83344 h 1970505"/>
                  <a:gd name="connsiteX7" fmla="*/ 541736 w 541736"/>
                  <a:gd name="connsiteY7" fmla="*/ 1881207 h 1970505"/>
                  <a:gd name="connsiteX8" fmla="*/ 458393 w 541736"/>
                  <a:gd name="connsiteY8" fmla="*/ 1970506 h 1970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41736" h="1970505">
                    <a:moveTo>
                      <a:pt x="458393" y="1970494"/>
                    </a:moveTo>
                    <a:lnTo>
                      <a:pt x="83344" y="1970494"/>
                    </a:lnTo>
                    <a:cubicBezTo>
                      <a:pt x="35719" y="1970494"/>
                      <a:pt x="0" y="1934775"/>
                      <a:pt x="0" y="1887150"/>
                    </a:cubicBezTo>
                    <a:lnTo>
                      <a:pt x="0" y="83344"/>
                    </a:lnTo>
                    <a:cubicBezTo>
                      <a:pt x="0" y="35719"/>
                      <a:pt x="35719" y="0"/>
                      <a:pt x="83344" y="0"/>
                    </a:cubicBezTo>
                    <a:lnTo>
                      <a:pt x="458393" y="0"/>
                    </a:lnTo>
                    <a:cubicBezTo>
                      <a:pt x="506018" y="0"/>
                      <a:pt x="541736" y="35719"/>
                      <a:pt x="541736" y="83344"/>
                    </a:cubicBezTo>
                    <a:lnTo>
                      <a:pt x="541736" y="1881207"/>
                    </a:lnTo>
                    <a:cubicBezTo>
                      <a:pt x="541736" y="1928832"/>
                      <a:pt x="506018" y="1970506"/>
                      <a:pt x="458393" y="1970506"/>
                    </a:cubicBezTo>
                    <a:close/>
                  </a:path>
                </a:pathLst>
              </a:custGeom>
              <a:solidFill>
                <a:srgbClr val="98733A"/>
              </a:solidFill>
              <a:ln w="381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207112">
                  <a:defRPr/>
                </a:pPr>
                <a:endParaRPr lang="nl-NL" sz="1359" kern="0" dirty="0">
                  <a:solidFill>
                    <a:srgbClr val="7C7C7C"/>
                  </a:solidFill>
                  <a:latin typeface="Roboto Condensed"/>
                </a:endParaRPr>
              </a:p>
            </p:txBody>
          </p:sp>
          <p:sp>
            <p:nvSpPr>
              <p:cNvPr id="548" name="Freeform: Shape 591">
                <a:extLst>
                  <a:ext uri="{FF2B5EF4-FFF2-40B4-BE49-F238E27FC236}">
                    <a16:creationId xmlns:a16="http://schemas.microsoft.com/office/drawing/2014/main" id="{CDE09320-FC8D-FF1F-DE2E-16FBD759BF4C}"/>
                  </a:ext>
                </a:extLst>
              </p:cNvPr>
              <p:cNvSpPr/>
              <p:nvPr/>
            </p:nvSpPr>
            <p:spPr>
              <a:xfrm>
                <a:off x="8853316" y="95334"/>
                <a:ext cx="1190632" cy="3714731"/>
              </a:xfrm>
              <a:custGeom>
                <a:avLst/>
                <a:gdLst>
                  <a:gd name="connsiteX0" fmla="*/ 1190633 w 1190632"/>
                  <a:gd name="connsiteY0" fmla="*/ 369075 h 3714731"/>
                  <a:gd name="connsiteX1" fmla="*/ 1137057 w 1190632"/>
                  <a:gd name="connsiteY1" fmla="*/ 428606 h 3714731"/>
                  <a:gd name="connsiteX2" fmla="*/ 357188 w 1190632"/>
                  <a:gd name="connsiteY2" fmla="*/ 619106 h 3714731"/>
                  <a:gd name="connsiteX3" fmla="*/ 345281 w 1190632"/>
                  <a:gd name="connsiteY3" fmla="*/ 619106 h 3714731"/>
                  <a:gd name="connsiteX4" fmla="*/ 345281 w 1190632"/>
                  <a:gd name="connsiteY4" fmla="*/ 1023918 h 3714731"/>
                  <a:gd name="connsiteX5" fmla="*/ 434580 w 1190632"/>
                  <a:gd name="connsiteY5" fmla="*/ 1023918 h 3714731"/>
                  <a:gd name="connsiteX6" fmla="*/ 541736 w 1190632"/>
                  <a:gd name="connsiteY6" fmla="*/ 1107262 h 3714731"/>
                  <a:gd name="connsiteX7" fmla="*/ 541736 w 1190632"/>
                  <a:gd name="connsiteY7" fmla="*/ 3631387 h 3714731"/>
                  <a:gd name="connsiteX8" fmla="*/ 434580 w 1190632"/>
                  <a:gd name="connsiteY8" fmla="*/ 3714731 h 3714731"/>
                  <a:gd name="connsiteX9" fmla="*/ 107156 w 1190632"/>
                  <a:gd name="connsiteY9" fmla="*/ 3714731 h 3714731"/>
                  <a:gd name="connsiteX10" fmla="*/ 0 w 1190632"/>
                  <a:gd name="connsiteY10" fmla="*/ 3631387 h 3714731"/>
                  <a:gd name="connsiteX11" fmla="*/ 0 w 1190632"/>
                  <a:gd name="connsiteY11" fmla="*/ 1107262 h 3714731"/>
                  <a:gd name="connsiteX12" fmla="*/ 107156 w 1190632"/>
                  <a:gd name="connsiteY12" fmla="*/ 1023918 h 3714731"/>
                  <a:gd name="connsiteX13" fmla="*/ 190500 w 1190632"/>
                  <a:gd name="connsiteY13" fmla="*/ 1023918 h 3714731"/>
                  <a:gd name="connsiteX14" fmla="*/ 190500 w 1190632"/>
                  <a:gd name="connsiteY14" fmla="*/ 59531 h 3714731"/>
                  <a:gd name="connsiteX15" fmla="*/ 267889 w 1190632"/>
                  <a:gd name="connsiteY15" fmla="*/ 0 h 3714731"/>
                  <a:gd name="connsiteX16" fmla="*/ 345277 w 1190632"/>
                  <a:gd name="connsiteY16" fmla="*/ 59531 h 3714731"/>
                  <a:gd name="connsiteX17" fmla="*/ 345277 w 1190632"/>
                  <a:gd name="connsiteY17" fmla="*/ 125018 h 3714731"/>
                  <a:gd name="connsiteX18" fmla="*/ 357184 w 1190632"/>
                  <a:gd name="connsiteY18" fmla="*/ 125018 h 3714731"/>
                  <a:gd name="connsiteX19" fmla="*/ 1137052 w 1190632"/>
                  <a:gd name="connsiteY19" fmla="*/ 309566 h 3714731"/>
                  <a:gd name="connsiteX20" fmla="*/ 1190629 w 1190632"/>
                  <a:gd name="connsiteY20" fmla="*/ 369098 h 37147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190632" h="3714731">
                    <a:moveTo>
                      <a:pt x="1190633" y="369075"/>
                    </a:moveTo>
                    <a:cubicBezTo>
                      <a:pt x="1190633" y="392887"/>
                      <a:pt x="1166820" y="416700"/>
                      <a:pt x="1137057" y="428606"/>
                    </a:cubicBezTo>
                    <a:lnTo>
                      <a:pt x="357188" y="619106"/>
                    </a:lnTo>
                    <a:lnTo>
                      <a:pt x="345281" y="619106"/>
                    </a:lnTo>
                    <a:lnTo>
                      <a:pt x="345281" y="1023918"/>
                    </a:lnTo>
                    <a:lnTo>
                      <a:pt x="434580" y="1023918"/>
                    </a:lnTo>
                    <a:cubicBezTo>
                      <a:pt x="494111" y="1023918"/>
                      <a:pt x="541736" y="1059637"/>
                      <a:pt x="541736" y="1107262"/>
                    </a:cubicBezTo>
                    <a:lnTo>
                      <a:pt x="541736" y="3631387"/>
                    </a:lnTo>
                    <a:cubicBezTo>
                      <a:pt x="541736" y="3679012"/>
                      <a:pt x="494111" y="3714731"/>
                      <a:pt x="434580" y="3714731"/>
                    </a:cubicBezTo>
                    <a:lnTo>
                      <a:pt x="107156" y="3714731"/>
                    </a:lnTo>
                    <a:cubicBezTo>
                      <a:pt x="47625" y="3714731"/>
                      <a:pt x="0" y="3679012"/>
                      <a:pt x="0" y="3631387"/>
                    </a:cubicBezTo>
                    <a:lnTo>
                      <a:pt x="0" y="1107262"/>
                    </a:lnTo>
                    <a:cubicBezTo>
                      <a:pt x="0" y="1059637"/>
                      <a:pt x="47625" y="1023918"/>
                      <a:pt x="107156" y="1023918"/>
                    </a:cubicBezTo>
                    <a:lnTo>
                      <a:pt x="190500" y="1023918"/>
                    </a:lnTo>
                    <a:lnTo>
                      <a:pt x="190500" y="59531"/>
                    </a:lnTo>
                    <a:cubicBezTo>
                      <a:pt x="190500" y="23813"/>
                      <a:pt x="226219" y="0"/>
                      <a:pt x="267889" y="0"/>
                    </a:cubicBezTo>
                    <a:cubicBezTo>
                      <a:pt x="309559" y="0"/>
                      <a:pt x="345277" y="23813"/>
                      <a:pt x="345277" y="59531"/>
                    </a:cubicBezTo>
                    <a:lnTo>
                      <a:pt x="345277" y="125018"/>
                    </a:lnTo>
                    <a:lnTo>
                      <a:pt x="357184" y="125018"/>
                    </a:lnTo>
                    <a:lnTo>
                      <a:pt x="1137052" y="309566"/>
                    </a:lnTo>
                    <a:cubicBezTo>
                      <a:pt x="1172771" y="321473"/>
                      <a:pt x="1190629" y="345285"/>
                      <a:pt x="1190629" y="369098"/>
                    </a:cubicBezTo>
                    <a:close/>
                  </a:path>
                </a:pathLst>
              </a:custGeom>
              <a:solidFill>
                <a:srgbClr val="98733A"/>
              </a:solidFill>
              <a:ln w="381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207112">
                  <a:defRPr/>
                </a:pPr>
                <a:endParaRPr lang="nl-NL" sz="1359" kern="0" dirty="0">
                  <a:solidFill>
                    <a:srgbClr val="7C7C7C"/>
                  </a:solidFill>
                  <a:latin typeface="Roboto Condensed"/>
                </a:endParaRPr>
              </a:p>
            </p:txBody>
          </p:sp>
        </p:grpSp>
        <p:pic>
          <p:nvPicPr>
            <p:cNvPr id="549" name="Graphic 548">
              <a:extLst>
                <a:ext uri="{FF2B5EF4-FFF2-40B4-BE49-F238E27FC236}">
                  <a16:creationId xmlns:a16="http://schemas.microsoft.com/office/drawing/2014/main" id="{FBDCFC83-7F39-1913-1F4F-B4F726C6C33C}"/>
                </a:ext>
              </a:extLst>
            </p:cNvPr>
            <p:cNvPicPr>
              <a:picLocks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9360739" y="562752"/>
              <a:ext cx="2356385" cy="2198753"/>
            </a:xfrm>
            <a:prstGeom prst="rect">
              <a:avLst/>
            </a:prstGeom>
          </p:spPr>
        </p:pic>
      </p:grpSp>
      <p:grpSp>
        <p:nvGrpSpPr>
          <p:cNvPr id="1024" name="Group 1023">
            <a:extLst>
              <a:ext uri="{FF2B5EF4-FFF2-40B4-BE49-F238E27FC236}">
                <a16:creationId xmlns:a16="http://schemas.microsoft.com/office/drawing/2014/main" id="{9EC3A7C2-48C1-D7A7-738A-2CAA77466D07}"/>
              </a:ext>
            </a:extLst>
          </p:cNvPr>
          <p:cNvGrpSpPr/>
          <p:nvPr/>
        </p:nvGrpSpPr>
        <p:grpSpPr>
          <a:xfrm>
            <a:off x="3670384" y="98426"/>
            <a:ext cx="579666" cy="694730"/>
            <a:chOff x="3478096" y="1137247"/>
            <a:chExt cx="498387" cy="598723"/>
          </a:xfrm>
        </p:grpSpPr>
        <p:sp>
          <p:nvSpPr>
            <p:cNvPr id="1025" name="Freeform: Shape 1024">
              <a:extLst>
                <a:ext uri="{FF2B5EF4-FFF2-40B4-BE49-F238E27FC236}">
                  <a16:creationId xmlns:a16="http://schemas.microsoft.com/office/drawing/2014/main" id="{2E42591B-C6C3-0B38-00FD-3EE8990F7BCC}"/>
                </a:ext>
              </a:extLst>
            </p:cNvPr>
            <p:cNvSpPr/>
            <p:nvPr/>
          </p:nvSpPr>
          <p:spPr>
            <a:xfrm>
              <a:off x="3533220" y="1214767"/>
              <a:ext cx="97041" cy="97041"/>
            </a:xfrm>
            <a:custGeom>
              <a:avLst/>
              <a:gdLst>
                <a:gd name="connsiteX0" fmla="*/ 97041 w 97041"/>
                <a:gd name="connsiteY0" fmla="*/ 48521 h 97041"/>
                <a:gd name="connsiteX1" fmla="*/ 48521 w 97041"/>
                <a:gd name="connsiteY1" fmla="*/ 97041 h 97041"/>
                <a:gd name="connsiteX2" fmla="*/ 0 w 97041"/>
                <a:gd name="connsiteY2" fmla="*/ 48521 h 97041"/>
                <a:gd name="connsiteX3" fmla="*/ 48521 w 97041"/>
                <a:gd name="connsiteY3" fmla="*/ 0 h 97041"/>
                <a:gd name="connsiteX4" fmla="*/ 97041 w 97041"/>
                <a:gd name="connsiteY4" fmla="*/ 48521 h 970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7041" h="97041">
                  <a:moveTo>
                    <a:pt x="97041" y="48521"/>
                  </a:moveTo>
                  <a:cubicBezTo>
                    <a:pt x="97041" y="75329"/>
                    <a:pt x="75304" y="97041"/>
                    <a:pt x="48521" y="97041"/>
                  </a:cubicBezTo>
                  <a:cubicBezTo>
                    <a:pt x="21712" y="97041"/>
                    <a:pt x="0" y="75329"/>
                    <a:pt x="0" y="48521"/>
                  </a:cubicBezTo>
                  <a:cubicBezTo>
                    <a:pt x="0" y="21712"/>
                    <a:pt x="21712" y="0"/>
                    <a:pt x="48521" y="0"/>
                  </a:cubicBezTo>
                  <a:cubicBezTo>
                    <a:pt x="75304" y="0"/>
                    <a:pt x="97041" y="21712"/>
                    <a:pt x="97041" y="48521"/>
                  </a:cubicBezTo>
                </a:path>
              </a:pathLst>
            </a:custGeom>
            <a:solidFill>
              <a:srgbClr val="98733A"/>
            </a:solidFill>
            <a:ln w="6287" cap="flat">
              <a:solidFill>
                <a:sysClr val="window" lastClr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207112">
                <a:defRPr/>
              </a:pPr>
              <a:endParaRPr lang="nl-NL" sz="1359" kern="0" dirty="0">
                <a:solidFill>
                  <a:srgbClr val="7C7C7C"/>
                </a:solidFill>
                <a:latin typeface="Roboto Condensed"/>
              </a:endParaRPr>
            </a:p>
          </p:txBody>
        </p:sp>
        <p:sp>
          <p:nvSpPr>
            <p:cNvPr id="1027" name="Freeform: Shape 1026">
              <a:extLst>
                <a:ext uri="{FF2B5EF4-FFF2-40B4-BE49-F238E27FC236}">
                  <a16:creationId xmlns:a16="http://schemas.microsoft.com/office/drawing/2014/main" id="{1184CE18-77C3-E106-DCB2-14985E9D249F}"/>
                </a:ext>
              </a:extLst>
            </p:cNvPr>
            <p:cNvSpPr/>
            <p:nvPr/>
          </p:nvSpPr>
          <p:spPr>
            <a:xfrm>
              <a:off x="3478096" y="1320007"/>
              <a:ext cx="218774" cy="415963"/>
            </a:xfrm>
            <a:custGeom>
              <a:avLst/>
              <a:gdLst>
                <a:gd name="connsiteX0" fmla="*/ 200073 w 218774"/>
                <a:gd name="connsiteY0" fmla="*/ 111539 h 415963"/>
                <a:gd name="connsiteX1" fmla="*/ 149016 w 218774"/>
                <a:gd name="connsiteY1" fmla="*/ 96424 h 415963"/>
                <a:gd name="connsiteX2" fmla="*/ 113100 w 218774"/>
                <a:gd name="connsiteY2" fmla="*/ 24593 h 415963"/>
                <a:gd name="connsiteX3" fmla="*/ 104902 w 218774"/>
                <a:gd name="connsiteY3" fmla="*/ 13244 h 415963"/>
                <a:gd name="connsiteX4" fmla="*/ 70241 w 218774"/>
                <a:gd name="connsiteY4" fmla="*/ 0 h 415963"/>
                <a:gd name="connsiteX5" fmla="*/ 38090 w 218774"/>
                <a:gd name="connsiteY5" fmla="*/ 15755 h 415963"/>
                <a:gd name="connsiteX6" fmla="*/ 31148 w 218774"/>
                <a:gd name="connsiteY6" fmla="*/ 28999 h 415963"/>
                <a:gd name="connsiteX7" fmla="*/ 893 w 218774"/>
                <a:gd name="connsiteY7" fmla="*/ 147484 h 415963"/>
                <a:gd name="connsiteX8" fmla="*/ 3404 w 218774"/>
                <a:gd name="connsiteY8" fmla="*/ 168286 h 415963"/>
                <a:gd name="connsiteX9" fmla="*/ 53820 w 218774"/>
                <a:gd name="connsiteY9" fmla="*/ 263459 h 415963"/>
                <a:gd name="connsiteX10" fmla="*/ 55076 w 218774"/>
                <a:gd name="connsiteY10" fmla="*/ 270402 h 415963"/>
                <a:gd name="connsiteX11" fmla="*/ 37425 w 218774"/>
                <a:gd name="connsiteY11" fmla="*/ 380687 h 415963"/>
                <a:gd name="connsiteX12" fmla="*/ 57587 w 218774"/>
                <a:gd name="connsiteY12" fmla="*/ 414708 h 415963"/>
                <a:gd name="connsiteX13" fmla="*/ 65784 w 218774"/>
                <a:gd name="connsiteY13" fmla="*/ 415964 h 415963"/>
                <a:gd name="connsiteX14" fmla="*/ 94784 w 218774"/>
                <a:gd name="connsiteY14" fmla="*/ 392011 h 415963"/>
                <a:gd name="connsiteX15" fmla="*/ 118737 w 218774"/>
                <a:gd name="connsiteY15" fmla="*/ 266613 h 415963"/>
                <a:gd name="connsiteX16" fmla="*/ 117481 w 218774"/>
                <a:gd name="connsiteY16" fmla="*/ 251498 h 415963"/>
                <a:gd name="connsiteX17" fmla="*/ 91042 w 218774"/>
                <a:gd name="connsiteY17" fmla="*/ 173315 h 415963"/>
                <a:gd name="connsiteX18" fmla="*/ 90402 w 218774"/>
                <a:gd name="connsiteY18" fmla="*/ 166373 h 415963"/>
                <a:gd name="connsiteX19" fmla="*/ 102366 w 218774"/>
                <a:gd name="connsiteY19" fmla="*/ 112165 h 415963"/>
                <a:gd name="connsiteX20" fmla="*/ 109923 w 218774"/>
                <a:gd name="connsiteY20" fmla="*/ 127280 h 415963"/>
                <a:gd name="connsiteX21" fmla="*/ 125038 w 218774"/>
                <a:gd name="connsiteY21" fmla="*/ 139884 h 415963"/>
                <a:gd name="connsiteX22" fmla="*/ 187418 w 218774"/>
                <a:gd name="connsiteY22" fmla="*/ 158150 h 415963"/>
                <a:gd name="connsiteX23" fmla="*/ 194361 w 218774"/>
                <a:gd name="connsiteY23" fmla="*/ 159405 h 415963"/>
                <a:gd name="connsiteX24" fmla="*/ 218313 w 218774"/>
                <a:gd name="connsiteY24" fmla="*/ 139244 h 415963"/>
                <a:gd name="connsiteX25" fmla="*/ 200072 w 218774"/>
                <a:gd name="connsiteY25" fmla="*/ 111549 h 4159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8774" h="415963">
                  <a:moveTo>
                    <a:pt x="200073" y="111539"/>
                  </a:moveTo>
                  <a:lnTo>
                    <a:pt x="149016" y="96424"/>
                  </a:lnTo>
                  <a:lnTo>
                    <a:pt x="113100" y="24593"/>
                  </a:lnTo>
                  <a:cubicBezTo>
                    <a:pt x="112459" y="23338"/>
                    <a:pt x="110589" y="18931"/>
                    <a:pt x="104902" y="13244"/>
                  </a:cubicBezTo>
                  <a:cubicBezTo>
                    <a:pt x="95449" y="4432"/>
                    <a:pt x="82845" y="0"/>
                    <a:pt x="70241" y="0"/>
                  </a:cubicBezTo>
                  <a:cubicBezTo>
                    <a:pt x="57637" y="640"/>
                    <a:pt x="46288" y="6302"/>
                    <a:pt x="38090" y="15755"/>
                  </a:cubicBezTo>
                  <a:cubicBezTo>
                    <a:pt x="35579" y="18906"/>
                    <a:pt x="32428" y="25208"/>
                    <a:pt x="31148" y="28999"/>
                  </a:cubicBezTo>
                  <a:lnTo>
                    <a:pt x="893" y="147484"/>
                  </a:lnTo>
                  <a:cubicBezTo>
                    <a:pt x="-1003" y="154426"/>
                    <a:pt x="253" y="161984"/>
                    <a:pt x="3404" y="168286"/>
                  </a:cubicBezTo>
                  <a:lnTo>
                    <a:pt x="53820" y="263459"/>
                  </a:lnTo>
                  <a:cubicBezTo>
                    <a:pt x="55076" y="265355"/>
                    <a:pt x="55076" y="267866"/>
                    <a:pt x="55076" y="270402"/>
                  </a:cubicBezTo>
                  <a:lnTo>
                    <a:pt x="37425" y="380687"/>
                  </a:lnTo>
                  <a:cubicBezTo>
                    <a:pt x="34914" y="395187"/>
                    <a:pt x="43087" y="410302"/>
                    <a:pt x="57587" y="414708"/>
                  </a:cubicBezTo>
                  <a:cubicBezTo>
                    <a:pt x="60738" y="415349"/>
                    <a:pt x="63249" y="415964"/>
                    <a:pt x="65784" y="415964"/>
                  </a:cubicBezTo>
                  <a:cubicBezTo>
                    <a:pt x="79644" y="415964"/>
                    <a:pt x="91633" y="406511"/>
                    <a:pt x="94784" y="392011"/>
                  </a:cubicBezTo>
                  <a:lnTo>
                    <a:pt x="118737" y="266613"/>
                  </a:lnTo>
                  <a:cubicBezTo>
                    <a:pt x="119992" y="261566"/>
                    <a:pt x="119376" y="256519"/>
                    <a:pt x="117481" y="251498"/>
                  </a:cubicBezTo>
                  <a:lnTo>
                    <a:pt x="91042" y="173315"/>
                  </a:lnTo>
                  <a:cubicBezTo>
                    <a:pt x="90402" y="171419"/>
                    <a:pt x="90402" y="168909"/>
                    <a:pt x="90402" y="166373"/>
                  </a:cubicBezTo>
                  <a:lnTo>
                    <a:pt x="102366" y="112165"/>
                  </a:lnTo>
                  <a:lnTo>
                    <a:pt x="109923" y="127280"/>
                  </a:lnTo>
                  <a:cubicBezTo>
                    <a:pt x="113074" y="133582"/>
                    <a:pt x="118121" y="137988"/>
                    <a:pt x="125038" y="139884"/>
                  </a:cubicBezTo>
                  <a:lnTo>
                    <a:pt x="187418" y="158150"/>
                  </a:lnTo>
                  <a:cubicBezTo>
                    <a:pt x="189929" y="158790"/>
                    <a:pt x="191825" y="159405"/>
                    <a:pt x="194361" y="159405"/>
                  </a:cubicBezTo>
                  <a:cubicBezTo>
                    <a:pt x="205709" y="159405"/>
                    <a:pt x="216418" y="151207"/>
                    <a:pt x="218313" y="139244"/>
                  </a:cubicBezTo>
                  <a:cubicBezTo>
                    <a:pt x="220849" y="127304"/>
                    <a:pt x="212676" y="115340"/>
                    <a:pt x="200072" y="111549"/>
                  </a:cubicBezTo>
                  <a:close/>
                </a:path>
              </a:pathLst>
            </a:custGeom>
            <a:solidFill>
              <a:srgbClr val="98733A"/>
            </a:solidFill>
            <a:ln w="6287" cap="flat">
              <a:solidFill>
                <a:sysClr val="window" lastClr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207112">
                <a:defRPr/>
              </a:pPr>
              <a:endParaRPr lang="nl-NL" sz="1359" kern="0" dirty="0">
                <a:solidFill>
                  <a:srgbClr val="7C7C7C"/>
                </a:solidFill>
                <a:latin typeface="Roboto Condensed"/>
              </a:endParaRPr>
            </a:p>
          </p:txBody>
        </p:sp>
        <p:sp>
          <p:nvSpPr>
            <p:cNvPr id="1028" name="Freeform: Shape 1027">
              <a:extLst>
                <a:ext uri="{FF2B5EF4-FFF2-40B4-BE49-F238E27FC236}">
                  <a16:creationId xmlns:a16="http://schemas.microsoft.com/office/drawing/2014/main" id="{77FCB958-8F13-B3BB-9C30-120386C28B93}"/>
                </a:ext>
              </a:extLst>
            </p:cNvPr>
            <p:cNvSpPr/>
            <p:nvPr/>
          </p:nvSpPr>
          <p:spPr>
            <a:xfrm>
              <a:off x="3825622" y="1214767"/>
              <a:ext cx="97041" cy="97041"/>
            </a:xfrm>
            <a:custGeom>
              <a:avLst/>
              <a:gdLst>
                <a:gd name="connsiteX0" fmla="*/ 97041 w 97041"/>
                <a:gd name="connsiteY0" fmla="*/ 48521 h 97041"/>
                <a:gd name="connsiteX1" fmla="*/ 48521 w 97041"/>
                <a:gd name="connsiteY1" fmla="*/ 97041 h 97041"/>
                <a:gd name="connsiteX2" fmla="*/ 0 w 97041"/>
                <a:gd name="connsiteY2" fmla="*/ 48521 h 97041"/>
                <a:gd name="connsiteX3" fmla="*/ 48521 w 97041"/>
                <a:gd name="connsiteY3" fmla="*/ 0 h 97041"/>
                <a:gd name="connsiteX4" fmla="*/ 97041 w 97041"/>
                <a:gd name="connsiteY4" fmla="*/ 48521 h 970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7041" h="97041">
                  <a:moveTo>
                    <a:pt x="97041" y="48521"/>
                  </a:moveTo>
                  <a:cubicBezTo>
                    <a:pt x="97041" y="75329"/>
                    <a:pt x="75329" y="97041"/>
                    <a:pt x="48521" y="97041"/>
                  </a:cubicBezTo>
                  <a:cubicBezTo>
                    <a:pt x="21737" y="97041"/>
                    <a:pt x="0" y="75329"/>
                    <a:pt x="0" y="48521"/>
                  </a:cubicBezTo>
                  <a:cubicBezTo>
                    <a:pt x="0" y="21712"/>
                    <a:pt x="21737" y="0"/>
                    <a:pt x="48521" y="0"/>
                  </a:cubicBezTo>
                  <a:cubicBezTo>
                    <a:pt x="75329" y="0"/>
                    <a:pt x="97041" y="21712"/>
                    <a:pt x="97041" y="48521"/>
                  </a:cubicBezTo>
                </a:path>
              </a:pathLst>
            </a:custGeom>
            <a:solidFill>
              <a:srgbClr val="98733A"/>
            </a:solidFill>
            <a:ln w="6287" cap="flat">
              <a:solidFill>
                <a:sysClr val="window" lastClr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207112">
                <a:defRPr/>
              </a:pPr>
              <a:endParaRPr lang="nl-NL" sz="1359" kern="0" dirty="0">
                <a:solidFill>
                  <a:srgbClr val="7C7C7C"/>
                </a:solidFill>
                <a:latin typeface="Roboto Condensed"/>
              </a:endParaRPr>
            </a:p>
          </p:txBody>
        </p:sp>
        <p:sp>
          <p:nvSpPr>
            <p:cNvPr id="1029" name="Freeform: Shape 1028">
              <a:extLst>
                <a:ext uri="{FF2B5EF4-FFF2-40B4-BE49-F238E27FC236}">
                  <a16:creationId xmlns:a16="http://schemas.microsoft.com/office/drawing/2014/main" id="{756E607F-DB28-6BEE-4016-560B9C67546C}"/>
                </a:ext>
              </a:extLst>
            </p:cNvPr>
            <p:cNvSpPr/>
            <p:nvPr/>
          </p:nvSpPr>
          <p:spPr>
            <a:xfrm>
              <a:off x="3759013" y="1319917"/>
              <a:ext cx="217470" cy="416038"/>
            </a:xfrm>
            <a:custGeom>
              <a:avLst/>
              <a:gdLst>
                <a:gd name="connsiteX0" fmla="*/ 214067 w 217470"/>
                <a:gd name="connsiteY0" fmla="*/ 168347 h 416038"/>
                <a:gd name="connsiteX1" fmla="*/ 216577 w 217470"/>
                <a:gd name="connsiteY1" fmla="*/ 147545 h 416038"/>
                <a:gd name="connsiteX2" fmla="*/ 186322 w 217470"/>
                <a:gd name="connsiteY2" fmla="*/ 29060 h 416038"/>
                <a:gd name="connsiteX3" fmla="*/ 179380 w 217470"/>
                <a:gd name="connsiteY3" fmla="*/ 15816 h 416038"/>
                <a:gd name="connsiteX4" fmla="*/ 147230 w 217470"/>
                <a:gd name="connsiteY4" fmla="*/ 61 h 416038"/>
                <a:gd name="connsiteX5" fmla="*/ 112568 w 217470"/>
                <a:gd name="connsiteY5" fmla="*/ 13305 h 416038"/>
                <a:gd name="connsiteX6" fmla="*/ 104371 w 217470"/>
                <a:gd name="connsiteY6" fmla="*/ 24654 h 416038"/>
                <a:gd name="connsiteX7" fmla="*/ 69759 w 217470"/>
                <a:gd name="connsiteY7" fmla="*/ 96510 h 416038"/>
                <a:gd name="connsiteX8" fmla="*/ 18702 w 217470"/>
                <a:gd name="connsiteY8" fmla="*/ 111009 h 416038"/>
                <a:gd name="connsiteX9" fmla="*/ 436 w 217470"/>
                <a:gd name="connsiteY9" fmla="*/ 139368 h 416038"/>
                <a:gd name="connsiteX10" fmla="*/ 24389 w 217470"/>
                <a:gd name="connsiteY10" fmla="*/ 159530 h 416038"/>
                <a:gd name="connsiteX11" fmla="*/ 31331 w 217470"/>
                <a:gd name="connsiteY11" fmla="*/ 158275 h 416038"/>
                <a:gd name="connsiteX12" fmla="*/ 93711 w 217470"/>
                <a:gd name="connsiteY12" fmla="*/ 140009 h 416038"/>
                <a:gd name="connsiteX13" fmla="*/ 108826 w 217470"/>
                <a:gd name="connsiteY13" fmla="*/ 127405 h 416038"/>
                <a:gd name="connsiteX14" fmla="*/ 116384 w 217470"/>
                <a:gd name="connsiteY14" fmla="*/ 112290 h 416038"/>
                <a:gd name="connsiteX15" fmla="*/ 128348 w 217470"/>
                <a:gd name="connsiteY15" fmla="*/ 166498 h 416038"/>
                <a:gd name="connsiteX16" fmla="*/ 127708 w 217470"/>
                <a:gd name="connsiteY16" fmla="*/ 173440 h 416038"/>
                <a:gd name="connsiteX17" fmla="*/ 99989 w 217470"/>
                <a:gd name="connsiteY17" fmla="*/ 251573 h 416038"/>
                <a:gd name="connsiteX18" fmla="*/ 98734 w 217470"/>
                <a:gd name="connsiteY18" fmla="*/ 266687 h 416038"/>
                <a:gd name="connsiteX19" fmla="*/ 122686 w 217470"/>
                <a:gd name="connsiteY19" fmla="*/ 392085 h 416038"/>
                <a:gd name="connsiteX20" fmla="*/ 151046 w 217470"/>
                <a:gd name="connsiteY20" fmla="*/ 416038 h 416038"/>
                <a:gd name="connsiteX21" fmla="*/ 159243 w 217470"/>
                <a:gd name="connsiteY21" fmla="*/ 414783 h 416038"/>
                <a:gd name="connsiteX22" fmla="*/ 179405 w 217470"/>
                <a:gd name="connsiteY22" fmla="*/ 380762 h 416038"/>
                <a:gd name="connsiteX23" fmla="*/ 161754 w 217470"/>
                <a:gd name="connsiteY23" fmla="*/ 270476 h 416038"/>
                <a:gd name="connsiteX24" fmla="*/ 163009 w 217470"/>
                <a:gd name="connsiteY24" fmla="*/ 263534 h 4160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17470" h="416038">
                  <a:moveTo>
                    <a:pt x="214067" y="168347"/>
                  </a:moveTo>
                  <a:cubicBezTo>
                    <a:pt x="217218" y="162045"/>
                    <a:pt x="218473" y="154487"/>
                    <a:pt x="216577" y="147545"/>
                  </a:cubicBezTo>
                  <a:lnTo>
                    <a:pt x="186322" y="29060"/>
                  </a:lnTo>
                  <a:cubicBezTo>
                    <a:pt x="185067" y="25269"/>
                    <a:pt x="182532" y="18967"/>
                    <a:pt x="179380" y="15816"/>
                  </a:cubicBezTo>
                  <a:cubicBezTo>
                    <a:pt x="171182" y="6363"/>
                    <a:pt x="159834" y="701"/>
                    <a:pt x="147230" y="61"/>
                  </a:cubicBezTo>
                  <a:cubicBezTo>
                    <a:pt x="134626" y="-580"/>
                    <a:pt x="122021" y="3852"/>
                    <a:pt x="112568" y="13305"/>
                  </a:cubicBezTo>
                  <a:cubicBezTo>
                    <a:pt x="106907" y="18967"/>
                    <a:pt x="105011" y="23398"/>
                    <a:pt x="104371" y="24654"/>
                  </a:cubicBezTo>
                  <a:lnTo>
                    <a:pt x="69759" y="96510"/>
                  </a:lnTo>
                  <a:lnTo>
                    <a:pt x="18702" y="111009"/>
                  </a:lnTo>
                  <a:cubicBezTo>
                    <a:pt x="6738" y="114801"/>
                    <a:pt x="-2100" y="126764"/>
                    <a:pt x="436" y="139368"/>
                  </a:cubicBezTo>
                  <a:cubicBezTo>
                    <a:pt x="2948" y="151332"/>
                    <a:pt x="13040" y="159530"/>
                    <a:pt x="24389" y="159530"/>
                  </a:cubicBezTo>
                  <a:cubicBezTo>
                    <a:pt x="26900" y="159530"/>
                    <a:pt x="28796" y="158890"/>
                    <a:pt x="31331" y="158275"/>
                  </a:cubicBezTo>
                  <a:lnTo>
                    <a:pt x="93711" y="140009"/>
                  </a:lnTo>
                  <a:cubicBezTo>
                    <a:pt x="100014" y="138113"/>
                    <a:pt x="105675" y="133707"/>
                    <a:pt x="108826" y="127405"/>
                  </a:cubicBezTo>
                  <a:lnTo>
                    <a:pt x="116384" y="112290"/>
                  </a:lnTo>
                  <a:lnTo>
                    <a:pt x="128348" y="166498"/>
                  </a:lnTo>
                  <a:cubicBezTo>
                    <a:pt x="128988" y="169008"/>
                    <a:pt x="128988" y="170904"/>
                    <a:pt x="127708" y="173440"/>
                  </a:cubicBezTo>
                  <a:lnTo>
                    <a:pt x="99989" y="251573"/>
                  </a:lnTo>
                  <a:cubicBezTo>
                    <a:pt x="98093" y="256619"/>
                    <a:pt x="98093" y="261666"/>
                    <a:pt x="98734" y="266687"/>
                  </a:cubicBezTo>
                  <a:lnTo>
                    <a:pt x="122686" y="392085"/>
                  </a:lnTo>
                  <a:cubicBezTo>
                    <a:pt x="125197" y="405945"/>
                    <a:pt x="137801" y="416038"/>
                    <a:pt x="151046" y="416038"/>
                  </a:cubicBezTo>
                  <a:cubicBezTo>
                    <a:pt x="153556" y="416038"/>
                    <a:pt x="156707" y="415398"/>
                    <a:pt x="159243" y="414783"/>
                  </a:cubicBezTo>
                  <a:cubicBezTo>
                    <a:pt x="173743" y="410376"/>
                    <a:pt x="181941" y="395236"/>
                    <a:pt x="179405" y="380762"/>
                  </a:cubicBezTo>
                  <a:lnTo>
                    <a:pt x="161754" y="270476"/>
                  </a:lnTo>
                  <a:cubicBezTo>
                    <a:pt x="161114" y="267965"/>
                    <a:pt x="161754" y="266069"/>
                    <a:pt x="163009" y="263534"/>
                  </a:cubicBezTo>
                  <a:close/>
                </a:path>
              </a:pathLst>
            </a:custGeom>
            <a:solidFill>
              <a:srgbClr val="98733A"/>
            </a:solidFill>
            <a:ln w="6287" cap="flat">
              <a:solidFill>
                <a:sysClr val="window" lastClr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207112">
                <a:defRPr/>
              </a:pPr>
              <a:endParaRPr lang="nl-NL" sz="1359" kern="0" dirty="0">
                <a:solidFill>
                  <a:srgbClr val="7C7C7C"/>
                </a:solidFill>
                <a:latin typeface="Roboto Condensed"/>
              </a:endParaRPr>
            </a:p>
          </p:txBody>
        </p:sp>
        <p:sp>
          <p:nvSpPr>
            <p:cNvPr id="1030" name="Freeform: Shape 1029">
              <a:extLst>
                <a:ext uri="{FF2B5EF4-FFF2-40B4-BE49-F238E27FC236}">
                  <a16:creationId xmlns:a16="http://schemas.microsoft.com/office/drawing/2014/main" id="{76932103-F34D-DEB0-A837-42EBA9F2B247}"/>
                </a:ext>
              </a:extLst>
            </p:cNvPr>
            <p:cNvSpPr/>
            <p:nvPr/>
          </p:nvSpPr>
          <p:spPr>
            <a:xfrm>
              <a:off x="3648524" y="1137247"/>
              <a:ext cx="158836" cy="144494"/>
            </a:xfrm>
            <a:custGeom>
              <a:avLst/>
              <a:gdLst>
                <a:gd name="connsiteX0" fmla="*/ 158837 w 158836"/>
                <a:gd name="connsiteY0" fmla="*/ 63020 h 144494"/>
                <a:gd name="connsiteX1" fmla="*/ 79418 w 158836"/>
                <a:gd name="connsiteY1" fmla="*/ 0 h 144494"/>
                <a:gd name="connsiteX2" fmla="*/ 0 w 158836"/>
                <a:gd name="connsiteY2" fmla="*/ 63020 h 144494"/>
                <a:gd name="connsiteX3" fmla="*/ 29615 w 158836"/>
                <a:gd name="connsiteY3" fmla="*/ 112181 h 144494"/>
                <a:gd name="connsiteX4" fmla="*/ 18906 w 158836"/>
                <a:gd name="connsiteY4" fmla="*/ 134879 h 144494"/>
                <a:gd name="connsiteX5" fmla="*/ 23953 w 158836"/>
                <a:gd name="connsiteY5" fmla="*/ 144332 h 144494"/>
                <a:gd name="connsiteX6" fmla="*/ 66171 w 158836"/>
                <a:gd name="connsiteY6" fmla="*/ 124785 h 144494"/>
                <a:gd name="connsiteX7" fmla="*/ 78776 w 158836"/>
                <a:gd name="connsiteY7" fmla="*/ 125426 h 144494"/>
                <a:gd name="connsiteX8" fmla="*/ 158830 w 158836"/>
                <a:gd name="connsiteY8" fmla="*/ 63021 h 144494"/>
                <a:gd name="connsiteX9" fmla="*/ 120384 w 158836"/>
                <a:gd name="connsiteY9" fmla="*/ 51057 h 144494"/>
                <a:gd name="connsiteX10" fmla="*/ 131733 w 158836"/>
                <a:gd name="connsiteY10" fmla="*/ 62405 h 144494"/>
                <a:gd name="connsiteX11" fmla="*/ 120384 w 158836"/>
                <a:gd name="connsiteY11" fmla="*/ 73754 h 144494"/>
                <a:gd name="connsiteX12" fmla="*/ 109035 w 158836"/>
                <a:gd name="connsiteY12" fmla="*/ 62405 h 144494"/>
                <a:gd name="connsiteX13" fmla="*/ 120384 w 158836"/>
                <a:gd name="connsiteY13" fmla="*/ 51057 h 144494"/>
                <a:gd name="connsiteX14" fmla="*/ 38458 w 158836"/>
                <a:gd name="connsiteY14" fmla="*/ 51057 h 144494"/>
                <a:gd name="connsiteX15" fmla="*/ 49806 w 158836"/>
                <a:gd name="connsiteY15" fmla="*/ 62405 h 144494"/>
                <a:gd name="connsiteX16" fmla="*/ 38458 w 158836"/>
                <a:gd name="connsiteY16" fmla="*/ 73754 h 144494"/>
                <a:gd name="connsiteX17" fmla="*/ 27109 w 158836"/>
                <a:gd name="connsiteY17" fmla="*/ 62405 h 144494"/>
                <a:gd name="connsiteX18" fmla="*/ 38458 w 158836"/>
                <a:gd name="connsiteY18" fmla="*/ 51057 h 144494"/>
                <a:gd name="connsiteX19" fmla="*/ 68072 w 158836"/>
                <a:gd name="connsiteY19" fmla="*/ 63020 h 144494"/>
                <a:gd name="connsiteX20" fmla="*/ 79421 w 158836"/>
                <a:gd name="connsiteY20" fmla="*/ 51672 h 144494"/>
                <a:gd name="connsiteX21" fmla="*/ 90770 w 158836"/>
                <a:gd name="connsiteY21" fmla="*/ 63020 h 144494"/>
                <a:gd name="connsiteX22" fmla="*/ 79421 w 158836"/>
                <a:gd name="connsiteY22" fmla="*/ 74369 h 144494"/>
                <a:gd name="connsiteX23" fmla="*/ 68072 w 158836"/>
                <a:gd name="connsiteY23" fmla="*/ 63020 h 144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58836" h="144494">
                  <a:moveTo>
                    <a:pt x="158837" y="63020"/>
                  </a:moveTo>
                  <a:cubicBezTo>
                    <a:pt x="158837" y="28359"/>
                    <a:pt x="123535" y="0"/>
                    <a:pt x="79418" y="0"/>
                  </a:cubicBezTo>
                  <a:cubicBezTo>
                    <a:pt x="35302" y="0"/>
                    <a:pt x="0" y="28359"/>
                    <a:pt x="0" y="63020"/>
                  </a:cubicBezTo>
                  <a:cubicBezTo>
                    <a:pt x="0" y="82567"/>
                    <a:pt x="11349" y="100192"/>
                    <a:pt x="29615" y="112181"/>
                  </a:cubicBezTo>
                  <a:cubicBezTo>
                    <a:pt x="28359" y="117843"/>
                    <a:pt x="25208" y="127296"/>
                    <a:pt x="18906" y="134879"/>
                  </a:cubicBezTo>
                  <a:cubicBezTo>
                    <a:pt x="15115" y="139285"/>
                    <a:pt x="18906" y="145587"/>
                    <a:pt x="23953" y="144332"/>
                  </a:cubicBezTo>
                  <a:cubicBezTo>
                    <a:pt x="48521" y="140541"/>
                    <a:pt x="60510" y="131087"/>
                    <a:pt x="66171" y="124785"/>
                  </a:cubicBezTo>
                  <a:cubicBezTo>
                    <a:pt x="70578" y="125426"/>
                    <a:pt x="74369" y="125426"/>
                    <a:pt x="78776" y="125426"/>
                  </a:cubicBezTo>
                  <a:cubicBezTo>
                    <a:pt x="122890" y="126041"/>
                    <a:pt x="158830" y="97682"/>
                    <a:pt x="158830" y="63021"/>
                  </a:cubicBezTo>
                  <a:close/>
                  <a:moveTo>
                    <a:pt x="120384" y="51057"/>
                  </a:moveTo>
                  <a:cubicBezTo>
                    <a:pt x="126686" y="51057"/>
                    <a:pt x="131733" y="56103"/>
                    <a:pt x="131733" y="62405"/>
                  </a:cubicBezTo>
                  <a:cubicBezTo>
                    <a:pt x="131733" y="68707"/>
                    <a:pt x="126686" y="73754"/>
                    <a:pt x="120384" y="73754"/>
                  </a:cubicBezTo>
                  <a:cubicBezTo>
                    <a:pt x="114082" y="73754"/>
                    <a:pt x="109035" y="68707"/>
                    <a:pt x="109035" y="62405"/>
                  </a:cubicBezTo>
                  <a:cubicBezTo>
                    <a:pt x="108420" y="56719"/>
                    <a:pt x="113442" y="51057"/>
                    <a:pt x="120384" y="51057"/>
                  </a:cubicBezTo>
                  <a:close/>
                  <a:moveTo>
                    <a:pt x="38458" y="51057"/>
                  </a:moveTo>
                  <a:cubicBezTo>
                    <a:pt x="44760" y="51057"/>
                    <a:pt x="49806" y="56103"/>
                    <a:pt x="49806" y="62405"/>
                  </a:cubicBezTo>
                  <a:cubicBezTo>
                    <a:pt x="49806" y="68707"/>
                    <a:pt x="44760" y="73754"/>
                    <a:pt x="38458" y="73754"/>
                  </a:cubicBezTo>
                  <a:cubicBezTo>
                    <a:pt x="32156" y="73754"/>
                    <a:pt x="27109" y="68707"/>
                    <a:pt x="27109" y="62405"/>
                  </a:cubicBezTo>
                  <a:cubicBezTo>
                    <a:pt x="27109" y="56719"/>
                    <a:pt x="32156" y="51057"/>
                    <a:pt x="38458" y="51057"/>
                  </a:cubicBezTo>
                  <a:close/>
                  <a:moveTo>
                    <a:pt x="68072" y="63020"/>
                  </a:moveTo>
                  <a:cubicBezTo>
                    <a:pt x="68072" y="56718"/>
                    <a:pt x="73119" y="51672"/>
                    <a:pt x="79421" y="51672"/>
                  </a:cubicBezTo>
                  <a:cubicBezTo>
                    <a:pt x="85723" y="51672"/>
                    <a:pt x="90770" y="56718"/>
                    <a:pt x="90770" y="63020"/>
                  </a:cubicBezTo>
                  <a:cubicBezTo>
                    <a:pt x="90770" y="69322"/>
                    <a:pt x="85723" y="74369"/>
                    <a:pt x="79421" y="74369"/>
                  </a:cubicBezTo>
                  <a:cubicBezTo>
                    <a:pt x="73119" y="74369"/>
                    <a:pt x="68072" y="69322"/>
                    <a:pt x="68072" y="63020"/>
                  </a:cubicBezTo>
                  <a:close/>
                </a:path>
              </a:pathLst>
            </a:custGeom>
            <a:solidFill>
              <a:srgbClr val="98733A"/>
            </a:solidFill>
            <a:ln w="6287" cap="flat">
              <a:solidFill>
                <a:sysClr val="window" lastClr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207112">
                <a:defRPr/>
              </a:pPr>
              <a:endParaRPr lang="nl-NL" sz="1359" kern="0" dirty="0">
                <a:solidFill>
                  <a:srgbClr val="7C7C7C"/>
                </a:solidFill>
                <a:latin typeface="Roboto Condensed"/>
              </a:endParaRPr>
            </a:p>
          </p:txBody>
        </p:sp>
      </p:grpSp>
      <p:sp>
        <p:nvSpPr>
          <p:cNvPr id="1049" name="Rectangle 1048">
            <a:extLst>
              <a:ext uri="{FF2B5EF4-FFF2-40B4-BE49-F238E27FC236}">
                <a16:creationId xmlns:a16="http://schemas.microsoft.com/office/drawing/2014/main" id="{2D0716FB-484C-C7E1-268F-E5FBCF9FAF5A}"/>
              </a:ext>
            </a:extLst>
          </p:cNvPr>
          <p:cNvSpPr/>
          <p:nvPr/>
        </p:nvSpPr>
        <p:spPr>
          <a:xfrm>
            <a:off x="1758789" y="1949975"/>
            <a:ext cx="1386314" cy="285418"/>
          </a:xfrm>
          <a:prstGeom prst="rect">
            <a:avLst/>
          </a:prstGeom>
          <a:solidFill>
            <a:srgbClr val="60B3BB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815" dirty="0">
              <a:solidFill>
                <a:schemeClr val="bg1"/>
              </a:solidFill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1E398CF-231E-A5AC-5393-32865D94CABB}"/>
              </a:ext>
            </a:extLst>
          </p:cNvPr>
          <p:cNvSpPr txBox="1">
            <a:spLocks/>
          </p:cNvSpPr>
          <p:nvPr/>
        </p:nvSpPr>
        <p:spPr>
          <a:xfrm>
            <a:off x="1747860" y="1958432"/>
            <a:ext cx="1386314" cy="2854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55375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815" dirty="0">
                <a:solidFill>
                  <a:schemeClr val="bg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Arial" panose="020B0604020202020204" pitchFamily="34" charset="0"/>
              </a:rPr>
              <a:t>“Werken bij” website</a:t>
            </a:r>
          </a:p>
        </p:txBody>
      </p:sp>
      <p:sp>
        <p:nvSpPr>
          <p:cNvPr id="1052" name="Rectangle 1051">
            <a:extLst>
              <a:ext uri="{FF2B5EF4-FFF2-40B4-BE49-F238E27FC236}">
                <a16:creationId xmlns:a16="http://schemas.microsoft.com/office/drawing/2014/main" id="{787148F5-79A1-415C-D6D7-92DB05C858E4}"/>
              </a:ext>
            </a:extLst>
          </p:cNvPr>
          <p:cNvSpPr/>
          <p:nvPr/>
        </p:nvSpPr>
        <p:spPr>
          <a:xfrm>
            <a:off x="1758789" y="2258985"/>
            <a:ext cx="1386314" cy="285418"/>
          </a:xfrm>
          <a:prstGeom prst="rect">
            <a:avLst/>
          </a:prstGeom>
          <a:solidFill>
            <a:srgbClr val="60B3BB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815" dirty="0">
              <a:solidFill>
                <a:schemeClr val="bg1"/>
              </a:solidFill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1053" name="Content Placeholder 2">
            <a:extLst>
              <a:ext uri="{FF2B5EF4-FFF2-40B4-BE49-F238E27FC236}">
                <a16:creationId xmlns:a16="http://schemas.microsoft.com/office/drawing/2014/main" id="{B5FCFE85-C698-4353-B899-01CE2B44A508}"/>
              </a:ext>
            </a:extLst>
          </p:cNvPr>
          <p:cNvSpPr txBox="1">
            <a:spLocks/>
          </p:cNvSpPr>
          <p:nvPr/>
        </p:nvSpPr>
        <p:spPr>
          <a:xfrm>
            <a:off x="1747860" y="2260760"/>
            <a:ext cx="1386314" cy="2854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815" dirty="0">
                <a:solidFill>
                  <a:schemeClr val="bg1"/>
                </a:solidFill>
                <a:latin typeface="Roboto Condensed"/>
                <a:cs typeface="Arial" panose="020B0604020202020204" pitchFamily="34" charset="0"/>
              </a:rPr>
              <a:t>Vacatures </a:t>
            </a:r>
          </a:p>
          <a:p>
            <a:pPr marL="0" indent="0" algn="ctr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634" dirty="0">
                <a:solidFill>
                  <a:schemeClr val="bg1"/>
                </a:solidFill>
                <a:latin typeface="Roboto Condensed"/>
                <a:cs typeface="Arial" panose="020B0604020202020204" pitchFamily="34" charset="0"/>
              </a:rPr>
              <a:t>(website, job boards, </a:t>
            </a:r>
            <a:r>
              <a:rPr lang="nl-NL" sz="634" dirty="0" err="1">
                <a:solidFill>
                  <a:schemeClr val="bg1"/>
                </a:solidFill>
                <a:latin typeface="Roboto Condensed"/>
                <a:cs typeface="Arial" panose="020B0604020202020204" pitchFamily="34" charset="0"/>
              </a:rPr>
              <a:t>social</a:t>
            </a:r>
            <a:r>
              <a:rPr lang="nl-NL" sz="634" dirty="0">
                <a:solidFill>
                  <a:schemeClr val="bg1"/>
                </a:solidFill>
                <a:latin typeface="Roboto Condensed"/>
                <a:cs typeface="Arial" panose="020B0604020202020204" pitchFamily="34" charset="0"/>
              </a:rPr>
              <a:t> media)</a:t>
            </a:r>
            <a:endParaRPr lang="nl-NL" sz="815" dirty="0">
              <a:solidFill>
                <a:schemeClr val="bg1"/>
              </a:solidFill>
              <a:latin typeface="Roboto Condensed"/>
              <a:cs typeface="Arial" panose="020B0604020202020204" pitchFamily="34" charset="0"/>
            </a:endParaRPr>
          </a:p>
        </p:txBody>
      </p:sp>
      <p:sp>
        <p:nvSpPr>
          <p:cNvPr id="1055" name="Rectangle 1054">
            <a:extLst>
              <a:ext uri="{FF2B5EF4-FFF2-40B4-BE49-F238E27FC236}">
                <a16:creationId xmlns:a16="http://schemas.microsoft.com/office/drawing/2014/main" id="{56C5EDB6-E81C-B4BD-CF37-B93E8C97E66E}"/>
              </a:ext>
            </a:extLst>
          </p:cNvPr>
          <p:cNvSpPr/>
          <p:nvPr/>
        </p:nvSpPr>
        <p:spPr>
          <a:xfrm>
            <a:off x="1758789" y="2567994"/>
            <a:ext cx="1386314" cy="285418"/>
          </a:xfrm>
          <a:prstGeom prst="rect">
            <a:avLst/>
          </a:prstGeom>
          <a:solidFill>
            <a:srgbClr val="60B3BB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815" dirty="0">
              <a:solidFill>
                <a:schemeClr val="bg1"/>
              </a:solidFill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1056" name="Content Placeholder 2">
            <a:extLst>
              <a:ext uri="{FF2B5EF4-FFF2-40B4-BE49-F238E27FC236}">
                <a16:creationId xmlns:a16="http://schemas.microsoft.com/office/drawing/2014/main" id="{F987F863-FE00-AEC3-4BE8-A759C34EEA96}"/>
              </a:ext>
            </a:extLst>
          </p:cNvPr>
          <p:cNvSpPr txBox="1">
            <a:spLocks/>
          </p:cNvSpPr>
          <p:nvPr/>
        </p:nvSpPr>
        <p:spPr>
          <a:xfrm>
            <a:off x="1747860" y="2576451"/>
            <a:ext cx="1386314" cy="2854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55375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815" dirty="0">
                <a:solidFill>
                  <a:schemeClr val="bg1"/>
                </a:solidFill>
                <a:latin typeface="Roboto Condensed"/>
                <a:cs typeface="Arial" panose="020B0604020202020204" pitchFamily="34" charset="0"/>
              </a:rPr>
              <a:t>Online solliciteren/</a:t>
            </a:r>
          </a:p>
          <a:p>
            <a:pPr marL="0" indent="0" algn="ctr" defTabSz="155375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815" dirty="0">
                <a:solidFill>
                  <a:schemeClr val="bg1"/>
                </a:solidFill>
                <a:latin typeface="Roboto Condensed"/>
                <a:cs typeface="Arial" panose="020B0604020202020204" pitchFamily="34" charset="0"/>
              </a:rPr>
              <a:t>documenten uploaden</a:t>
            </a:r>
          </a:p>
        </p:txBody>
      </p:sp>
      <p:sp>
        <p:nvSpPr>
          <p:cNvPr id="1058" name="Rectangle 1057">
            <a:extLst>
              <a:ext uri="{FF2B5EF4-FFF2-40B4-BE49-F238E27FC236}">
                <a16:creationId xmlns:a16="http://schemas.microsoft.com/office/drawing/2014/main" id="{A29216F1-23BE-3C0E-BDA1-26517D51B887}"/>
              </a:ext>
            </a:extLst>
          </p:cNvPr>
          <p:cNvSpPr/>
          <p:nvPr/>
        </p:nvSpPr>
        <p:spPr>
          <a:xfrm>
            <a:off x="1758789" y="2877003"/>
            <a:ext cx="1386314" cy="285418"/>
          </a:xfrm>
          <a:prstGeom prst="rect">
            <a:avLst/>
          </a:prstGeom>
          <a:solidFill>
            <a:srgbClr val="60B3BB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815" dirty="0">
              <a:solidFill>
                <a:schemeClr val="bg1"/>
              </a:solidFill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1059" name="Content Placeholder 2">
            <a:extLst>
              <a:ext uri="{FF2B5EF4-FFF2-40B4-BE49-F238E27FC236}">
                <a16:creationId xmlns:a16="http://schemas.microsoft.com/office/drawing/2014/main" id="{B09B8D40-E1F1-E221-FE9A-F2D19810C86B}"/>
              </a:ext>
            </a:extLst>
          </p:cNvPr>
          <p:cNvSpPr txBox="1">
            <a:spLocks/>
          </p:cNvSpPr>
          <p:nvPr/>
        </p:nvSpPr>
        <p:spPr>
          <a:xfrm>
            <a:off x="1747860" y="2878778"/>
            <a:ext cx="1386314" cy="2854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55375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815" dirty="0">
                <a:solidFill>
                  <a:schemeClr val="bg1"/>
                </a:solidFill>
                <a:latin typeface="Roboto Condensed"/>
                <a:cs typeface="Arial" panose="020B0604020202020204" pitchFamily="34" charset="0"/>
              </a:rPr>
              <a:t>Eerste screening/</a:t>
            </a:r>
          </a:p>
          <a:p>
            <a:pPr marL="0" indent="0" algn="ctr" defTabSz="155375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815" dirty="0">
                <a:solidFill>
                  <a:schemeClr val="bg1"/>
                </a:solidFill>
                <a:latin typeface="Roboto Condensed"/>
                <a:cs typeface="Arial" panose="020B0604020202020204" pitchFamily="34" charset="0"/>
              </a:rPr>
              <a:t>(capaciteiten)test</a:t>
            </a:r>
          </a:p>
        </p:txBody>
      </p:sp>
      <p:sp>
        <p:nvSpPr>
          <p:cNvPr id="1061" name="Rectangle 1060">
            <a:extLst>
              <a:ext uri="{FF2B5EF4-FFF2-40B4-BE49-F238E27FC236}">
                <a16:creationId xmlns:a16="http://schemas.microsoft.com/office/drawing/2014/main" id="{F0971E73-4807-85FC-65A0-B4BBADF07BF3}"/>
              </a:ext>
            </a:extLst>
          </p:cNvPr>
          <p:cNvSpPr/>
          <p:nvPr/>
        </p:nvSpPr>
        <p:spPr>
          <a:xfrm>
            <a:off x="1758789" y="3186012"/>
            <a:ext cx="1386314" cy="285418"/>
          </a:xfrm>
          <a:prstGeom prst="rect">
            <a:avLst/>
          </a:prstGeom>
          <a:solidFill>
            <a:srgbClr val="60B3BB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815" dirty="0">
              <a:solidFill>
                <a:schemeClr val="bg1"/>
              </a:solidFill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1062" name="Content Placeholder 2">
            <a:extLst>
              <a:ext uri="{FF2B5EF4-FFF2-40B4-BE49-F238E27FC236}">
                <a16:creationId xmlns:a16="http://schemas.microsoft.com/office/drawing/2014/main" id="{12822263-31FD-0510-6B82-382A0CA601A6}"/>
              </a:ext>
            </a:extLst>
          </p:cNvPr>
          <p:cNvSpPr txBox="1">
            <a:spLocks/>
          </p:cNvSpPr>
          <p:nvPr/>
        </p:nvSpPr>
        <p:spPr>
          <a:xfrm>
            <a:off x="1747860" y="3201151"/>
            <a:ext cx="1386314" cy="2854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55375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815" dirty="0">
                <a:solidFill>
                  <a:schemeClr val="bg1"/>
                </a:solidFill>
                <a:latin typeface="Roboto Condensed"/>
                <a:cs typeface="Arial" panose="020B0604020202020204" pitchFamily="34" charset="0"/>
              </a:rPr>
              <a:t>Gesprek(ken) </a:t>
            </a:r>
          </a:p>
          <a:p>
            <a:pPr marL="0" indent="0" algn="ctr" defTabSz="155375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634" dirty="0">
                <a:solidFill>
                  <a:schemeClr val="bg1"/>
                </a:solidFill>
                <a:latin typeface="Roboto Condensed"/>
                <a:cs typeface="Arial" panose="020B0604020202020204" pitchFamily="34" charset="0"/>
              </a:rPr>
              <a:t>(en evt. meeloopmoment)</a:t>
            </a:r>
          </a:p>
        </p:txBody>
      </p:sp>
      <p:sp>
        <p:nvSpPr>
          <p:cNvPr id="1064" name="Rectangle 1063">
            <a:extLst>
              <a:ext uri="{FF2B5EF4-FFF2-40B4-BE49-F238E27FC236}">
                <a16:creationId xmlns:a16="http://schemas.microsoft.com/office/drawing/2014/main" id="{F8886603-B717-4174-B010-FC84E3D21D05}"/>
              </a:ext>
            </a:extLst>
          </p:cNvPr>
          <p:cNvSpPr/>
          <p:nvPr/>
        </p:nvSpPr>
        <p:spPr>
          <a:xfrm>
            <a:off x="1758789" y="3495022"/>
            <a:ext cx="1386314" cy="285418"/>
          </a:xfrm>
          <a:prstGeom prst="rect">
            <a:avLst/>
          </a:prstGeom>
          <a:solidFill>
            <a:srgbClr val="60B3BB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815" dirty="0">
              <a:solidFill>
                <a:schemeClr val="bg1"/>
              </a:solidFill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1065" name="Content Placeholder 2">
            <a:extLst>
              <a:ext uri="{FF2B5EF4-FFF2-40B4-BE49-F238E27FC236}">
                <a16:creationId xmlns:a16="http://schemas.microsoft.com/office/drawing/2014/main" id="{4AA9B28E-CA0F-2ABD-0618-9C33FFB7A555}"/>
              </a:ext>
            </a:extLst>
          </p:cNvPr>
          <p:cNvSpPr txBox="1">
            <a:spLocks/>
          </p:cNvSpPr>
          <p:nvPr/>
        </p:nvSpPr>
        <p:spPr>
          <a:xfrm>
            <a:off x="1747860" y="3496797"/>
            <a:ext cx="1386314" cy="2854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55375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815" dirty="0">
                <a:solidFill>
                  <a:schemeClr val="bg1"/>
                </a:solidFill>
                <a:latin typeface="Roboto Condensed"/>
                <a:cs typeface="Arial" panose="020B0604020202020204" pitchFamily="34" charset="0"/>
              </a:rPr>
              <a:t>Feedback</a:t>
            </a:r>
          </a:p>
        </p:txBody>
      </p:sp>
      <p:sp>
        <p:nvSpPr>
          <p:cNvPr id="1067" name="Rectangle 1066">
            <a:extLst>
              <a:ext uri="{FF2B5EF4-FFF2-40B4-BE49-F238E27FC236}">
                <a16:creationId xmlns:a16="http://schemas.microsoft.com/office/drawing/2014/main" id="{28433291-FF8F-B8D7-B5CD-39D56C0ACDB0}"/>
              </a:ext>
            </a:extLst>
          </p:cNvPr>
          <p:cNvSpPr/>
          <p:nvPr/>
        </p:nvSpPr>
        <p:spPr>
          <a:xfrm>
            <a:off x="1758789" y="3804031"/>
            <a:ext cx="1386314" cy="285418"/>
          </a:xfrm>
          <a:prstGeom prst="rect">
            <a:avLst/>
          </a:prstGeom>
          <a:solidFill>
            <a:srgbClr val="60B3BB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815" dirty="0">
              <a:solidFill>
                <a:schemeClr val="bg1"/>
              </a:solidFill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1068" name="Content Placeholder 2">
            <a:extLst>
              <a:ext uri="{FF2B5EF4-FFF2-40B4-BE49-F238E27FC236}">
                <a16:creationId xmlns:a16="http://schemas.microsoft.com/office/drawing/2014/main" id="{8E53F868-F0A9-460B-79F8-929EA43716C8}"/>
              </a:ext>
            </a:extLst>
          </p:cNvPr>
          <p:cNvSpPr txBox="1">
            <a:spLocks/>
          </p:cNvSpPr>
          <p:nvPr/>
        </p:nvSpPr>
        <p:spPr>
          <a:xfrm>
            <a:off x="1747860" y="3799124"/>
            <a:ext cx="1386314" cy="2854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55375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815" dirty="0">
                <a:solidFill>
                  <a:schemeClr val="bg1"/>
                </a:solidFill>
                <a:latin typeface="Roboto Condensed"/>
                <a:cs typeface="Arial" panose="020B0604020202020204" pitchFamily="34" charset="0"/>
              </a:rPr>
              <a:t>Afwijzing</a:t>
            </a:r>
          </a:p>
        </p:txBody>
      </p:sp>
      <p:sp>
        <p:nvSpPr>
          <p:cNvPr id="1070" name="Rectangle 1069">
            <a:extLst>
              <a:ext uri="{FF2B5EF4-FFF2-40B4-BE49-F238E27FC236}">
                <a16:creationId xmlns:a16="http://schemas.microsoft.com/office/drawing/2014/main" id="{45BFC5B0-F545-3FEB-0D9D-146E130C1E96}"/>
              </a:ext>
            </a:extLst>
          </p:cNvPr>
          <p:cNvSpPr/>
          <p:nvPr/>
        </p:nvSpPr>
        <p:spPr>
          <a:xfrm>
            <a:off x="1747304" y="4113040"/>
            <a:ext cx="1386314" cy="285418"/>
          </a:xfrm>
          <a:prstGeom prst="rect">
            <a:avLst/>
          </a:prstGeom>
          <a:solidFill>
            <a:srgbClr val="60B3BB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815" dirty="0">
              <a:solidFill>
                <a:schemeClr val="bg1"/>
              </a:solidFill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1071" name="Content Placeholder 2">
            <a:extLst>
              <a:ext uri="{FF2B5EF4-FFF2-40B4-BE49-F238E27FC236}">
                <a16:creationId xmlns:a16="http://schemas.microsoft.com/office/drawing/2014/main" id="{0CA1D2C5-D122-AEB6-89AA-82C6AA3597D1}"/>
              </a:ext>
            </a:extLst>
          </p:cNvPr>
          <p:cNvSpPr txBox="1">
            <a:spLocks/>
          </p:cNvSpPr>
          <p:nvPr/>
        </p:nvSpPr>
        <p:spPr>
          <a:xfrm>
            <a:off x="1736375" y="4121497"/>
            <a:ext cx="1386314" cy="2854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55375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815" dirty="0">
                <a:solidFill>
                  <a:schemeClr val="bg1"/>
                </a:solidFill>
                <a:latin typeface="Roboto Condensed"/>
                <a:cs typeface="Arial" panose="020B0604020202020204" pitchFamily="34" charset="0"/>
              </a:rPr>
              <a:t>Aanbod </a:t>
            </a:r>
          </a:p>
          <a:p>
            <a:pPr marL="0" indent="0" algn="ctr" defTabSz="155375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634" dirty="0">
                <a:solidFill>
                  <a:schemeClr val="bg1"/>
                </a:solidFill>
                <a:latin typeface="Roboto Condensed"/>
                <a:cs typeface="Arial" panose="020B0604020202020204" pitchFamily="34" charset="0"/>
              </a:rPr>
              <a:t>(salaris, secundaire voorwaarden) incl. onderhandeling</a:t>
            </a:r>
          </a:p>
        </p:txBody>
      </p:sp>
      <p:pic>
        <p:nvPicPr>
          <p:cNvPr id="1073" name="Graphic 1072" descr="Blind with solid fill">
            <a:extLst>
              <a:ext uri="{FF2B5EF4-FFF2-40B4-BE49-F238E27FC236}">
                <a16:creationId xmlns:a16="http://schemas.microsoft.com/office/drawing/2014/main" id="{BD6243C4-4A84-80D2-C28A-36C1D181AB8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383930" y="5002964"/>
            <a:ext cx="277263" cy="277263"/>
          </a:xfrm>
          <a:prstGeom prst="rect">
            <a:avLst/>
          </a:prstGeom>
        </p:spPr>
      </p:pic>
      <p:sp>
        <p:nvSpPr>
          <p:cNvPr id="1076" name="TextBox 1075">
            <a:extLst>
              <a:ext uri="{FF2B5EF4-FFF2-40B4-BE49-F238E27FC236}">
                <a16:creationId xmlns:a16="http://schemas.microsoft.com/office/drawing/2014/main" id="{3A066AAE-B544-9CAD-4FCF-8EAD7F0E2307}"/>
              </a:ext>
            </a:extLst>
          </p:cNvPr>
          <p:cNvSpPr txBox="1"/>
          <p:nvPr/>
        </p:nvSpPr>
        <p:spPr>
          <a:xfrm flipH="1">
            <a:off x="1746752" y="4996324"/>
            <a:ext cx="1992853" cy="2596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1050" dirty="0">
                <a:solidFill>
                  <a:schemeClr val="bg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Onzichtbaar voor de medewerker</a:t>
            </a:r>
          </a:p>
        </p:txBody>
      </p:sp>
      <p:sp>
        <p:nvSpPr>
          <p:cNvPr id="1078" name="Rectangle 1077">
            <a:extLst>
              <a:ext uri="{FF2B5EF4-FFF2-40B4-BE49-F238E27FC236}">
                <a16:creationId xmlns:a16="http://schemas.microsoft.com/office/drawing/2014/main" id="{3DA984AC-D43C-0BBF-FDB9-084D593D3FAE}"/>
              </a:ext>
            </a:extLst>
          </p:cNvPr>
          <p:cNvSpPr/>
          <p:nvPr/>
        </p:nvSpPr>
        <p:spPr>
          <a:xfrm>
            <a:off x="3277989" y="1949975"/>
            <a:ext cx="1386314" cy="285418"/>
          </a:xfrm>
          <a:prstGeom prst="rect">
            <a:avLst/>
          </a:prstGeom>
          <a:solidFill>
            <a:srgbClr val="60B3BB">
              <a:alpha val="85098"/>
            </a:srgb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815" dirty="0">
              <a:solidFill>
                <a:schemeClr val="bg1"/>
              </a:solidFill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1079" name="Content Placeholder 2">
            <a:extLst>
              <a:ext uri="{FF2B5EF4-FFF2-40B4-BE49-F238E27FC236}">
                <a16:creationId xmlns:a16="http://schemas.microsoft.com/office/drawing/2014/main" id="{894FD82C-3A63-F9AD-FD14-28389D836D13}"/>
              </a:ext>
            </a:extLst>
          </p:cNvPr>
          <p:cNvSpPr txBox="1">
            <a:spLocks/>
          </p:cNvSpPr>
          <p:nvPr/>
        </p:nvSpPr>
        <p:spPr>
          <a:xfrm>
            <a:off x="3267060" y="1958432"/>
            <a:ext cx="1386314" cy="2854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55375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815" dirty="0">
                <a:solidFill>
                  <a:schemeClr val="bg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Arial" panose="020B0604020202020204" pitchFamily="34" charset="0"/>
              </a:rPr>
              <a:t>Gegevens, diploma, VOG, ID, bankrekening aanleveren</a:t>
            </a:r>
          </a:p>
        </p:txBody>
      </p:sp>
      <p:sp>
        <p:nvSpPr>
          <p:cNvPr id="1081" name="Rectangle 1080">
            <a:extLst>
              <a:ext uri="{FF2B5EF4-FFF2-40B4-BE49-F238E27FC236}">
                <a16:creationId xmlns:a16="http://schemas.microsoft.com/office/drawing/2014/main" id="{53685576-D994-F7DD-5933-B8959141BE13}"/>
              </a:ext>
            </a:extLst>
          </p:cNvPr>
          <p:cNvSpPr/>
          <p:nvPr/>
        </p:nvSpPr>
        <p:spPr>
          <a:xfrm>
            <a:off x="3277989" y="2258985"/>
            <a:ext cx="1386314" cy="285418"/>
          </a:xfrm>
          <a:prstGeom prst="rect">
            <a:avLst/>
          </a:prstGeom>
          <a:solidFill>
            <a:srgbClr val="60B3BB">
              <a:alpha val="85098"/>
            </a:srgb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815" dirty="0">
              <a:solidFill>
                <a:schemeClr val="bg1"/>
              </a:solidFill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1082" name="Content Placeholder 2">
            <a:extLst>
              <a:ext uri="{FF2B5EF4-FFF2-40B4-BE49-F238E27FC236}">
                <a16:creationId xmlns:a16="http://schemas.microsoft.com/office/drawing/2014/main" id="{30EEA770-353B-2750-3B71-1F6800A76975}"/>
              </a:ext>
            </a:extLst>
          </p:cNvPr>
          <p:cNvSpPr txBox="1">
            <a:spLocks/>
          </p:cNvSpPr>
          <p:nvPr/>
        </p:nvSpPr>
        <p:spPr>
          <a:xfrm>
            <a:off x="3267060" y="2267442"/>
            <a:ext cx="1386314" cy="2854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815" dirty="0">
                <a:solidFill>
                  <a:schemeClr val="bg1"/>
                </a:solidFill>
                <a:latin typeface="Roboto Condensed"/>
                <a:cs typeface="Arial" panose="020B0604020202020204" pitchFamily="34" charset="0"/>
              </a:rPr>
              <a:t>Arbeidsovereenkomst met bijlages tekenen</a:t>
            </a:r>
            <a:endParaRPr lang="nl-NL" sz="634" dirty="0">
              <a:solidFill>
                <a:schemeClr val="bg1"/>
              </a:solidFill>
              <a:latin typeface="Roboto Condensed"/>
              <a:cs typeface="Arial" panose="020B0604020202020204" pitchFamily="34" charset="0"/>
            </a:endParaRPr>
          </a:p>
        </p:txBody>
      </p:sp>
      <p:sp>
        <p:nvSpPr>
          <p:cNvPr id="1084" name="Rectangle 1083">
            <a:extLst>
              <a:ext uri="{FF2B5EF4-FFF2-40B4-BE49-F238E27FC236}">
                <a16:creationId xmlns:a16="http://schemas.microsoft.com/office/drawing/2014/main" id="{D271838A-713F-618C-EBA2-356FCBDC00F9}"/>
              </a:ext>
            </a:extLst>
          </p:cNvPr>
          <p:cNvSpPr/>
          <p:nvPr/>
        </p:nvSpPr>
        <p:spPr>
          <a:xfrm>
            <a:off x="3277989" y="2567994"/>
            <a:ext cx="1386314" cy="285418"/>
          </a:xfrm>
          <a:prstGeom prst="rect">
            <a:avLst/>
          </a:prstGeom>
          <a:solidFill>
            <a:srgbClr val="60B3BB">
              <a:alpha val="85098"/>
            </a:srgb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815" dirty="0">
              <a:solidFill>
                <a:schemeClr val="bg1"/>
              </a:solidFill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1085" name="Content Placeholder 2">
            <a:extLst>
              <a:ext uri="{FF2B5EF4-FFF2-40B4-BE49-F238E27FC236}">
                <a16:creationId xmlns:a16="http://schemas.microsoft.com/office/drawing/2014/main" id="{A2EABC3A-E29A-D861-35DC-B83A3C1C1D30}"/>
              </a:ext>
            </a:extLst>
          </p:cNvPr>
          <p:cNvSpPr txBox="1">
            <a:spLocks/>
          </p:cNvSpPr>
          <p:nvPr/>
        </p:nvSpPr>
        <p:spPr>
          <a:xfrm>
            <a:off x="3267060" y="2576451"/>
            <a:ext cx="1386314" cy="2854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55375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815" dirty="0">
                <a:solidFill>
                  <a:schemeClr val="bg1"/>
                </a:solidFill>
                <a:latin typeface="Roboto Condensed"/>
                <a:cs typeface="Arial" panose="020B0604020202020204" pitchFamily="34" charset="0"/>
              </a:rPr>
              <a:t>Welkomstpakket</a:t>
            </a:r>
          </a:p>
        </p:txBody>
      </p:sp>
      <p:sp>
        <p:nvSpPr>
          <p:cNvPr id="1087" name="Rectangle 1086">
            <a:extLst>
              <a:ext uri="{FF2B5EF4-FFF2-40B4-BE49-F238E27FC236}">
                <a16:creationId xmlns:a16="http://schemas.microsoft.com/office/drawing/2014/main" id="{6B62BDBC-A468-C9BB-4757-0A9C1CB859C8}"/>
              </a:ext>
            </a:extLst>
          </p:cNvPr>
          <p:cNvSpPr/>
          <p:nvPr/>
        </p:nvSpPr>
        <p:spPr>
          <a:xfrm>
            <a:off x="3275494" y="2877003"/>
            <a:ext cx="1386314" cy="285418"/>
          </a:xfrm>
          <a:prstGeom prst="rect">
            <a:avLst/>
          </a:prstGeom>
          <a:solidFill>
            <a:srgbClr val="60B3BB">
              <a:alpha val="85098"/>
            </a:srgb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815" dirty="0">
              <a:solidFill>
                <a:schemeClr val="bg1"/>
              </a:solidFill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720" name="Content Placeholder 2">
            <a:extLst>
              <a:ext uri="{FF2B5EF4-FFF2-40B4-BE49-F238E27FC236}">
                <a16:creationId xmlns:a16="http://schemas.microsoft.com/office/drawing/2014/main" id="{3C75A1F5-904A-53A4-80C0-4FB9D616F5A9}"/>
              </a:ext>
            </a:extLst>
          </p:cNvPr>
          <p:cNvSpPr txBox="1">
            <a:spLocks/>
          </p:cNvSpPr>
          <p:nvPr/>
        </p:nvSpPr>
        <p:spPr>
          <a:xfrm>
            <a:off x="3264565" y="2885460"/>
            <a:ext cx="1386314" cy="2854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55375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815" dirty="0">
                <a:solidFill>
                  <a:schemeClr val="bg1"/>
                </a:solidFill>
                <a:latin typeface="Roboto Condensed"/>
                <a:cs typeface="Arial" panose="020B0604020202020204" pitchFamily="34" charset="0"/>
              </a:rPr>
              <a:t>Informatie eerste werkdag</a:t>
            </a:r>
          </a:p>
        </p:txBody>
      </p:sp>
      <p:sp>
        <p:nvSpPr>
          <p:cNvPr id="722" name="Rectangle 721">
            <a:extLst>
              <a:ext uri="{FF2B5EF4-FFF2-40B4-BE49-F238E27FC236}">
                <a16:creationId xmlns:a16="http://schemas.microsoft.com/office/drawing/2014/main" id="{FB1E4767-7B6E-343F-EB52-3A23EC6AEFF6}"/>
              </a:ext>
            </a:extLst>
          </p:cNvPr>
          <p:cNvSpPr/>
          <p:nvPr/>
        </p:nvSpPr>
        <p:spPr>
          <a:xfrm>
            <a:off x="4792199" y="1949975"/>
            <a:ext cx="1386314" cy="285418"/>
          </a:xfrm>
          <a:prstGeom prst="rect">
            <a:avLst/>
          </a:prstGeom>
          <a:solidFill>
            <a:srgbClr val="60B3BB">
              <a:alpha val="69804"/>
            </a:srgb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815" dirty="0"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723" name="Content Placeholder 2">
            <a:extLst>
              <a:ext uri="{FF2B5EF4-FFF2-40B4-BE49-F238E27FC236}">
                <a16:creationId xmlns:a16="http://schemas.microsoft.com/office/drawing/2014/main" id="{26946D4F-01CF-AE03-FDE3-730686FF6711}"/>
              </a:ext>
            </a:extLst>
          </p:cNvPr>
          <p:cNvSpPr txBox="1">
            <a:spLocks/>
          </p:cNvSpPr>
          <p:nvPr/>
        </p:nvSpPr>
        <p:spPr>
          <a:xfrm>
            <a:off x="4781269" y="1965114"/>
            <a:ext cx="1386314" cy="2854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55375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815" dirty="0">
                <a:solidFill>
                  <a:schemeClr val="bg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Arial" panose="020B0604020202020204" pitchFamily="34" charset="0"/>
              </a:rPr>
              <a:t>Eerste werkdag </a:t>
            </a:r>
          </a:p>
          <a:p>
            <a:pPr marL="0" indent="0" algn="ctr" defTabSz="155375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634" dirty="0">
                <a:solidFill>
                  <a:schemeClr val="bg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Arial" panose="020B0604020202020204" pitchFamily="34" charset="0"/>
              </a:rPr>
              <a:t>(rondleiding, kennismaking, ....)</a:t>
            </a:r>
          </a:p>
        </p:txBody>
      </p:sp>
      <p:sp>
        <p:nvSpPr>
          <p:cNvPr id="725" name="Rectangle 724">
            <a:extLst>
              <a:ext uri="{FF2B5EF4-FFF2-40B4-BE49-F238E27FC236}">
                <a16:creationId xmlns:a16="http://schemas.microsoft.com/office/drawing/2014/main" id="{C5FE0B99-44F1-D423-56B4-3890A4116BE1}"/>
              </a:ext>
            </a:extLst>
          </p:cNvPr>
          <p:cNvSpPr/>
          <p:nvPr/>
        </p:nvSpPr>
        <p:spPr>
          <a:xfrm>
            <a:off x="4792199" y="2258985"/>
            <a:ext cx="1386314" cy="285418"/>
          </a:xfrm>
          <a:prstGeom prst="rect">
            <a:avLst/>
          </a:prstGeom>
          <a:solidFill>
            <a:srgbClr val="60B3BB">
              <a:alpha val="69804"/>
            </a:srgb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815" dirty="0"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726" name="Content Placeholder 2">
            <a:extLst>
              <a:ext uri="{FF2B5EF4-FFF2-40B4-BE49-F238E27FC236}">
                <a16:creationId xmlns:a16="http://schemas.microsoft.com/office/drawing/2014/main" id="{29CFB781-5C10-BF6D-D5A1-DB267ECF2BCB}"/>
              </a:ext>
            </a:extLst>
          </p:cNvPr>
          <p:cNvSpPr txBox="1">
            <a:spLocks/>
          </p:cNvSpPr>
          <p:nvPr/>
        </p:nvSpPr>
        <p:spPr>
          <a:xfrm>
            <a:off x="4781269" y="2267442"/>
            <a:ext cx="1386314" cy="2854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815" dirty="0">
                <a:solidFill>
                  <a:schemeClr val="bg1"/>
                </a:solidFill>
                <a:latin typeface="Roboto Condensed"/>
                <a:cs typeface="Arial" panose="020B0604020202020204" pitchFamily="34" charset="0"/>
              </a:rPr>
              <a:t>Ontvangst bedrijfsmiddelen</a:t>
            </a:r>
          </a:p>
          <a:p>
            <a:pPr marL="0" indent="0" algn="ctr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634" dirty="0">
                <a:solidFill>
                  <a:schemeClr val="bg1"/>
                </a:solidFill>
                <a:latin typeface="Roboto Condensed"/>
                <a:cs typeface="Arial" panose="020B0604020202020204" pitchFamily="34" charset="0"/>
              </a:rPr>
              <a:t>(badge, laptop, telefoon, werkkleding, ...)</a:t>
            </a:r>
          </a:p>
        </p:txBody>
      </p:sp>
      <p:sp>
        <p:nvSpPr>
          <p:cNvPr id="728" name="Rectangle 727">
            <a:extLst>
              <a:ext uri="{FF2B5EF4-FFF2-40B4-BE49-F238E27FC236}">
                <a16:creationId xmlns:a16="http://schemas.microsoft.com/office/drawing/2014/main" id="{50277E29-316B-FFD0-A32B-FCBFBD699F11}"/>
              </a:ext>
            </a:extLst>
          </p:cNvPr>
          <p:cNvSpPr/>
          <p:nvPr/>
        </p:nvSpPr>
        <p:spPr>
          <a:xfrm>
            <a:off x="4792199" y="2567994"/>
            <a:ext cx="1386314" cy="285418"/>
          </a:xfrm>
          <a:prstGeom prst="rect">
            <a:avLst/>
          </a:prstGeom>
          <a:solidFill>
            <a:srgbClr val="60B3BB">
              <a:alpha val="69804"/>
            </a:srgb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815" dirty="0"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729" name="Content Placeholder 2">
            <a:extLst>
              <a:ext uri="{FF2B5EF4-FFF2-40B4-BE49-F238E27FC236}">
                <a16:creationId xmlns:a16="http://schemas.microsoft.com/office/drawing/2014/main" id="{471B0D44-6164-C556-0271-04316CBB1DEA}"/>
              </a:ext>
            </a:extLst>
          </p:cNvPr>
          <p:cNvSpPr txBox="1">
            <a:spLocks/>
          </p:cNvSpPr>
          <p:nvPr/>
        </p:nvSpPr>
        <p:spPr>
          <a:xfrm>
            <a:off x="4781269" y="2576451"/>
            <a:ext cx="1386314" cy="2854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55375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815" dirty="0">
                <a:solidFill>
                  <a:schemeClr val="bg1"/>
                </a:solidFill>
                <a:latin typeface="Roboto Condensed"/>
                <a:cs typeface="Arial" panose="020B0604020202020204" pitchFamily="34" charset="0"/>
              </a:rPr>
              <a:t>Toegang (IT) systemen</a:t>
            </a:r>
          </a:p>
        </p:txBody>
      </p:sp>
      <p:sp>
        <p:nvSpPr>
          <p:cNvPr id="754" name="Rectangle 753">
            <a:extLst>
              <a:ext uri="{FF2B5EF4-FFF2-40B4-BE49-F238E27FC236}">
                <a16:creationId xmlns:a16="http://schemas.microsoft.com/office/drawing/2014/main" id="{8A319AF1-96DB-E520-9BD0-BE0A8B68D39A}"/>
              </a:ext>
            </a:extLst>
          </p:cNvPr>
          <p:cNvSpPr/>
          <p:nvPr/>
        </p:nvSpPr>
        <p:spPr>
          <a:xfrm>
            <a:off x="4792199" y="2877003"/>
            <a:ext cx="1386314" cy="285418"/>
          </a:xfrm>
          <a:prstGeom prst="rect">
            <a:avLst/>
          </a:prstGeom>
          <a:solidFill>
            <a:srgbClr val="60B3BB">
              <a:alpha val="69804"/>
            </a:srgb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815" dirty="0">
              <a:solidFill>
                <a:schemeClr val="bg1"/>
              </a:solidFill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755" name="Content Placeholder 2">
            <a:extLst>
              <a:ext uri="{FF2B5EF4-FFF2-40B4-BE49-F238E27FC236}">
                <a16:creationId xmlns:a16="http://schemas.microsoft.com/office/drawing/2014/main" id="{D648479B-8270-1193-6471-6D1D97BE7CA8}"/>
              </a:ext>
            </a:extLst>
          </p:cNvPr>
          <p:cNvSpPr txBox="1">
            <a:spLocks/>
          </p:cNvSpPr>
          <p:nvPr/>
        </p:nvSpPr>
        <p:spPr>
          <a:xfrm>
            <a:off x="4781269" y="2872097"/>
            <a:ext cx="1386314" cy="2854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55375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815" dirty="0" err="1">
                <a:solidFill>
                  <a:schemeClr val="bg1"/>
                </a:solidFill>
                <a:latin typeface="Roboto Condensed"/>
                <a:cs typeface="Arial" panose="020B0604020202020204" pitchFamily="34" charset="0"/>
              </a:rPr>
              <a:t>Onboarding</a:t>
            </a:r>
            <a:r>
              <a:rPr lang="nl-NL" sz="815" dirty="0">
                <a:solidFill>
                  <a:schemeClr val="bg1"/>
                </a:solidFill>
                <a:latin typeface="Roboto Condensed"/>
                <a:cs typeface="Arial" panose="020B0604020202020204" pitchFamily="34" charset="0"/>
              </a:rPr>
              <a:t>/</a:t>
            </a:r>
            <a:br>
              <a:rPr lang="nl-NL" sz="815" dirty="0">
                <a:solidFill>
                  <a:schemeClr val="bg1"/>
                </a:solidFill>
                <a:latin typeface="Roboto Condensed"/>
                <a:cs typeface="Arial" panose="020B0604020202020204" pitchFamily="34" charset="0"/>
              </a:rPr>
            </a:br>
            <a:r>
              <a:rPr lang="nl-NL" sz="815" dirty="0">
                <a:solidFill>
                  <a:schemeClr val="bg1"/>
                </a:solidFill>
                <a:latin typeface="Roboto Condensed"/>
                <a:cs typeface="Arial" panose="020B0604020202020204" pitchFamily="34" charset="0"/>
              </a:rPr>
              <a:t>inwerkprogramma</a:t>
            </a:r>
          </a:p>
        </p:txBody>
      </p:sp>
      <p:sp>
        <p:nvSpPr>
          <p:cNvPr id="757" name="Rectangle 756">
            <a:extLst>
              <a:ext uri="{FF2B5EF4-FFF2-40B4-BE49-F238E27FC236}">
                <a16:creationId xmlns:a16="http://schemas.microsoft.com/office/drawing/2014/main" id="{B07BCBDD-F343-C695-D1D8-D08278B95E98}"/>
              </a:ext>
            </a:extLst>
          </p:cNvPr>
          <p:cNvSpPr/>
          <p:nvPr/>
        </p:nvSpPr>
        <p:spPr>
          <a:xfrm>
            <a:off x="4792199" y="3186012"/>
            <a:ext cx="1386314" cy="285418"/>
          </a:xfrm>
          <a:prstGeom prst="rect">
            <a:avLst/>
          </a:prstGeom>
          <a:solidFill>
            <a:srgbClr val="60B3BB">
              <a:alpha val="69804"/>
            </a:srgb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815" dirty="0"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758" name="Content Placeholder 2">
            <a:extLst>
              <a:ext uri="{FF2B5EF4-FFF2-40B4-BE49-F238E27FC236}">
                <a16:creationId xmlns:a16="http://schemas.microsoft.com/office/drawing/2014/main" id="{92C6C5D2-31F2-F860-4A0B-98082AD5173D}"/>
              </a:ext>
            </a:extLst>
          </p:cNvPr>
          <p:cNvSpPr txBox="1">
            <a:spLocks/>
          </p:cNvSpPr>
          <p:nvPr/>
        </p:nvSpPr>
        <p:spPr>
          <a:xfrm>
            <a:off x="4781269" y="3189563"/>
            <a:ext cx="1386314" cy="2854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55375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815" dirty="0">
                <a:solidFill>
                  <a:schemeClr val="bg1"/>
                </a:solidFill>
                <a:latin typeface="Roboto Condensed"/>
                <a:cs typeface="Arial" panose="020B0604020202020204" pitchFamily="34" charset="0"/>
              </a:rPr>
              <a:t>Mobiliteit </a:t>
            </a:r>
          </a:p>
          <a:p>
            <a:pPr marL="0" indent="0" algn="ctr" defTabSz="155375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634" dirty="0">
                <a:solidFill>
                  <a:schemeClr val="bg1"/>
                </a:solidFill>
                <a:latin typeface="Roboto Condensed"/>
                <a:cs typeface="Arial" panose="020B0604020202020204" pitchFamily="34" charset="0"/>
              </a:rPr>
              <a:t>(auto, leasefiets, OV,...)</a:t>
            </a:r>
          </a:p>
        </p:txBody>
      </p:sp>
      <p:sp>
        <p:nvSpPr>
          <p:cNvPr id="810" name="Rectangle 809">
            <a:extLst>
              <a:ext uri="{FF2B5EF4-FFF2-40B4-BE49-F238E27FC236}">
                <a16:creationId xmlns:a16="http://schemas.microsoft.com/office/drawing/2014/main" id="{92DA8544-F1B9-689A-FD9B-5F2AA9659F67}"/>
              </a:ext>
            </a:extLst>
          </p:cNvPr>
          <p:cNvSpPr/>
          <p:nvPr/>
        </p:nvSpPr>
        <p:spPr>
          <a:xfrm>
            <a:off x="4792199" y="3495022"/>
            <a:ext cx="1386314" cy="285418"/>
          </a:xfrm>
          <a:prstGeom prst="rect">
            <a:avLst/>
          </a:prstGeom>
          <a:solidFill>
            <a:srgbClr val="60B3BB">
              <a:alpha val="69804"/>
            </a:srgb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815" dirty="0"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811" name="Content Placeholder 2">
            <a:extLst>
              <a:ext uri="{FF2B5EF4-FFF2-40B4-BE49-F238E27FC236}">
                <a16:creationId xmlns:a16="http://schemas.microsoft.com/office/drawing/2014/main" id="{7E5711AA-A75C-46B6-DF9C-5F24ED945244}"/>
              </a:ext>
            </a:extLst>
          </p:cNvPr>
          <p:cNvSpPr txBox="1">
            <a:spLocks/>
          </p:cNvSpPr>
          <p:nvPr/>
        </p:nvSpPr>
        <p:spPr>
          <a:xfrm>
            <a:off x="4781269" y="3496555"/>
            <a:ext cx="1386314" cy="2854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55375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815" dirty="0">
                <a:solidFill>
                  <a:schemeClr val="bg1"/>
                </a:solidFill>
                <a:latin typeface="Roboto Condensed"/>
                <a:cs typeface="Arial" panose="020B0604020202020204" pitchFamily="34" charset="0"/>
              </a:rPr>
              <a:t>Thuiswerkplek</a:t>
            </a:r>
          </a:p>
        </p:txBody>
      </p:sp>
      <p:sp>
        <p:nvSpPr>
          <p:cNvPr id="813" name="Rectangle 812">
            <a:extLst>
              <a:ext uri="{FF2B5EF4-FFF2-40B4-BE49-F238E27FC236}">
                <a16:creationId xmlns:a16="http://schemas.microsoft.com/office/drawing/2014/main" id="{DF95DE85-6A1F-2AC4-1CB7-9FB38FE91B54}"/>
              </a:ext>
            </a:extLst>
          </p:cNvPr>
          <p:cNvSpPr/>
          <p:nvPr/>
        </p:nvSpPr>
        <p:spPr>
          <a:xfrm>
            <a:off x="4792199" y="3804031"/>
            <a:ext cx="1386314" cy="285418"/>
          </a:xfrm>
          <a:prstGeom prst="rect">
            <a:avLst/>
          </a:prstGeom>
          <a:solidFill>
            <a:srgbClr val="60B3BB">
              <a:alpha val="69804"/>
            </a:srgb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815" dirty="0"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814" name="Content Placeholder 2">
            <a:extLst>
              <a:ext uri="{FF2B5EF4-FFF2-40B4-BE49-F238E27FC236}">
                <a16:creationId xmlns:a16="http://schemas.microsoft.com/office/drawing/2014/main" id="{A1C598B4-6435-ADFE-9B00-03AA24D0681E}"/>
              </a:ext>
            </a:extLst>
          </p:cNvPr>
          <p:cNvSpPr txBox="1">
            <a:spLocks/>
          </p:cNvSpPr>
          <p:nvPr/>
        </p:nvSpPr>
        <p:spPr>
          <a:xfrm>
            <a:off x="4781269" y="3812488"/>
            <a:ext cx="1386314" cy="2854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55375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815" dirty="0">
                <a:solidFill>
                  <a:schemeClr val="bg1"/>
                </a:solidFill>
                <a:latin typeface="Roboto Condensed"/>
                <a:cs typeface="Arial" panose="020B0604020202020204" pitchFamily="34" charset="0"/>
              </a:rPr>
              <a:t>Verplichte cursussen/certificaten</a:t>
            </a:r>
          </a:p>
        </p:txBody>
      </p:sp>
      <p:sp>
        <p:nvSpPr>
          <p:cNvPr id="857" name="Rectangle 856">
            <a:extLst>
              <a:ext uri="{FF2B5EF4-FFF2-40B4-BE49-F238E27FC236}">
                <a16:creationId xmlns:a16="http://schemas.microsoft.com/office/drawing/2014/main" id="{ABF7463E-44D1-ACF9-0627-CC5DCD9E14D3}"/>
              </a:ext>
            </a:extLst>
          </p:cNvPr>
          <p:cNvSpPr/>
          <p:nvPr/>
        </p:nvSpPr>
        <p:spPr>
          <a:xfrm>
            <a:off x="4792199" y="4113040"/>
            <a:ext cx="1386314" cy="285418"/>
          </a:xfrm>
          <a:prstGeom prst="rect">
            <a:avLst/>
          </a:prstGeom>
          <a:solidFill>
            <a:srgbClr val="60B3BB">
              <a:alpha val="69804"/>
            </a:srgb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815" dirty="0"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858" name="Content Placeholder 2">
            <a:extLst>
              <a:ext uri="{FF2B5EF4-FFF2-40B4-BE49-F238E27FC236}">
                <a16:creationId xmlns:a16="http://schemas.microsoft.com/office/drawing/2014/main" id="{C87852AD-370F-77E1-36A8-653DD9C0331F}"/>
              </a:ext>
            </a:extLst>
          </p:cNvPr>
          <p:cNvSpPr txBox="1">
            <a:spLocks/>
          </p:cNvSpPr>
          <p:nvPr/>
        </p:nvSpPr>
        <p:spPr>
          <a:xfrm>
            <a:off x="4781269" y="4121497"/>
            <a:ext cx="1386314" cy="2854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55375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815" dirty="0">
                <a:solidFill>
                  <a:schemeClr val="bg1"/>
                </a:solidFill>
                <a:latin typeface="Roboto Condensed"/>
                <a:cs typeface="Arial" panose="020B0604020202020204" pitchFamily="34" charset="0"/>
              </a:rPr>
              <a:t>Contactgegevens collega's, </a:t>
            </a:r>
            <a:r>
              <a:rPr lang="nl-NL" sz="634" dirty="0">
                <a:solidFill>
                  <a:schemeClr val="bg1"/>
                </a:solidFill>
                <a:latin typeface="Roboto Condensed"/>
                <a:cs typeface="Arial" panose="020B0604020202020204" pitchFamily="34" charset="0"/>
              </a:rPr>
              <a:t>smoelenboek, organogrammen</a:t>
            </a:r>
          </a:p>
        </p:txBody>
      </p:sp>
      <p:sp>
        <p:nvSpPr>
          <p:cNvPr id="860" name="Rectangle 859">
            <a:extLst>
              <a:ext uri="{FF2B5EF4-FFF2-40B4-BE49-F238E27FC236}">
                <a16:creationId xmlns:a16="http://schemas.microsoft.com/office/drawing/2014/main" id="{3DB8EB25-F196-48F5-BECC-B768150399FE}"/>
              </a:ext>
            </a:extLst>
          </p:cNvPr>
          <p:cNvSpPr/>
          <p:nvPr/>
        </p:nvSpPr>
        <p:spPr>
          <a:xfrm>
            <a:off x="4792198" y="4422049"/>
            <a:ext cx="1386314" cy="285418"/>
          </a:xfrm>
          <a:prstGeom prst="rect">
            <a:avLst/>
          </a:prstGeom>
          <a:solidFill>
            <a:srgbClr val="60B3BB">
              <a:alpha val="69804"/>
            </a:srgb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815" dirty="0"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861" name="Content Placeholder 2">
            <a:extLst>
              <a:ext uri="{FF2B5EF4-FFF2-40B4-BE49-F238E27FC236}">
                <a16:creationId xmlns:a16="http://schemas.microsoft.com/office/drawing/2014/main" id="{4A9C4EB6-3F55-4534-3570-2A2ED40306DE}"/>
              </a:ext>
            </a:extLst>
          </p:cNvPr>
          <p:cNvSpPr txBox="1">
            <a:spLocks/>
          </p:cNvSpPr>
          <p:nvPr/>
        </p:nvSpPr>
        <p:spPr>
          <a:xfrm>
            <a:off x="4781269" y="4417143"/>
            <a:ext cx="1386314" cy="2854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55375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815" dirty="0">
                <a:solidFill>
                  <a:schemeClr val="bg1"/>
                </a:solidFill>
                <a:latin typeface="Roboto Condensed"/>
                <a:cs typeface="Arial" panose="020B0604020202020204" pitchFamily="34" charset="0"/>
              </a:rPr>
              <a:t>Einde proeftijd</a:t>
            </a:r>
            <a:endParaRPr lang="nl-NL" sz="634" dirty="0">
              <a:solidFill>
                <a:schemeClr val="bg1"/>
              </a:solidFill>
              <a:latin typeface="Roboto Condensed"/>
              <a:cs typeface="Arial" panose="020B0604020202020204" pitchFamily="34" charset="0"/>
            </a:endParaRPr>
          </a:p>
        </p:txBody>
      </p:sp>
      <p:sp>
        <p:nvSpPr>
          <p:cNvPr id="863" name="Rectangle 862">
            <a:extLst>
              <a:ext uri="{FF2B5EF4-FFF2-40B4-BE49-F238E27FC236}">
                <a16:creationId xmlns:a16="http://schemas.microsoft.com/office/drawing/2014/main" id="{244058F2-31CE-D223-D3CB-707E384A77F1}"/>
              </a:ext>
            </a:extLst>
          </p:cNvPr>
          <p:cNvSpPr/>
          <p:nvPr/>
        </p:nvSpPr>
        <p:spPr>
          <a:xfrm>
            <a:off x="6335343" y="1949975"/>
            <a:ext cx="1386314" cy="285418"/>
          </a:xfrm>
          <a:prstGeom prst="rect">
            <a:avLst/>
          </a:prstGeom>
          <a:solidFill>
            <a:srgbClr val="60B3BB">
              <a:alpha val="54902"/>
            </a:srgb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815" dirty="0"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864" name="Content Placeholder 2">
            <a:extLst>
              <a:ext uri="{FF2B5EF4-FFF2-40B4-BE49-F238E27FC236}">
                <a16:creationId xmlns:a16="http://schemas.microsoft.com/office/drawing/2014/main" id="{A5B9137A-5BA3-768C-1AC5-3D7E738B86E4}"/>
              </a:ext>
            </a:extLst>
          </p:cNvPr>
          <p:cNvSpPr txBox="1">
            <a:spLocks/>
          </p:cNvSpPr>
          <p:nvPr/>
        </p:nvSpPr>
        <p:spPr>
          <a:xfrm>
            <a:off x="6335343" y="1949975"/>
            <a:ext cx="1386314" cy="2854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55375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815" dirty="0">
                <a:solidFill>
                  <a:schemeClr val="bg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Arial" panose="020B0604020202020204" pitchFamily="34" charset="0"/>
              </a:rPr>
              <a:t>Roosters</a:t>
            </a:r>
            <a:endParaRPr lang="nl-NL" sz="634" dirty="0">
              <a:solidFill>
                <a:schemeClr val="bg1"/>
              </a:solidFill>
              <a:latin typeface="Roboto Condensed" panose="02000000000000000000" pitchFamily="2" charset="0"/>
              <a:ea typeface="Roboto Condensed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866" name="Rectangle 865">
            <a:extLst>
              <a:ext uri="{FF2B5EF4-FFF2-40B4-BE49-F238E27FC236}">
                <a16:creationId xmlns:a16="http://schemas.microsoft.com/office/drawing/2014/main" id="{43764915-E0C0-7361-331D-3E87595A32B5}"/>
              </a:ext>
            </a:extLst>
          </p:cNvPr>
          <p:cNvSpPr/>
          <p:nvPr/>
        </p:nvSpPr>
        <p:spPr>
          <a:xfrm>
            <a:off x="6335343" y="2258985"/>
            <a:ext cx="1386314" cy="285418"/>
          </a:xfrm>
          <a:prstGeom prst="rect">
            <a:avLst/>
          </a:prstGeom>
          <a:solidFill>
            <a:srgbClr val="60B3BB">
              <a:alpha val="54902"/>
            </a:srgb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815" dirty="0"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867" name="Content Placeholder 2">
            <a:extLst>
              <a:ext uri="{FF2B5EF4-FFF2-40B4-BE49-F238E27FC236}">
                <a16:creationId xmlns:a16="http://schemas.microsoft.com/office/drawing/2014/main" id="{C01B360E-0879-E1CC-7C19-D7FF60324A84}"/>
              </a:ext>
            </a:extLst>
          </p:cNvPr>
          <p:cNvSpPr txBox="1">
            <a:spLocks/>
          </p:cNvSpPr>
          <p:nvPr/>
        </p:nvSpPr>
        <p:spPr>
          <a:xfrm>
            <a:off x="6335343" y="2258985"/>
            <a:ext cx="1386314" cy="2854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815" dirty="0">
                <a:solidFill>
                  <a:schemeClr val="bg1"/>
                </a:solidFill>
                <a:latin typeface="Roboto Condensed"/>
                <a:cs typeface="Arial" panose="020B0604020202020204" pitchFamily="34" charset="0"/>
              </a:rPr>
              <a:t>Declaraties</a:t>
            </a:r>
          </a:p>
          <a:p>
            <a:pPr marL="0" indent="0" algn="ctr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634" dirty="0">
                <a:solidFill>
                  <a:schemeClr val="bg1"/>
                </a:solidFill>
                <a:latin typeface="Roboto Condensed"/>
                <a:cs typeface="Arial" panose="020B0604020202020204" pitchFamily="34" charset="0"/>
              </a:rPr>
              <a:t>Uren, kilometers, </a:t>
            </a:r>
            <a:r>
              <a:rPr lang="nl-NL" sz="634" dirty="0" err="1">
                <a:solidFill>
                  <a:schemeClr val="bg1"/>
                </a:solidFill>
                <a:latin typeface="Roboto Condensed"/>
                <a:cs typeface="Arial" panose="020B0604020202020204" pitchFamily="34" charset="0"/>
              </a:rPr>
              <a:t>privé-gebruik</a:t>
            </a:r>
            <a:r>
              <a:rPr lang="nl-NL" sz="634" dirty="0">
                <a:solidFill>
                  <a:schemeClr val="bg1"/>
                </a:solidFill>
                <a:latin typeface="Roboto Condensed"/>
                <a:cs typeface="Arial" panose="020B0604020202020204" pitchFamily="34" charset="0"/>
              </a:rPr>
              <a:t> auto, thuiswerken, ... (registratie)</a:t>
            </a:r>
          </a:p>
        </p:txBody>
      </p:sp>
      <p:sp>
        <p:nvSpPr>
          <p:cNvPr id="869" name="Rectangle 868">
            <a:extLst>
              <a:ext uri="{FF2B5EF4-FFF2-40B4-BE49-F238E27FC236}">
                <a16:creationId xmlns:a16="http://schemas.microsoft.com/office/drawing/2014/main" id="{5041B69B-0701-B44D-5F7C-028F3AB4B756}"/>
              </a:ext>
            </a:extLst>
          </p:cNvPr>
          <p:cNvSpPr/>
          <p:nvPr/>
        </p:nvSpPr>
        <p:spPr>
          <a:xfrm>
            <a:off x="6335343" y="2567994"/>
            <a:ext cx="1386314" cy="285418"/>
          </a:xfrm>
          <a:prstGeom prst="rect">
            <a:avLst/>
          </a:prstGeom>
          <a:solidFill>
            <a:srgbClr val="60B3BB">
              <a:alpha val="54902"/>
            </a:srgb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815" dirty="0"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870" name="Content Placeholder 2">
            <a:extLst>
              <a:ext uri="{FF2B5EF4-FFF2-40B4-BE49-F238E27FC236}">
                <a16:creationId xmlns:a16="http://schemas.microsoft.com/office/drawing/2014/main" id="{CF0C6FC1-B0E7-3E83-429F-F88FF0C90F5B}"/>
              </a:ext>
            </a:extLst>
          </p:cNvPr>
          <p:cNvSpPr txBox="1">
            <a:spLocks/>
          </p:cNvSpPr>
          <p:nvPr/>
        </p:nvSpPr>
        <p:spPr>
          <a:xfrm>
            <a:off x="6335343" y="2567994"/>
            <a:ext cx="1386314" cy="2854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55375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815" dirty="0">
                <a:solidFill>
                  <a:schemeClr val="bg1"/>
                </a:solidFill>
                <a:latin typeface="Roboto Condensed"/>
                <a:cs typeface="Arial" panose="020B0604020202020204" pitchFamily="34" charset="0"/>
              </a:rPr>
              <a:t>Salarisbetaling en jaaropgaven</a:t>
            </a:r>
          </a:p>
        </p:txBody>
      </p:sp>
      <p:sp>
        <p:nvSpPr>
          <p:cNvPr id="872" name="Rectangle 871">
            <a:extLst>
              <a:ext uri="{FF2B5EF4-FFF2-40B4-BE49-F238E27FC236}">
                <a16:creationId xmlns:a16="http://schemas.microsoft.com/office/drawing/2014/main" id="{7AC7C6AF-6800-746C-6F30-FDE63EC13BFC}"/>
              </a:ext>
            </a:extLst>
          </p:cNvPr>
          <p:cNvSpPr/>
          <p:nvPr/>
        </p:nvSpPr>
        <p:spPr>
          <a:xfrm>
            <a:off x="6335343" y="2877003"/>
            <a:ext cx="1386314" cy="285418"/>
          </a:xfrm>
          <a:prstGeom prst="rect">
            <a:avLst/>
          </a:prstGeom>
          <a:solidFill>
            <a:srgbClr val="60B3BB">
              <a:alpha val="54902"/>
            </a:srgb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815" dirty="0"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873" name="Content Placeholder 2">
            <a:extLst>
              <a:ext uri="{FF2B5EF4-FFF2-40B4-BE49-F238E27FC236}">
                <a16:creationId xmlns:a16="http://schemas.microsoft.com/office/drawing/2014/main" id="{6E8A8B80-C30B-0FFF-617C-6E4EE92E0745}"/>
              </a:ext>
            </a:extLst>
          </p:cNvPr>
          <p:cNvSpPr txBox="1">
            <a:spLocks/>
          </p:cNvSpPr>
          <p:nvPr/>
        </p:nvSpPr>
        <p:spPr>
          <a:xfrm>
            <a:off x="6335343" y="2877003"/>
            <a:ext cx="1386314" cy="2854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55375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815" dirty="0">
                <a:solidFill>
                  <a:schemeClr val="bg1"/>
                </a:solidFill>
                <a:latin typeface="Roboto Condensed"/>
                <a:cs typeface="Arial" panose="020B0604020202020204" pitchFamily="34" charset="0"/>
              </a:rPr>
              <a:t>Vakantie</a:t>
            </a:r>
          </a:p>
        </p:txBody>
      </p:sp>
      <p:sp>
        <p:nvSpPr>
          <p:cNvPr id="875" name="Rectangle 874">
            <a:extLst>
              <a:ext uri="{FF2B5EF4-FFF2-40B4-BE49-F238E27FC236}">
                <a16:creationId xmlns:a16="http://schemas.microsoft.com/office/drawing/2014/main" id="{B73BAAC7-356D-2E83-7FAB-9CB2B8B14F4F}"/>
              </a:ext>
            </a:extLst>
          </p:cNvPr>
          <p:cNvSpPr/>
          <p:nvPr/>
        </p:nvSpPr>
        <p:spPr>
          <a:xfrm>
            <a:off x="6335343" y="3186012"/>
            <a:ext cx="1386314" cy="285418"/>
          </a:xfrm>
          <a:prstGeom prst="rect">
            <a:avLst/>
          </a:prstGeom>
          <a:solidFill>
            <a:srgbClr val="60B3BB">
              <a:alpha val="54902"/>
            </a:srgb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815" dirty="0"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876" name="Content Placeholder 2">
            <a:extLst>
              <a:ext uri="{FF2B5EF4-FFF2-40B4-BE49-F238E27FC236}">
                <a16:creationId xmlns:a16="http://schemas.microsoft.com/office/drawing/2014/main" id="{7CCCA4EC-E17A-3197-0EBA-F469C0202DD9}"/>
              </a:ext>
            </a:extLst>
          </p:cNvPr>
          <p:cNvSpPr txBox="1">
            <a:spLocks/>
          </p:cNvSpPr>
          <p:nvPr/>
        </p:nvSpPr>
        <p:spPr>
          <a:xfrm>
            <a:off x="6335343" y="3186012"/>
            <a:ext cx="1386314" cy="2854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55375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815" dirty="0">
                <a:solidFill>
                  <a:schemeClr val="bg1"/>
                </a:solidFill>
                <a:latin typeface="Roboto Condensed"/>
                <a:cs typeface="Arial" panose="020B0604020202020204" pitchFamily="34" charset="0"/>
              </a:rPr>
              <a:t>Overig verlof</a:t>
            </a:r>
          </a:p>
          <a:p>
            <a:pPr marL="0" indent="0" algn="ctr" defTabSz="155375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634" dirty="0">
                <a:solidFill>
                  <a:schemeClr val="bg1"/>
                </a:solidFill>
                <a:latin typeface="Roboto Condensed"/>
                <a:cs typeface="Arial" panose="020B0604020202020204" pitchFamily="34" charset="0"/>
              </a:rPr>
              <a:t> (bijzonder, geboorte, ouderschap, zorg, ...)</a:t>
            </a:r>
          </a:p>
        </p:txBody>
      </p:sp>
      <p:sp>
        <p:nvSpPr>
          <p:cNvPr id="878" name="Rectangle 877">
            <a:extLst>
              <a:ext uri="{FF2B5EF4-FFF2-40B4-BE49-F238E27FC236}">
                <a16:creationId xmlns:a16="http://schemas.microsoft.com/office/drawing/2014/main" id="{FCF4DEAD-858C-1980-EBAA-A16B1ED93CC6}"/>
              </a:ext>
            </a:extLst>
          </p:cNvPr>
          <p:cNvSpPr/>
          <p:nvPr/>
        </p:nvSpPr>
        <p:spPr>
          <a:xfrm>
            <a:off x="6335343" y="3495022"/>
            <a:ext cx="1386314" cy="285418"/>
          </a:xfrm>
          <a:prstGeom prst="rect">
            <a:avLst/>
          </a:prstGeom>
          <a:solidFill>
            <a:srgbClr val="60B3BB">
              <a:alpha val="54902"/>
            </a:srgb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815" dirty="0"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879" name="Content Placeholder 2">
            <a:extLst>
              <a:ext uri="{FF2B5EF4-FFF2-40B4-BE49-F238E27FC236}">
                <a16:creationId xmlns:a16="http://schemas.microsoft.com/office/drawing/2014/main" id="{2F5BE669-BF63-DF6C-8EE1-607584CAF293}"/>
              </a:ext>
            </a:extLst>
          </p:cNvPr>
          <p:cNvSpPr txBox="1">
            <a:spLocks/>
          </p:cNvSpPr>
          <p:nvPr/>
        </p:nvSpPr>
        <p:spPr>
          <a:xfrm>
            <a:off x="6335343" y="3495022"/>
            <a:ext cx="1386314" cy="2854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55375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815" dirty="0">
                <a:solidFill>
                  <a:schemeClr val="bg1"/>
                </a:solidFill>
                <a:latin typeface="Roboto Condensed"/>
                <a:cs typeface="Arial" panose="020B0604020202020204" pitchFamily="34" charset="0"/>
              </a:rPr>
              <a:t>Vitaliteit en duurzame </a:t>
            </a:r>
          </a:p>
          <a:p>
            <a:pPr marL="0" indent="0" algn="ctr" defTabSz="155375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815" dirty="0">
                <a:solidFill>
                  <a:schemeClr val="bg1"/>
                </a:solidFill>
                <a:latin typeface="Roboto Condensed"/>
                <a:cs typeface="Arial" panose="020B0604020202020204" pitchFamily="34" charset="0"/>
              </a:rPr>
              <a:t>inzetbaarheid</a:t>
            </a:r>
          </a:p>
        </p:txBody>
      </p:sp>
      <p:sp>
        <p:nvSpPr>
          <p:cNvPr id="881" name="Rectangle 880">
            <a:extLst>
              <a:ext uri="{FF2B5EF4-FFF2-40B4-BE49-F238E27FC236}">
                <a16:creationId xmlns:a16="http://schemas.microsoft.com/office/drawing/2014/main" id="{185579C4-5564-04B7-2C75-F710811840D9}"/>
              </a:ext>
            </a:extLst>
          </p:cNvPr>
          <p:cNvSpPr/>
          <p:nvPr/>
        </p:nvSpPr>
        <p:spPr>
          <a:xfrm>
            <a:off x="6335343" y="3804031"/>
            <a:ext cx="1386314" cy="285418"/>
          </a:xfrm>
          <a:prstGeom prst="rect">
            <a:avLst/>
          </a:prstGeom>
          <a:solidFill>
            <a:srgbClr val="60B3BB">
              <a:alpha val="54902"/>
            </a:srgb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815" dirty="0"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882" name="Content Placeholder 2">
            <a:extLst>
              <a:ext uri="{FF2B5EF4-FFF2-40B4-BE49-F238E27FC236}">
                <a16:creationId xmlns:a16="http://schemas.microsoft.com/office/drawing/2014/main" id="{6AC3A852-F0FD-CB1A-8F21-D9EDB43DF43E}"/>
              </a:ext>
            </a:extLst>
          </p:cNvPr>
          <p:cNvSpPr txBox="1">
            <a:spLocks/>
          </p:cNvSpPr>
          <p:nvPr/>
        </p:nvSpPr>
        <p:spPr>
          <a:xfrm>
            <a:off x="6335343" y="3804031"/>
            <a:ext cx="1386314" cy="2854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55375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815" dirty="0">
                <a:solidFill>
                  <a:schemeClr val="bg1"/>
                </a:solidFill>
                <a:latin typeface="Roboto Condensed"/>
                <a:cs typeface="Arial" panose="020B0604020202020204" pitchFamily="34" charset="0"/>
              </a:rPr>
              <a:t>Verzuim</a:t>
            </a:r>
          </a:p>
        </p:txBody>
      </p:sp>
      <p:sp>
        <p:nvSpPr>
          <p:cNvPr id="884" name="Rectangle 883">
            <a:extLst>
              <a:ext uri="{FF2B5EF4-FFF2-40B4-BE49-F238E27FC236}">
                <a16:creationId xmlns:a16="http://schemas.microsoft.com/office/drawing/2014/main" id="{65987636-9CEB-42DD-1B9C-763A3E5B82AF}"/>
              </a:ext>
            </a:extLst>
          </p:cNvPr>
          <p:cNvSpPr/>
          <p:nvPr/>
        </p:nvSpPr>
        <p:spPr>
          <a:xfrm>
            <a:off x="6335343" y="4113040"/>
            <a:ext cx="1386314" cy="285418"/>
          </a:xfrm>
          <a:prstGeom prst="rect">
            <a:avLst/>
          </a:prstGeom>
          <a:solidFill>
            <a:srgbClr val="60B3BB">
              <a:alpha val="54902"/>
            </a:srgb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815" dirty="0"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885" name="Content Placeholder 2">
            <a:extLst>
              <a:ext uri="{FF2B5EF4-FFF2-40B4-BE49-F238E27FC236}">
                <a16:creationId xmlns:a16="http://schemas.microsoft.com/office/drawing/2014/main" id="{86696B30-AF87-BCCB-4336-E4E96AD8BF4E}"/>
              </a:ext>
            </a:extLst>
          </p:cNvPr>
          <p:cNvSpPr txBox="1">
            <a:spLocks/>
          </p:cNvSpPr>
          <p:nvPr/>
        </p:nvSpPr>
        <p:spPr>
          <a:xfrm>
            <a:off x="6335343" y="4113040"/>
            <a:ext cx="1386314" cy="2854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55375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815" dirty="0">
                <a:solidFill>
                  <a:schemeClr val="bg1"/>
                </a:solidFill>
                <a:latin typeface="Roboto Condensed"/>
                <a:cs typeface="Arial" panose="020B0604020202020204" pitchFamily="34" charset="0"/>
              </a:rPr>
              <a:t>Aanpassingen in arbeidsovereenkomst</a:t>
            </a:r>
            <a:endParaRPr lang="nl-NL" sz="634" dirty="0">
              <a:solidFill>
                <a:schemeClr val="bg1"/>
              </a:solidFill>
              <a:latin typeface="Roboto Condensed"/>
              <a:cs typeface="Arial" panose="020B0604020202020204" pitchFamily="34" charset="0"/>
            </a:endParaRPr>
          </a:p>
        </p:txBody>
      </p:sp>
      <p:sp>
        <p:nvSpPr>
          <p:cNvPr id="887" name="Rectangle 886">
            <a:extLst>
              <a:ext uri="{FF2B5EF4-FFF2-40B4-BE49-F238E27FC236}">
                <a16:creationId xmlns:a16="http://schemas.microsoft.com/office/drawing/2014/main" id="{590B0AD3-690F-4AA0-E7F6-E6043CDBDB9C}"/>
              </a:ext>
            </a:extLst>
          </p:cNvPr>
          <p:cNvSpPr/>
          <p:nvPr/>
        </p:nvSpPr>
        <p:spPr>
          <a:xfrm>
            <a:off x="6335343" y="4422049"/>
            <a:ext cx="1386314" cy="285418"/>
          </a:xfrm>
          <a:prstGeom prst="rect">
            <a:avLst/>
          </a:prstGeom>
          <a:solidFill>
            <a:srgbClr val="60B3BB">
              <a:alpha val="54902"/>
            </a:srgb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815" dirty="0"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888" name="Content Placeholder 2">
            <a:extLst>
              <a:ext uri="{FF2B5EF4-FFF2-40B4-BE49-F238E27FC236}">
                <a16:creationId xmlns:a16="http://schemas.microsoft.com/office/drawing/2014/main" id="{AE064FB4-D42F-250C-AF37-14E4C6916680}"/>
              </a:ext>
            </a:extLst>
          </p:cNvPr>
          <p:cNvSpPr txBox="1">
            <a:spLocks/>
          </p:cNvSpPr>
          <p:nvPr/>
        </p:nvSpPr>
        <p:spPr>
          <a:xfrm>
            <a:off x="6335343" y="4422049"/>
            <a:ext cx="1386314" cy="2854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55375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815" dirty="0">
                <a:solidFill>
                  <a:schemeClr val="bg1"/>
                </a:solidFill>
                <a:latin typeface="Roboto Condensed"/>
                <a:cs typeface="Arial" panose="020B0604020202020204" pitchFamily="34" charset="0"/>
              </a:rPr>
              <a:t>Attenties</a:t>
            </a:r>
          </a:p>
        </p:txBody>
      </p:sp>
      <p:sp>
        <p:nvSpPr>
          <p:cNvPr id="890" name="Rectangle 889">
            <a:extLst>
              <a:ext uri="{FF2B5EF4-FFF2-40B4-BE49-F238E27FC236}">
                <a16:creationId xmlns:a16="http://schemas.microsoft.com/office/drawing/2014/main" id="{8F5A5790-79FF-31A7-6A29-D95BDF4D291F}"/>
              </a:ext>
            </a:extLst>
          </p:cNvPr>
          <p:cNvSpPr/>
          <p:nvPr/>
        </p:nvSpPr>
        <p:spPr>
          <a:xfrm>
            <a:off x="6335343" y="4731058"/>
            <a:ext cx="1386314" cy="285418"/>
          </a:xfrm>
          <a:prstGeom prst="rect">
            <a:avLst/>
          </a:prstGeom>
          <a:solidFill>
            <a:srgbClr val="60B3BB">
              <a:alpha val="54902"/>
            </a:srgb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815" dirty="0"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891" name="Content Placeholder 2">
            <a:extLst>
              <a:ext uri="{FF2B5EF4-FFF2-40B4-BE49-F238E27FC236}">
                <a16:creationId xmlns:a16="http://schemas.microsoft.com/office/drawing/2014/main" id="{54934034-6558-FF89-701D-E8747C84FA7A}"/>
              </a:ext>
            </a:extLst>
          </p:cNvPr>
          <p:cNvSpPr txBox="1">
            <a:spLocks/>
          </p:cNvSpPr>
          <p:nvPr/>
        </p:nvSpPr>
        <p:spPr>
          <a:xfrm>
            <a:off x="6335343" y="4731058"/>
            <a:ext cx="1386314" cy="2854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55375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815" dirty="0">
                <a:solidFill>
                  <a:schemeClr val="bg1"/>
                </a:solidFill>
                <a:latin typeface="Roboto Condensed"/>
                <a:cs typeface="Arial" panose="020B0604020202020204" pitchFamily="34" charset="0"/>
              </a:rPr>
              <a:t>Contact met HR &amp; </a:t>
            </a:r>
            <a:br>
              <a:rPr lang="nl-NL" sz="815" dirty="0">
                <a:solidFill>
                  <a:schemeClr val="bg1"/>
                </a:solidFill>
                <a:latin typeface="Roboto Condensed"/>
                <a:cs typeface="Arial" panose="020B0604020202020204" pitchFamily="34" charset="0"/>
              </a:rPr>
            </a:br>
            <a:r>
              <a:rPr lang="nl-NL" sz="815" dirty="0">
                <a:solidFill>
                  <a:schemeClr val="bg1"/>
                </a:solidFill>
                <a:latin typeface="Roboto Condensed"/>
                <a:cs typeface="Arial" panose="020B0604020202020204" pitchFamily="34" charset="0"/>
              </a:rPr>
              <a:t>berichten vanuit HR</a:t>
            </a:r>
          </a:p>
        </p:txBody>
      </p:sp>
      <p:sp>
        <p:nvSpPr>
          <p:cNvPr id="893" name="Rectangle 892">
            <a:extLst>
              <a:ext uri="{FF2B5EF4-FFF2-40B4-BE49-F238E27FC236}">
                <a16:creationId xmlns:a16="http://schemas.microsoft.com/office/drawing/2014/main" id="{DA3FA31C-9CD0-D689-D738-823ED7841B87}"/>
              </a:ext>
            </a:extLst>
          </p:cNvPr>
          <p:cNvSpPr/>
          <p:nvPr/>
        </p:nvSpPr>
        <p:spPr>
          <a:xfrm>
            <a:off x="7821061" y="2260760"/>
            <a:ext cx="1386314" cy="285418"/>
          </a:xfrm>
          <a:prstGeom prst="rect">
            <a:avLst/>
          </a:prstGeom>
          <a:solidFill>
            <a:srgbClr val="60B3BB">
              <a:alpha val="40000"/>
            </a:srgb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815" dirty="0"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894" name="Content Placeholder 2">
            <a:extLst>
              <a:ext uri="{FF2B5EF4-FFF2-40B4-BE49-F238E27FC236}">
                <a16:creationId xmlns:a16="http://schemas.microsoft.com/office/drawing/2014/main" id="{A0F1E281-C65A-3F2A-E25D-542147B50BC2}"/>
              </a:ext>
            </a:extLst>
          </p:cNvPr>
          <p:cNvSpPr txBox="1">
            <a:spLocks/>
          </p:cNvSpPr>
          <p:nvPr/>
        </p:nvSpPr>
        <p:spPr>
          <a:xfrm>
            <a:off x="7821061" y="2260760"/>
            <a:ext cx="1386314" cy="2854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55375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815" dirty="0">
                <a:solidFill>
                  <a:srgbClr val="8098AA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Arial" panose="020B0604020202020204" pitchFamily="34" charset="0"/>
              </a:rPr>
              <a:t>Opleiding &amp; training</a:t>
            </a:r>
          </a:p>
          <a:p>
            <a:pPr marL="0" indent="0" algn="ctr" defTabSz="155375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634" dirty="0">
                <a:solidFill>
                  <a:srgbClr val="8098AA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Arial" panose="020B0604020202020204" pitchFamily="34" charset="0"/>
              </a:rPr>
              <a:t>incl. vernieuwen verplichte cursussen/certificaten</a:t>
            </a:r>
          </a:p>
        </p:txBody>
      </p:sp>
      <p:sp>
        <p:nvSpPr>
          <p:cNvPr id="1088" name="Rectangle 1087">
            <a:extLst>
              <a:ext uri="{FF2B5EF4-FFF2-40B4-BE49-F238E27FC236}">
                <a16:creationId xmlns:a16="http://schemas.microsoft.com/office/drawing/2014/main" id="{545C316A-F3FB-ADE8-DE45-660749F5DD56}"/>
              </a:ext>
            </a:extLst>
          </p:cNvPr>
          <p:cNvSpPr/>
          <p:nvPr/>
        </p:nvSpPr>
        <p:spPr>
          <a:xfrm>
            <a:off x="7821061" y="2569769"/>
            <a:ext cx="1386314" cy="285418"/>
          </a:xfrm>
          <a:prstGeom prst="rect">
            <a:avLst/>
          </a:prstGeom>
          <a:solidFill>
            <a:srgbClr val="60B3BB">
              <a:alpha val="40000"/>
            </a:srgb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815" dirty="0"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1089" name="Content Placeholder 2">
            <a:extLst>
              <a:ext uri="{FF2B5EF4-FFF2-40B4-BE49-F238E27FC236}">
                <a16:creationId xmlns:a16="http://schemas.microsoft.com/office/drawing/2014/main" id="{223C4A50-295F-0887-CBC3-4E7EB8F82AC6}"/>
              </a:ext>
            </a:extLst>
          </p:cNvPr>
          <p:cNvSpPr txBox="1">
            <a:spLocks/>
          </p:cNvSpPr>
          <p:nvPr/>
        </p:nvSpPr>
        <p:spPr>
          <a:xfrm>
            <a:off x="7821061" y="2569769"/>
            <a:ext cx="1386314" cy="2854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815" dirty="0">
                <a:solidFill>
                  <a:srgbClr val="8098AA"/>
                </a:solidFill>
                <a:latin typeface="Roboto Condensed"/>
                <a:cs typeface="Arial" panose="020B0604020202020204" pitchFamily="34" charset="0"/>
              </a:rPr>
              <a:t>Ontwikkeldoelen (competenties)</a:t>
            </a:r>
            <a:endParaRPr lang="nl-NL" sz="634" dirty="0">
              <a:solidFill>
                <a:srgbClr val="8098AA"/>
              </a:solidFill>
              <a:latin typeface="Roboto Condensed"/>
              <a:cs typeface="Arial" panose="020B0604020202020204" pitchFamily="34" charset="0"/>
            </a:endParaRPr>
          </a:p>
        </p:txBody>
      </p:sp>
      <p:sp>
        <p:nvSpPr>
          <p:cNvPr id="1091" name="Rectangle 1090">
            <a:extLst>
              <a:ext uri="{FF2B5EF4-FFF2-40B4-BE49-F238E27FC236}">
                <a16:creationId xmlns:a16="http://schemas.microsoft.com/office/drawing/2014/main" id="{3170C798-EE88-FEEF-877E-7D867343DCB4}"/>
              </a:ext>
            </a:extLst>
          </p:cNvPr>
          <p:cNvSpPr/>
          <p:nvPr/>
        </p:nvSpPr>
        <p:spPr>
          <a:xfrm>
            <a:off x="7821061" y="2878778"/>
            <a:ext cx="1386314" cy="285418"/>
          </a:xfrm>
          <a:prstGeom prst="rect">
            <a:avLst/>
          </a:prstGeom>
          <a:solidFill>
            <a:srgbClr val="60B3BB">
              <a:alpha val="40000"/>
            </a:srgb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815" dirty="0"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1092" name="Content Placeholder 2">
            <a:extLst>
              <a:ext uri="{FF2B5EF4-FFF2-40B4-BE49-F238E27FC236}">
                <a16:creationId xmlns:a16="http://schemas.microsoft.com/office/drawing/2014/main" id="{FF551EEC-D09C-FB5C-13E2-EC4CFFF11F1D}"/>
              </a:ext>
            </a:extLst>
          </p:cNvPr>
          <p:cNvSpPr txBox="1">
            <a:spLocks/>
          </p:cNvSpPr>
          <p:nvPr/>
        </p:nvSpPr>
        <p:spPr>
          <a:xfrm>
            <a:off x="7821061" y="2878778"/>
            <a:ext cx="1386314" cy="2854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55375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815" dirty="0">
                <a:solidFill>
                  <a:srgbClr val="8098AA"/>
                </a:solidFill>
                <a:latin typeface="Roboto Condensed"/>
                <a:cs typeface="Arial" panose="020B0604020202020204" pitchFamily="34" charset="0"/>
              </a:rPr>
              <a:t>Evaluatie &amp; beoordeling</a:t>
            </a:r>
          </a:p>
        </p:txBody>
      </p:sp>
      <p:sp>
        <p:nvSpPr>
          <p:cNvPr id="1094" name="Rectangle 1093">
            <a:extLst>
              <a:ext uri="{FF2B5EF4-FFF2-40B4-BE49-F238E27FC236}">
                <a16:creationId xmlns:a16="http://schemas.microsoft.com/office/drawing/2014/main" id="{9AA1C67C-D884-DB7B-99C6-360BB534758D}"/>
              </a:ext>
            </a:extLst>
          </p:cNvPr>
          <p:cNvSpPr/>
          <p:nvPr/>
        </p:nvSpPr>
        <p:spPr>
          <a:xfrm>
            <a:off x="7821061" y="3187788"/>
            <a:ext cx="1386314" cy="285418"/>
          </a:xfrm>
          <a:prstGeom prst="rect">
            <a:avLst/>
          </a:prstGeom>
          <a:solidFill>
            <a:srgbClr val="60B3BB">
              <a:alpha val="40000"/>
            </a:srgb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815" dirty="0"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1095" name="Content Placeholder 2">
            <a:extLst>
              <a:ext uri="{FF2B5EF4-FFF2-40B4-BE49-F238E27FC236}">
                <a16:creationId xmlns:a16="http://schemas.microsoft.com/office/drawing/2014/main" id="{BDA79852-91FE-2D23-9FB9-BF5E9788AFC1}"/>
              </a:ext>
            </a:extLst>
          </p:cNvPr>
          <p:cNvSpPr txBox="1">
            <a:spLocks/>
          </p:cNvSpPr>
          <p:nvPr/>
        </p:nvSpPr>
        <p:spPr>
          <a:xfrm>
            <a:off x="7821061" y="3187788"/>
            <a:ext cx="1386314" cy="2854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55375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815" dirty="0">
                <a:solidFill>
                  <a:srgbClr val="8098AA"/>
                </a:solidFill>
                <a:latin typeface="Roboto Condensed"/>
                <a:cs typeface="Arial" panose="020B0604020202020204" pitchFamily="34" charset="0"/>
              </a:rPr>
              <a:t>Loonsverhoging en bonus</a:t>
            </a:r>
          </a:p>
        </p:txBody>
      </p:sp>
      <p:sp>
        <p:nvSpPr>
          <p:cNvPr id="1097" name="Rectangle 1096">
            <a:extLst>
              <a:ext uri="{FF2B5EF4-FFF2-40B4-BE49-F238E27FC236}">
                <a16:creationId xmlns:a16="http://schemas.microsoft.com/office/drawing/2014/main" id="{7A3EAF44-A255-8A97-5E06-B6709CAACC13}"/>
              </a:ext>
            </a:extLst>
          </p:cNvPr>
          <p:cNvSpPr/>
          <p:nvPr/>
        </p:nvSpPr>
        <p:spPr>
          <a:xfrm>
            <a:off x="7821061" y="3496797"/>
            <a:ext cx="1386314" cy="285418"/>
          </a:xfrm>
          <a:prstGeom prst="rect">
            <a:avLst/>
          </a:prstGeom>
          <a:solidFill>
            <a:srgbClr val="60B3BB">
              <a:alpha val="40000"/>
            </a:srgb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815" dirty="0"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1098" name="Content Placeholder 2">
            <a:extLst>
              <a:ext uri="{FF2B5EF4-FFF2-40B4-BE49-F238E27FC236}">
                <a16:creationId xmlns:a16="http://schemas.microsoft.com/office/drawing/2014/main" id="{96D20F84-ECF1-63FC-A8A7-C6A66601903F}"/>
              </a:ext>
            </a:extLst>
          </p:cNvPr>
          <p:cNvSpPr txBox="1">
            <a:spLocks/>
          </p:cNvSpPr>
          <p:nvPr/>
        </p:nvSpPr>
        <p:spPr>
          <a:xfrm>
            <a:off x="7821061" y="3496797"/>
            <a:ext cx="1386314" cy="2854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55375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815" dirty="0">
                <a:solidFill>
                  <a:srgbClr val="8098AA"/>
                </a:solidFill>
                <a:latin typeface="Roboto Condensed"/>
                <a:cs typeface="Arial" panose="020B0604020202020204" pitchFamily="34" charset="0"/>
              </a:rPr>
              <a:t>Functiewijziging en promotie</a:t>
            </a:r>
            <a:endParaRPr lang="nl-NL" sz="634" dirty="0">
              <a:solidFill>
                <a:srgbClr val="8098AA"/>
              </a:solidFill>
              <a:latin typeface="Roboto Condensed"/>
              <a:cs typeface="Arial" panose="020B0604020202020204" pitchFamily="34" charset="0"/>
            </a:endParaRPr>
          </a:p>
        </p:txBody>
      </p:sp>
      <p:sp>
        <p:nvSpPr>
          <p:cNvPr id="1103" name="Rectangle 1102">
            <a:extLst>
              <a:ext uri="{FF2B5EF4-FFF2-40B4-BE49-F238E27FC236}">
                <a16:creationId xmlns:a16="http://schemas.microsoft.com/office/drawing/2014/main" id="{C4DFD9C7-6FD4-2BF2-7392-C268A2594336}"/>
              </a:ext>
            </a:extLst>
          </p:cNvPr>
          <p:cNvSpPr/>
          <p:nvPr/>
        </p:nvSpPr>
        <p:spPr>
          <a:xfrm>
            <a:off x="9323115" y="2877003"/>
            <a:ext cx="1386314" cy="285418"/>
          </a:xfrm>
          <a:prstGeom prst="rect">
            <a:avLst/>
          </a:prstGeom>
          <a:solidFill>
            <a:srgbClr val="60B3BB">
              <a:alpha val="25098"/>
            </a:srgb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815" dirty="0"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1104" name="Content Placeholder 2">
            <a:extLst>
              <a:ext uri="{FF2B5EF4-FFF2-40B4-BE49-F238E27FC236}">
                <a16:creationId xmlns:a16="http://schemas.microsoft.com/office/drawing/2014/main" id="{E52E9E76-CB7F-66CA-3085-6943B72B3EE3}"/>
              </a:ext>
            </a:extLst>
          </p:cNvPr>
          <p:cNvSpPr txBox="1">
            <a:spLocks/>
          </p:cNvSpPr>
          <p:nvPr/>
        </p:nvSpPr>
        <p:spPr>
          <a:xfrm>
            <a:off x="9323115" y="2877003"/>
            <a:ext cx="1386314" cy="2854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815" dirty="0">
                <a:solidFill>
                  <a:srgbClr val="8098AA"/>
                </a:solidFill>
                <a:latin typeface="Roboto Condensed"/>
                <a:cs typeface="Arial" panose="020B0604020202020204" pitchFamily="34" charset="0"/>
              </a:rPr>
              <a:t>Bedrijfsmiddelen inleveren</a:t>
            </a:r>
            <a:endParaRPr lang="nl-NL" sz="634" dirty="0">
              <a:solidFill>
                <a:srgbClr val="8098AA"/>
              </a:solidFill>
              <a:latin typeface="Roboto Condensed"/>
              <a:cs typeface="Arial" panose="020B0604020202020204" pitchFamily="34" charset="0"/>
            </a:endParaRPr>
          </a:p>
        </p:txBody>
      </p:sp>
      <p:sp>
        <p:nvSpPr>
          <p:cNvPr id="1106" name="Rectangle 1105">
            <a:extLst>
              <a:ext uri="{FF2B5EF4-FFF2-40B4-BE49-F238E27FC236}">
                <a16:creationId xmlns:a16="http://schemas.microsoft.com/office/drawing/2014/main" id="{D91AE434-1278-73F9-BB95-E3B59E90E39D}"/>
              </a:ext>
            </a:extLst>
          </p:cNvPr>
          <p:cNvSpPr/>
          <p:nvPr/>
        </p:nvSpPr>
        <p:spPr>
          <a:xfrm>
            <a:off x="9323115" y="3186012"/>
            <a:ext cx="1386314" cy="285418"/>
          </a:xfrm>
          <a:prstGeom prst="rect">
            <a:avLst/>
          </a:prstGeom>
          <a:solidFill>
            <a:srgbClr val="60B3BB">
              <a:alpha val="25098"/>
            </a:srgb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815" dirty="0"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1107" name="Content Placeholder 2">
            <a:extLst>
              <a:ext uri="{FF2B5EF4-FFF2-40B4-BE49-F238E27FC236}">
                <a16:creationId xmlns:a16="http://schemas.microsoft.com/office/drawing/2014/main" id="{EEB658BE-6AE0-7B96-C001-6AE128C77027}"/>
              </a:ext>
            </a:extLst>
          </p:cNvPr>
          <p:cNvSpPr txBox="1">
            <a:spLocks/>
          </p:cNvSpPr>
          <p:nvPr/>
        </p:nvSpPr>
        <p:spPr>
          <a:xfrm>
            <a:off x="9323115" y="3186012"/>
            <a:ext cx="1386314" cy="2854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55375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815" dirty="0">
                <a:solidFill>
                  <a:srgbClr val="8098AA"/>
                </a:solidFill>
                <a:latin typeface="Roboto Condensed"/>
                <a:cs typeface="Arial" panose="020B0604020202020204" pitchFamily="34" charset="0"/>
              </a:rPr>
              <a:t>Afscheid</a:t>
            </a:r>
          </a:p>
        </p:txBody>
      </p:sp>
      <p:sp>
        <p:nvSpPr>
          <p:cNvPr id="1109" name="Rectangle 1108">
            <a:extLst>
              <a:ext uri="{FF2B5EF4-FFF2-40B4-BE49-F238E27FC236}">
                <a16:creationId xmlns:a16="http://schemas.microsoft.com/office/drawing/2014/main" id="{D71CE6CE-D1AB-67DF-9364-3C02C4954D57}"/>
              </a:ext>
            </a:extLst>
          </p:cNvPr>
          <p:cNvSpPr/>
          <p:nvPr/>
        </p:nvSpPr>
        <p:spPr>
          <a:xfrm>
            <a:off x="9323115" y="3495022"/>
            <a:ext cx="1386314" cy="285418"/>
          </a:xfrm>
          <a:prstGeom prst="rect">
            <a:avLst/>
          </a:prstGeom>
          <a:solidFill>
            <a:srgbClr val="60B3BB">
              <a:alpha val="25098"/>
            </a:srgb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815" dirty="0"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1110" name="Content Placeholder 2">
            <a:extLst>
              <a:ext uri="{FF2B5EF4-FFF2-40B4-BE49-F238E27FC236}">
                <a16:creationId xmlns:a16="http://schemas.microsoft.com/office/drawing/2014/main" id="{6F624444-82D8-EC05-206B-AA60CC983DDC}"/>
              </a:ext>
            </a:extLst>
          </p:cNvPr>
          <p:cNvSpPr txBox="1">
            <a:spLocks/>
          </p:cNvSpPr>
          <p:nvPr/>
        </p:nvSpPr>
        <p:spPr>
          <a:xfrm>
            <a:off x="9323115" y="3495022"/>
            <a:ext cx="1386314" cy="2854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55375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815" dirty="0">
                <a:solidFill>
                  <a:srgbClr val="8098AA"/>
                </a:solidFill>
                <a:latin typeface="Roboto Condensed"/>
                <a:cs typeface="Arial" panose="020B0604020202020204" pitchFamily="34" charset="0"/>
              </a:rPr>
              <a:t>Exit gesprek</a:t>
            </a:r>
          </a:p>
        </p:txBody>
      </p:sp>
      <p:sp>
        <p:nvSpPr>
          <p:cNvPr id="1112" name="Rectangle 1111">
            <a:extLst>
              <a:ext uri="{FF2B5EF4-FFF2-40B4-BE49-F238E27FC236}">
                <a16:creationId xmlns:a16="http://schemas.microsoft.com/office/drawing/2014/main" id="{6181596D-BA00-B16A-30DA-E731A019E624}"/>
              </a:ext>
            </a:extLst>
          </p:cNvPr>
          <p:cNvSpPr/>
          <p:nvPr/>
        </p:nvSpPr>
        <p:spPr>
          <a:xfrm>
            <a:off x="9323115" y="1949975"/>
            <a:ext cx="1386314" cy="285418"/>
          </a:xfrm>
          <a:prstGeom prst="rect">
            <a:avLst/>
          </a:prstGeom>
          <a:solidFill>
            <a:srgbClr val="60B3BB">
              <a:alpha val="25098"/>
            </a:srgb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815" dirty="0"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1113" name="Content Placeholder 2">
            <a:extLst>
              <a:ext uri="{FF2B5EF4-FFF2-40B4-BE49-F238E27FC236}">
                <a16:creationId xmlns:a16="http://schemas.microsoft.com/office/drawing/2014/main" id="{4560E70F-F0B1-55E3-810E-D6D29673C761}"/>
              </a:ext>
            </a:extLst>
          </p:cNvPr>
          <p:cNvSpPr txBox="1">
            <a:spLocks/>
          </p:cNvSpPr>
          <p:nvPr/>
        </p:nvSpPr>
        <p:spPr>
          <a:xfrm>
            <a:off x="9323115" y="1949975"/>
            <a:ext cx="1386314" cy="2854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55375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815" dirty="0">
                <a:solidFill>
                  <a:srgbClr val="8098AA"/>
                </a:solidFill>
                <a:latin typeface="Roboto Condensed"/>
                <a:cs typeface="Arial" panose="020B0604020202020204" pitchFamily="34" charset="0"/>
              </a:rPr>
              <a:t>Ontslagen worden</a:t>
            </a:r>
            <a:endParaRPr lang="nl-NL" sz="634" dirty="0">
              <a:solidFill>
                <a:srgbClr val="8098AA"/>
              </a:solidFill>
              <a:latin typeface="Roboto Condensed"/>
              <a:cs typeface="Arial" panose="020B0604020202020204" pitchFamily="34" charset="0"/>
            </a:endParaRPr>
          </a:p>
        </p:txBody>
      </p:sp>
      <p:sp>
        <p:nvSpPr>
          <p:cNvPr id="1115" name="Rectangle 1114">
            <a:extLst>
              <a:ext uri="{FF2B5EF4-FFF2-40B4-BE49-F238E27FC236}">
                <a16:creationId xmlns:a16="http://schemas.microsoft.com/office/drawing/2014/main" id="{0C094A2D-0664-BA07-64CB-BB87455D34F9}"/>
              </a:ext>
            </a:extLst>
          </p:cNvPr>
          <p:cNvSpPr/>
          <p:nvPr/>
        </p:nvSpPr>
        <p:spPr>
          <a:xfrm>
            <a:off x="9323115" y="2258985"/>
            <a:ext cx="1386314" cy="285418"/>
          </a:xfrm>
          <a:prstGeom prst="rect">
            <a:avLst/>
          </a:prstGeom>
          <a:solidFill>
            <a:srgbClr val="60B3BB">
              <a:alpha val="25098"/>
            </a:srgb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815" dirty="0"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1116" name="Content Placeholder 2">
            <a:extLst>
              <a:ext uri="{FF2B5EF4-FFF2-40B4-BE49-F238E27FC236}">
                <a16:creationId xmlns:a16="http://schemas.microsoft.com/office/drawing/2014/main" id="{3AE317AC-5479-D889-E7F3-986F9BAB10B7}"/>
              </a:ext>
            </a:extLst>
          </p:cNvPr>
          <p:cNvSpPr txBox="1">
            <a:spLocks/>
          </p:cNvSpPr>
          <p:nvPr/>
        </p:nvSpPr>
        <p:spPr>
          <a:xfrm>
            <a:off x="9323115" y="2258985"/>
            <a:ext cx="1386314" cy="2854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55375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815" dirty="0">
                <a:solidFill>
                  <a:srgbClr val="8098AA"/>
                </a:solidFill>
                <a:latin typeface="Roboto Condensed"/>
                <a:cs typeface="Arial" panose="020B0604020202020204" pitchFamily="34" charset="0"/>
              </a:rPr>
              <a:t>Ontslag nemen</a:t>
            </a:r>
            <a:endParaRPr lang="nl-NL" sz="634" dirty="0">
              <a:solidFill>
                <a:srgbClr val="8098AA"/>
              </a:solidFill>
              <a:latin typeface="Roboto Condensed"/>
              <a:cs typeface="Arial" panose="020B0604020202020204" pitchFamily="34" charset="0"/>
            </a:endParaRPr>
          </a:p>
        </p:txBody>
      </p:sp>
      <p:sp>
        <p:nvSpPr>
          <p:cNvPr id="1119" name="Rectangle 1118">
            <a:extLst>
              <a:ext uri="{FF2B5EF4-FFF2-40B4-BE49-F238E27FC236}">
                <a16:creationId xmlns:a16="http://schemas.microsoft.com/office/drawing/2014/main" id="{3F95C745-66E3-A097-4CF9-03AB9CF8A4D8}"/>
              </a:ext>
            </a:extLst>
          </p:cNvPr>
          <p:cNvSpPr/>
          <p:nvPr/>
        </p:nvSpPr>
        <p:spPr>
          <a:xfrm>
            <a:off x="6335343" y="5040068"/>
            <a:ext cx="1386314" cy="285418"/>
          </a:xfrm>
          <a:prstGeom prst="rect">
            <a:avLst/>
          </a:prstGeom>
          <a:solidFill>
            <a:srgbClr val="60B3BB">
              <a:alpha val="54902"/>
            </a:srgb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815" dirty="0"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1120" name="Content Placeholder 2">
            <a:extLst>
              <a:ext uri="{FF2B5EF4-FFF2-40B4-BE49-F238E27FC236}">
                <a16:creationId xmlns:a16="http://schemas.microsoft.com/office/drawing/2014/main" id="{7092753F-D1BE-4206-8940-E422C8ED4571}"/>
              </a:ext>
            </a:extLst>
          </p:cNvPr>
          <p:cNvSpPr txBox="1">
            <a:spLocks/>
          </p:cNvSpPr>
          <p:nvPr/>
        </p:nvSpPr>
        <p:spPr>
          <a:xfrm>
            <a:off x="6335343" y="5048525"/>
            <a:ext cx="1386314" cy="2854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55375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815" dirty="0">
                <a:solidFill>
                  <a:schemeClr val="bg1"/>
                </a:solidFill>
                <a:latin typeface="Roboto Condensed"/>
                <a:cs typeface="Arial" panose="020B0604020202020204" pitchFamily="34" charset="0"/>
              </a:rPr>
              <a:t>Contractverlenging/ </a:t>
            </a:r>
            <a:br>
              <a:rPr lang="nl-NL" sz="815" dirty="0">
                <a:solidFill>
                  <a:schemeClr val="bg1"/>
                </a:solidFill>
                <a:latin typeface="Roboto Condensed"/>
                <a:cs typeface="Arial" panose="020B0604020202020204" pitchFamily="34" charset="0"/>
              </a:rPr>
            </a:br>
            <a:r>
              <a:rPr lang="nl-NL" sz="815" dirty="0">
                <a:solidFill>
                  <a:schemeClr val="bg1"/>
                </a:solidFill>
                <a:latin typeface="Roboto Condensed"/>
                <a:cs typeface="Arial" panose="020B0604020202020204" pitchFamily="34" charset="0"/>
              </a:rPr>
              <a:t>vast contract </a:t>
            </a:r>
          </a:p>
        </p:txBody>
      </p:sp>
      <p:sp>
        <p:nvSpPr>
          <p:cNvPr id="1123" name="Rectangle 1122">
            <a:extLst>
              <a:ext uri="{FF2B5EF4-FFF2-40B4-BE49-F238E27FC236}">
                <a16:creationId xmlns:a16="http://schemas.microsoft.com/office/drawing/2014/main" id="{7F83590F-914E-AB1C-F13D-2DBAC1E14416}"/>
              </a:ext>
            </a:extLst>
          </p:cNvPr>
          <p:cNvSpPr/>
          <p:nvPr/>
        </p:nvSpPr>
        <p:spPr>
          <a:xfrm>
            <a:off x="9323115" y="2567994"/>
            <a:ext cx="1386314" cy="285418"/>
          </a:xfrm>
          <a:prstGeom prst="rect">
            <a:avLst/>
          </a:prstGeom>
          <a:solidFill>
            <a:srgbClr val="60B3BB">
              <a:alpha val="25098"/>
            </a:srgb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815" dirty="0"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1124" name="Content Placeholder 2">
            <a:extLst>
              <a:ext uri="{FF2B5EF4-FFF2-40B4-BE49-F238E27FC236}">
                <a16:creationId xmlns:a16="http://schemas.microsoft.com/office/drawing/2014/main" id="{A0CA6938-1D1E-DA8C-C30B-55159350F59D}"/>
              </a:ext>
            </a:extLst>
          </p:cNvPr>
          <p:cNvSpPr txBox="1">
            <a:spLocks/>
          </p:cNvSpPr>
          <p:nvPr/>
        </p:nvSpPr>
        <p:spPr>
          <a:xfrm>
            <a:off x="9323115" y="2567994"/>
            <a:ext cx="1386314" cy="2854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55375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815" dirty="0">
                <a:solidFill>
                  <a:srgbClr val="8098AA"/>
                </a:solidFill>
                <a:latin typeface="Roboto Condensed"/>
                <a:cs typeface="Arial" panose="020B0604020202020204" pitchFamily="34" charset="0"/>
              </a:rPr>
              <a:t>Met pensioen gaan</a:t>
            </a:r>
            <a:endParaRPr lang="nl-NL" sz="634" dirty="0">
              <a:solidFill>
                <a:srgbClr val="8098AA"/>
              </a:solidFill>
              <a:latin typeface="Roboto Condensed"/>
              <a:cs typeface="Arial" panose="020B0604020202020204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A78AD00-F6B0-75AA-C151-3369317093C3}"/>
              </a:ext>
            </a:extLst>
          </p:cNvPr>
          <p:cNvGrpSpPr/>
          <p:nvPr/>
        </p:nvGrpSpPr>
        <p:grpSpPr>
          <a:xfrm>
            <a:off x="1736375" y="5446010"/>
            <a:ext cx="8973054" cy="864968"/>
            <a:chOff x="2046518" y="24525435"/>
            <a:chExt cx="39612295" cy="3818472"/>
          </a:xfrm>
        </p:grpSpPr>
        <p:grpSp>
          <p:nvGrpSpPr>
            <p:cNvPr id="1129" name="Group 1128">
              <a:extLst>
                <a:ext uri="{FF2B5EF4-FFF2-40B4-BE49-F238E27FC236}">
                  <a16:creationId xmlns:a16="http://schemas.microsoft.com/office/drawing/2014/main" id="{7BD00048-AF06-5849-0610-99E120FA5585}"/>
                </a:ext>
              </a:extLst>
            </p:cNvPr>
            <p:cNvGrpSpPr/>
            <p:nvPr/>
          </p:nvGrpSpPr>
          <p:grpSpPr>
            <a:xfrm>
              <a:off x="2046518" y="24525435"/>
              <a:ext cx="6120000" cy="1260000"/>
              <a:chOff x="2119248" y="10307782"/>
              <a:chExt cx="5062903" cy="1368120"/>
            </a:xfrm>
          </p:grpSpPr>
          <p:sp>
            <p:nvSpPr>
              <p:cNvPr id="1130" name="Rectangle 1129">
                <a:extLst>
                  <a:ext uri="{FF2B5EF4-FFF2-40B4-BE49-F238E27FC236}">
                    <a16:creationId xmlns:a16="http://schemas.microsoft.com/office/drawing/2014/main" id="{92C02AE2-9C56-B940-3111-A65F44BD07CF}"/>
                  </a:ext>
                </a:extLst>
              </p:cNvPr>
              <p:cNvSpPr/>
              <p:nvPr/>
            </p:nvSpPr>
            <p:spPr>
              <a:xfrm>
                <a:off x="2167497" y="10307782"/>
                <a:ext cx="5003639" cy="136812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815" dirty="0">
                  <a:latin typeface="Roboto Condensed" panose="02000000000000000000" pitchFamily="2" charset="0"/>
                  <a:ea typeface="Roboto Condensed" panose="02000000000000000000" pitchFamily="2" charset="0"/>
                </a:endParaRPr>
              </a:p>
            </p:txBody>
          </p:sp>
          <p:sp>
            <p:nvSpPr>
              <p:cNvPr id="1131" name="Content Placeholder 2">
                <a:extLst>
                  <a:ext uri="{FF2B5EF4-FFF2-40B4-BE49-F238E27FC236}">
                    <a16:creationId xmlns:a16="http://schemas.microsoft.com/office/drawing/2014/main" id="{651A5FA9-2CD3-BF28-EEBA-1A9A544EE9E2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119248" y="10579273"/>
                <a:ext cx="5062903" cy="825139"/>
              </a:xfrm>
              <a:prstGeom prst="rect">
                <a:avLst/>
              </a:prstGeom>
            </p:spPr>
            <p:txBody>
              <a:bodyPr vert="horz" lIns="0" tIns="0" rIns="0" bIns="0" rtlCol="0" anchor="ctr">
                <a:noAutofit/>
              </a:bodyPr>
              <a:lstStyle>
                <a:lvl1pPr marL="171496" indent="-171496" algn="l" defTabSz="685983" rtl="0" eaLnBrk="1" latinLnBrk="0" hangingPunct="1">
                  <a:lnSpc>
                    <a:spcPct val="90000"/>
                  </a:lnSpc>
                  <a:spcBef>
                    <a:spcPts val="750"/>
                  </a:spcBef>
                  <a:buClr>
                    <a:srgbClr val="1F94D1"/>
                  </a:buClr>
                  <a:buFont typeface="Arial"/>
                  <a:buChar char="•"/>
                  <a:defRPr sz="2101" kern="1200">
                    <a:solidFill>
                      <a:srgbClr val="00467B"/>
                    </a:solidFill>
                    <a:latin typeface="+mn-lt"/>
                    <a:ea typeface="+mn-ea"/>
                    <a:cs typeface="+mn-cs"/>
                  </a:defRPr>
                </a:lvl1pPr>
                <a:lvl2pPr marL="292100" indent="-112713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Clr>
                    <a:srgbClr val="1F94D1"/>
                  </a:buClr>
                  <a:buFont typeface="Arial" panose="020B0604020202020204" pitchFamily="34" charset="0"/>
                  <a:buChar char="–"/>
                  <a:tabLst/>
                  <a:defRPr sz="1800" kern="1200">
                    <a:solidFill>
                      <a:srgbClr val="00467B"/>
                    </a:solidFill>
                    <a:latin typeface="+mn-lt"/>
                    <a:ea typeface="+mn-ea"/>
                    <a:cs typeface="+mn-cs"/>
                  </a:defRPr>
                </a:lvl2pPr>
                <a:lvl3pPr marL="460375" indent="-112713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Clr>
                    <a:srgbClr val="1F94D1"/>
                  </a:buClr>
                  <a:buSzPct val="60000"/>
                  <a:buFont typeface="Arial" panose="020B0604020202020204" pitchFamily="34" charset="0"/>
                  <a:buChar char="►"/>
                  <a:tabLst/>
                  <a:defRPr sz="1500" kern="1200">
                    <a:solidFill>
                      <a:srgbClr val="00467B"/>
                    </a:solidFill>
                    <a:latin typeface="+mn-lt"/>
                    <a:ea typeface="+mn-ea"/>
                    <a:cs typeface="+mn-cs"/>
                  </a:defRPr>
                </a:lvl3pPr>
                <a:lvl4pPr marL="573088" indent="-112713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Clr>
                    <a:srgbClr val="1F94D1"/>
                  </a:buClr>
                  <a:buFont typeface="Wingdings" panose="05000000000000000000" pitchFamily="2" charset="2"/>
                  <a:buChar char="§"/>
                  <a:tabLst/>
                  <a:defRPr sz="1350" kern="1200">
                    <a:solidFill>
                      <a:srgbClr val="00467B"/>
                    </a:solidFill>
                    <a:latin typeface="+mn-lt"/>
                    <a:ea typeface="+mn-ea"/>
                    <a:cs typeface="+mn-cs"/>
                  </a:defRPr>
                </a:lvl4pPr>
                <a:lvl5pPr marL="695325" indent="-122238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Clr>
                    <a:srgbClr val="1F94D1"/>
                  </a:buClr>
                  <a:buSzPct val="80000"/>
                  <a:buFont typeface="Courier New" panose="02070309020205020404" pitchFamily="49" charset="0"/>
                  <a:buChar char="o"/>
                  <a:tabLst/>
                  <a:defRPr sz="1350" kern="1200">
                    <a:solidFill>
                      <a:srgbClr val="00467B"/>
                    </a:solidFill>
                    <a:latin typeface="+mn-lt"/>
                    <a:ea typeface="+mn-ea"/>
                    <a:cs typeface="+mn-cs"/>
                  </a:defRPr>
                </a:lvl5pPr>
                <a:lvl6pPr marL="1886453" indent="-171496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9444" indent="-171496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2436" indent="-171496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5427" indent="-171496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 defTabSz="155375">
                  <a:lnSpc>
                    <a:spcPct val="85000"/>
                  </a:lnSpc>
                  <a:spcBef>
                    <a:spcPts val="23"/>
                  </a:spcBef>
                  <a:buNone/>
                  <a:defRPr/>
                </a:pPr>
                <a:r>
                  <a:rPr lang="nl-NL" sz="815" dirty="0">
                    <a:solidFill>
                      <a:srgbClr val="8098AA"/>
                    </a:solidFill>
                    <a:latin typeface="Roboto Condensed"/>
                    <a:cs typeface="Arial" panose="020B0604020202020204" pitchFamily="34" charset="0"/>
                  </a:rPr>
                  <a:t>Kandidaten database</a:t>
                </a:r>
              </a:p>
            </p:txBody>
          </p:sp>
        </p:grpSp>
        <p:grpSp>
          <p:nvGrpSpPr>
            <p:cNvPr id="1132" name="Group 1131">
              <a:extLst>
                <a:ext uri="{FF2B5EF4-FFF2-40B4-BE49-F238E27FC236}">
                  <a16:creationId xmlns:a16="http://schemas.microsoft.com/office/drawing/2014/main" id="{A541BDBF-4597-3834-3E8B-8CC88BA86D7E}"/>
                </a:ext>
              </a:extLst>
            </p:cNvPr>
            <p:cNvGrpSpPr/>
            <p:nvPr/>
          </p:nvGrpSpPr>
          <p:grpSpPr>
            <a:xfrm>
              <a:off x="8862299" y="24525435"/>
              <a:ext cx="6120000" cy="1260000"/>
              <a:chOff x="2119248" y="10307782"/>
              <a:chExt cx="5062903" cy="1368120"/>
            </a:xfrm>
          </p:grpSpPr>
          <p:sp>
            <p:nvSpPr>
              <p:cNvPr id="1133" name="Rectangle 1132">
                <a:extLst>
                  <a:ext uri="{FF2B5EF4-FFF2-40B4-BE49-F238E27FC236}">
                    <a16:creationId xmlns:a16="http://schemas.microsoft.com/office/drawing/2014/main" id="{3421FF08-AD0A-B8B6-05E6-7B287D7EAC17}"/>
                  </a:ext>
                </a:extLst>
              </p:cNvPr>
              <p:cNvSpPr/>
              <p:nvPr/>
            </p:nvSpPr>
            <p:spPr>
              <a:xfrm>
                <a:off x="2167497" y="10307782"/>
                <a:ext cx="5003639" cy="136812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815" dirty="0">
                  <a:latin typeface="Roboto Condensed" panose="02000000000000000000" pitchFamily="2" charset="0"/>
                  <a:ea typeface="Roboto Condensed" panose="02000000000000000000" pitchFamily="2" charset="0"/>
                </a:endParaRPr>
              </a:p>
            </p:txBody>
          </p:sp>
          <p:sp>
            <p:nvSpPr>
              <p:cNvPr id="1134" name="Content Placeholder 2">
                <a:extLst>
                  <a:ext uri="{FF2B5EF4-FFF2-40B4-BE49-F238E27FC236}">
                    <a16:creationId xmlns:a16="http://schemas.microsoft.com/office/drawing/2014/main" id="{86C04387-3319-DBBF-8FEB-A0736647439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119248" y="10579273"/>
                <a:ext cx="5062903" cy="825139"/>
              </a:xfrm>
              <a:prstGeom prst="rect">
                <a:avLst/>
              </a:prstGeom>
            </p:spPr>
            <p:txBody>
              <a:bodyPr vert="horz" lIns="0" tIns="0" rIns="0" bIns="0" rtlCol="0" anchor="ctr">
                <a:noAutofit/>
              </a:bodyPr>
              <a:lstStyle>
                <a:lvl1pPr marL="171496" indent="-171496" algn="l" defTabSz="685983" rtl="0" eaLnBrk="1" latinLnBrk="0" hangingPunct="1">
                  <a:lnSpc>
                    <a:spcPct val="90000"/>
                  </a:lnSpc>
                  <a:spcBef>
                    <a:spcPts val="750"/>
                  </a:spcBef>
                  <a:buClr>
                    <a:srgbClr val="1F94D1"/>
                  </a:buClr>
                  <a:buFont typeface="Arial"/>
                  <a:buChar char="•"/>
                  <a:defRPr sz="2101" kern="1200">
                    <a:solidFill>
                      <a:srgbClr val="00467B"/>
                    </a:solidFill>
                    <a:latin typeface="+mn-lt"/>
                    <a:ea typeface="+mn-ea"/>
                    <a:cs typeface="+mn-cs"/>
                  </a:defRPr>
                </a:lvl1pPr>
                <a:lvl2pPr marL="292100" indent="-112713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Clr>
                    <a:srgbClr val="1F94D1"/>
                  </a:buClr>
                  <a:buFont typeface="Arial" panose="020B0604020202020204" pitchFamily="34" charset="0"/>
                  <a:buChar char="–"/>
                  <a:tabLst/>
                  <a:defRPr sz="1800" kern="1200">
                    <a:solidFill>
                      <a:srgbClr val="00467B"/>
                    </a:solidFill>
                    <a:latin typeface="+mn-lt"/>
                    <a:ea typeface="+mn-ea"/>
                    <a:cs typeface="+mn-cs"/>
                  </a:defRPr>
                </a:lvl2pPr>
                <a:lvl3pPr marL="460375" indent="-112713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Clr>
                    <a:srgbClr val="1F94D1"/>
                  </a:buClr>
                  <a:buSzPct val="60000"/>
                  <a:buFont typeface="Arial" panose="020B0604020202020204" pitchFamily="34" charset="0"/>
                  <a:buChar char="►"/>
                  <a:tabLst/>
                  <a:defRPr sz="1500" kern="1200">
                    <a:solidFill>
                      <a:srgbClr val="00467B"/>
                    </a:solidFill>
                    <a:latin typeface="+mn-lt"/>
                    <a:ea typeface="+mn-ea"/>
                    <a:cs typeface="+mn-cs"/>
                  </a:defRPr>
                </a:lvl3pPr>
                <a:lvl4pPr marL="573088" indent="-112713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Clr>
                    <a:srgbClr val="1F94D1"/>
                  </a:buClr>
                  <a:buFont typeface="Wingdings" panose="05000000000000000000" pitchFamily="2" charset="2"/>
                  <a:buChar char="§"/>
                  <a:tabLst/>
                  <a:defRPr sz="1350" kern="1200">
                    <a:solidFill>
                      <a:srgbClr val="00467B"/>
                    </a:solidFill>
                    <a:latin typeface="+mn-lt"/>
                    <a:ea typeface="+mn-ea"/>
                    <a:cs typeface="+mn-cs"/>
                  </a:defRPr>
                </a:lvl4pPr>
                <a:lvl5pPr marL="695325" indent="-122238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Clr>
                    <a:srgbClr val="1F94D1"/>
                  </a:buClr>
                  <a:buSzPct val="80000"/>
                  <a:buFont typeface="Courier New" panose="02070309020205020404" pitchFamily="49" charset="0"/>
                  <a:buChar char="o"/>
                  <a:tabLst/>
                  <a:defRPr sz="1350" kern="1200">
                    <a:solidFill>
                      <a:srgbClr val="00467B"/>
                    </a:solidFill>
                    <a:latin typeface="+mn-lt"/>
                    <a:ea typeface="+mn-ea"/>
                    <a:cs typeface="+mn-cs"/>
                  </a:defRPr>
                </a:lvl5pPr>
                <a:lvl6pPr marL="1886453" indent="-171496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9444" indent="-171496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2436" indent="-171496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5427" indent="-171496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 defTabSz="155375">
                  <a:lnSpc>
                    <a:spcPct val="85000"/>
                  </a:lnSpc>
                  <a:spcBef>
                    <a:spcPts val="23"/>
                  </a:spcBef>
                  <a:buNone/>
                  <a:defRPr/>
                </a:pPr>
                <a:r>
                  <a:rPr lang="nl-NL" sz="815" dirty="0">
                    <a:solidFill>
                      <a:srgbClr val="8098AA"/>
                    </a:solidFill>
                    <a:latin typeface="Roboto Condensed" panose="02000000000000000000" pitchFamily="2" charset="0"/>
                    <a:ea typeface="Roboto Condensed" panose="02000000000000000000" pitchFamily="2" charset="0"/>
                    <a:cs typeface="Arial" panose="020B0604020202020204" pitchFamily="34" charset="0"/>
                  </a:rPr>
                  <a:t>Aanmelding systemen (IT, HR,...)</a:t>
                </a:r>
              </a:p>
            </p:txBody>
          </p:sp>
        </p:grpSp>
        <p:grpSp>
          <p:nvGrpSpPr>
            <p:cNvPr id="1135" name="Group 1134">
              <a:extLst>
                <a:ext uri="{FF2B5EF4-FFF2-40B4-BE49-F238E27FC236}">
                  <a16:creationId xmlns:a16="http://schemas.microsoft.com/office/drawing/2014/main" id="{59D756BC-925A-1445-071F-A061A70C1D88}"/>
                </a:ext>
              </a:extLst>
            </p:cNvPr>
            <p:cNvGrpSpPr/>
            <p:nvPr/>
          </p:nvGrpSpPr>
          <p:grpSpPr>
            <a:xfrm>
              <a:off x="8862299" y="25804671"/>
              <a:ext cx="6120000" cy="1260000"/>
              <a:chOff x="2119248" y="10307782"/>
              <a:chExt cx="5062903" cy="1368120"/>
            </a:xfrm>
          </p:grpSpPr>
          <p:sp>
            <p:nvSpPr>
              <p:cNvPr id="1136" name="Rectangle 1135">
                <a:extLst>
                  <a:ext uri="{FF2B5EF4-FFF2-40B4-BE49-F238E27FC236}">
                    <a16:creationId xmlns:a16="http://schemas.microsoft.com/office/drawing/2014/main" id="{E1216285-4D4B-0613-5AA3-C701469BAE88}"/>
                  </a:ext>
                </a:extLst>
              </p:cNvPr>
              <p:cNvSpPr/>
              <p:nvPr/>
            </p:nvSpPr>
            <p:spPr>
              <a:xfrm>
                <a:off x="2167497" y="10307782"/>
                <a:ext cx="5003639" cy="136812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815" dirty="0">
                  <a:latin typeface="Roboto Condensed" panose="02000000000000000000" pitchFamily="2" charset="0"/>
                  <a:ea typeface="Roboto Condensed" panose="02000000000000000000" pitchFamily="2" charset="0"/>
                </a:endParaRPr>
              </a:p>
            </p:txBody>
          </p:sp>
          <p:sp>
            <p:nvSpPr>
              <p:cNvPr id="1137" name="Content Placeholder 2">
                <a:extLst>
                  <a:ext uri="{FF2B5EF4-FFF2-40B4-BE49-F238E27FC236}">
                    <a16:creationId xmlns:a16="http://schemas.microsoft.com/office/drawing/2014/main" id="{7461791C-EE06-433C-7BC1-9D24E6A8B55D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119248" y="10579273"/>
                <a:ext cx="5062903" cy="825139"/>
              </a:xfrm>
              <a:prstGeom prst="rect">
                <a:avLst/>
              </a:prstGeom>
            </p:spPr>
            <p:txBody>
              <a:bodyPr vert="horz" lIns="0" tIns="0" rIns="0" bIns="0" rtlCol="0" anchor="ctr">
                <a:noAutofit/>
              </a:bodyPr>
              <a:lstStyle>
                <a:lvl1pPr marL="171496" indent="-171496" algn="l" defTabSz="685983" rtl="0" eaLnBrk="1" latinLnBrk="0" hangingPunct="1">
                  <a:lnSpc>
                    <a:spcPct val="90000"/>
                  </a:lnSpc>
                  <a:spcBef>
                    <a:spcPts val="750"/>
                  </a:spcBef>
                  <a:buClr>
                    <a:srgbClr val="1F94D1"/>
                  </a:buClr>
                  <a:buFont typeface="Arial"/>
                  <a:buChar char="•"/>
                  <a:defRPr sz="2101" kern="1200">
                    <a:solidFill>
                      <a:srgbClr val="00467B"/>
                    </a:solidFill>
                    <a:latin typeface="+mn-lt"/>
                    <a:ea typeface="+mn-ea"/>
                    <a:cs typeface="+mn-cs"/>
                  </a:defRPr>
                </a:lvl1pPr>
                <a:lvl2pPr marL="292100" indent="-112713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Clr>
                    <a:srgbClr val="1F94D1"/>
                  </a:buClr>
                  <a:buFont typeface="Arial" panose="020B0604020202020204" pitchFamily="34" charset="0"/>
                  <a:buChar char="–"/>
                  <a:tabLst/>
                  <a:defRPr sz="1800" kern="1200">
                    <a:solidFill>
                      <a:srgbClr val="00467B"/>
                    </a:solidFill>
                    <a:latin typeface="+mn-lt"/>
                    <a:ea typeface="+mn-ea"/>
                    <a:cs typeface="+mn-cs"/>
                  </a:defRPr>
                </a:lvl2pPr>
                <a:lvl3pPr marL="460375" indent="-112713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Clr>
                    <a:srgbClr val="1F94D1"/>
                  </a:buClr>
                  <a:buSzPct val="60000"/>
                  <a:buFont typeface="Arial" panose="020B0604020202020204" pitchFamily="34" charset="0"/>
                  <a:buChar char="►"/>
                  <a:tabLst/>
                  <a:defRPr sz="1500" kern="1200">
                    <a:solidFill>
                      <a:srgbClr val="00467B"/>
                    </a:solidFill>
                    <a:latin typeface="+mn-lt"/>
                    <a:ea typeface="+mn-ea"/>
                    <a:cs typeface="+mn-cs"/>
                  </a:defRPr>
                </a:lvl3pPr>
                <a:lvl4pPr marL="573088" indent="-112713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Clr>
                    <a:srgbClr val="1F94D1"/>
                  </a:buClr>
                  <a:buFont typeface="Wingdings" panose="05000000000000000000" pitchFamily="2" charset="2"/>
                  <a:buChar char="§"/>
                  <a:tabLst/>
                  <a:defRPr sz="1350" kern="1200">
                    <a:solidFill>
                      <a:srgbClr val="00467B"/>
                    </a:solidFill>
                    <a:latin typeface="+mn-lt"/>
                    <a:ea typeface="+mn-ea"/>
                    <a:cs typeface="+mn-cs"/>
                  </a:defRPr>
                </a:lvl4pPr>
                <a:lvl5pPr marL="695325" indent="-122238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Clr>
                    <a:srgbClr val="1F94D1"/>
                  </a:buClr>
                  <a:buSzPct val="80000"/>
                  <a:buFont typeface="Courier New" panose="02070309020205020404" pitchFamily="49" charset="0"/>
                  <a:buChar char="o"/>
                  <a:tabLst/>
                  <a:defRPr sz="1350" kern="1200">
                    <a:solidFill>
                      <a:srgbClr val="00467B"/>
                    </a:solidFill>
                    <a:latin typeface="+mn-lt"/>
                    <a:ea typeface="+mn-ea"/>
                    <a:cs typeface="+mn-cs"/>
                  </a:defRPr>
                </a:lvl5pPr>
                <a:lvl6pPr marL="1886453" indent="-171496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9444" indent="-171496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2436" indent="-171496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5427" indent="-171496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>
                  <a:lnSpc>
                    <a:spcPct val="85000"/>
                  </a:lnSpc>
                  <a:spcBef>
                    <a:spcPts val="23"/>
                  </a:spcBef>
                  <a:buNone/>
                  <a:defRPr/>
                </a:pPr>
                <a:r>
                  <a:rPr lang="nl-NL" sz="815" dirty="0">
                    <a:solidFill>
                      <a:srgbClr val="8098AA"/>
                    </a:solidFill>
                    <a:latin typeface="Roboto Condensed"/>
                    <a:cs typeface="Arial" panose="020B0604020202020204" pitchFamily="34" charset="0"/>
                  </a:rPr>
                  <a:t>Aanmelden bij pensioenfonds, verzekeringen, ...</a:t>
                </a:r>
              </a:p>
            </p:txBody>
          </p:sp>
        </p:grpSp>
        <p:grpSp>
          <p:nvGrpSpPr>
            <p:cNvPr id="1138" name="Group 1137">
              <a:extLst>
                <a:ext uri="{FF2B5EF4-FFF2-40B4-BE49-F238E27FC236}">
                  <a16:creationId xmlns:a16="http://schemas.microsoft.com/office/drawing/2014/main" id="{70421EED-7DF6-7D3F-92F6-F7E17B890D67}"/>
                </a:ext>
              </a:extLst>
            </p:cNvPr>
            <p:cNvGrpSpPr/>
            <p:nvPr/>
          </p:nvGrpSpPr>
          <p:grpSpPr>
            <a:xfrm>
              <a:off x="22349045" y="24525435"/>
              <a:ext cx="6120000" cy="1260000"/>
              <a:chOff x="2119248" y="10307782"/>
              <a:chExt cx="5062903" cy="1368120"/>
            </a:xfrm>
          </p:grpSpPr>
          <p:sp>
            <p:nvSpPr>
              <p:cNvPr id="1139" name="Rectangle 1138">
                <a:extLst>
                  <a:ext uri="{FF2B5EF4-FFF2-40B4-BE49-F238E27FC236}">
                    <a16:creationId xmlns:a16="http://schemas.microsoft.com/office/drawing/2014/main" id="{9613550E-F05A-3F8B-9330-7B8AE0DE7EF7}"/>
                  </a:ext>
                </a:extLst>
              </p:cNvPr>
              <p:cNvSpPr/>
              <p:nvPr/>
            </p:nvSpPr>
            <p:spPr>
              <a:xfrm>
                <a:off x="2167497" y="10307782"/>
                <a:ext cx="5003639" cy="136812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815" dirty="0">
                  <a:latin typeface="Roboto Condensed" panose="02000000000000000000" pitchFamily="2" charset="0"/>
                  <a:ea typeface="Roboto Condensed" panose="02000000000000000000" pitchFamily="2" charset="0"/>
                </a:endParaRPr>
              </a:p>
            </p:txBody>
          </p:sp>
          <p:sp>
            <p:nvSpPr>
              <p:cNvPr id="1140" name="Content Placeholder 2">
                <a:extLst>
                  <a:ext uri="{FF2B5EF4-FFF2-40B4-BE49-F238E27FC236}">
                    <a16:creationId xmlns:a16="http://schemas.microsoft.com/office/drawing/2014/main" id="{E3CF5571-EAF0-0016-921F-6C1AC91B658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119248" y="10579273"/>
                <a:ext cx="5062903" cy="825139"/>
              </a:xfrm>
              <a:prstGeom prst="rect">
                <a:avLst/>
              </a:prstGeom>
            </p:spPr>
            <p:txBody>
              <a:bodyPr vert="horz" lIns="0" tIns="0" rIns="0" bIns="0" rtlCol="0" anchor="ctr">
                <a:noAutofit/>
              </a:bodyPr>
              <a:lstStyle>
                <a:lvl1pPr marL="171496" indent="-171496" algn="l" defTabSz="685983" rtl="0" eaLnBrk="1" latinLnBrk="0" hangingPunct="1">
                  <a:lnSpc>
                    <a:spcPct val="90000"/>
                  </a:lnSpc>
                  <a:spcBef>
                    <a:spcPts val="750"/>
                  </a:spcBef>
                  <a:buClr>
                    <a:srgbClr val="1F94D1"/>
                  </a:buClr>
                  <a:buFont typeface="Arial"/>
                  <a:buChar char="•"/>
                  <a:defRPr sz="2101" kern="1200">
                    <a:solidFill>
                      <a:srgbClr val="00467B"/>
                    </a:solidFill>
                    <a:latin typeface="+mn-lt"/>
                    <a:ea typeface="+mn-ea"/>
                    <a:cs typeface="+mn-cs"/>
                  </a:defRPr>
                </a:lvl1pPr>
                <a:lvl2pPr marL="292100" indent="-112713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Clr>
                    <a:srgbClr val="1F94D1"/>
                  </a:buClr>
                  <a:buFont typeface="Arial" panose="020B0604020202020204" pitchFamily="34" charset="0"/>
                  <a:buChar char="–"/>
                  <a:tabLst/>
                  <a:defRPr sz="1800" kern="1200">
                    <a:solidFill>
                      <a:srgbClr val="00467B"/>
                    </a:solidFill>
                    <a:latin typeface="+mn-lt"/>
                    <a:ea typeface="+mn-ea"/>
                    <a:cs typeface="+mn-cs"/>
                  </a:defRPr>
                </a:lvl2pPr>
                <a:lvl3pPr marL="460375" indent="-112713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Clr>
                    <a:srgbClr val="1F94D1"/>
                  </a:buClr>
                  <a:buSzPct val="60000"/>
                  <a:buFont typeface="Arial" panose="020B0604020202020204" pitchFamily="34" charset="0"/>
                  <a:buChar char="►"/>
                  <a:tabLst/>
                  <a:defRPr sz="1500" kern="1200">
                    <a:solidFill>
                      <a:srgbClr val="00467B"/>
                    </a:solidFill>
                    <a:latin typeface="+mn-lt"/>
                    <a:ea typeface="+mn-ea"/>
                    <a:cs typeface="+mn-cs"/>
                  </a:defRPr>
                </a:lvl3pPr>
                <a:lvl4pPr marL="573088" indent="-112713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Clr>
                    <a:srgbClr val="1F94D1"/>
                  </a:buClr>
                  <a:buFont typeface="Wingdings" panose="05000000000000000000" pitchFamily="2" charset="2"/>
                  <a:buChar char="§"/>
                  <a:tabLst/>
                  <a:defRPr sz="1350" kern="1200">
                    <a:solidFill>
                      <a:srgbClr val="00467B"/>
                    </a:solidFill>
                    <a:latin typeface="+mn-lt"/>
                    <a:ea typeface="+mn-ea"/>
                    <a:cs typeface="+mn-cs"/>
                  </a:defRPr>
                </a:lvl4pPr>
                <a:lvl5pPr marL="695325" indent="-122238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Clr>
                    <a:srgbClr val="1F94D1"/>
                  </a:buClr>
                  <a:buSzPct val="80000"/>
                  <a:buFont typeface="Courier New" panose="02070309020205020404" pitchFamily="49" charset="0"/>
                  <a:buChar char="o"/>
                  <a:tabLst/>
                  <a:defRPr sz="1350" kern="1200">
                    <a:solidFill>
                      <a:srgbClr val="00467B"/>
                    </a:solidFill>
                    <a:latin typeface="+mn-lt"/>
                    <a:ea typeface="+mn-ea"/>
                    <a:cs typeface="+mn-cs"/>
                  </a:defRPr>
                </a:lvl5pPr>
                <a:lvl6pPr marL="1886453" indent="-171496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9444" indent="-171496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2436" indent="-171496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5427" indent="-171496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 defTabSz="155375">
                  <a:lnSpc>
                    <a:spcPct val="85000"/>
                  </a:lnSpc>
                  <a:spcBef>
                    <a:spcPts val="23"/>
                  </a:spcBef>
                  <a:buNone/>
                  <a:defRPr/>
                </a:pPr>
                <a:r>
                  <a:rPr lang="nl-NL" sz="815" dirty="0">
                    <a:solidFill>
                      <a:srgbClr val="8098AA"/>
                    </a:solidFill>
                    <a:latin typeface="Roboto Condensed" panose="02000000000000000000" pitchFamily="2" charset="0"/>
                    <a:ea typeface="Roboto Condensed" panose="02000000000000000000" pitchFamily="2" charset="0"/>
                    <a:cs typeface="Arial" panose="020B0604020202020204" pitchFamily="34" charset="0"/>
                  </a:rPr>
                  <a:t>Belastingaangiftes</a:t>
                </a:r>
              </a:p>
            </p:txBody>
          </p:sp>
        </p:grpSp>
        <p:grpSp>
          <p:nvGrpSpPr>
            <p:cNvPr id="1141" name="Group 1140">
              <a:extLst>
                <a:ext uri="{FF2B5EF4-FFF2-40B4-BE49-F238E27FC236}">
                  <a16:creationId xmlns:a16="http://schemas.microsoft.com/office/drawing/2014/main" id="{AF060101-9238-4740-B459-0A96B60FC7FC}"/>
                </a:ext>
              </a:extLst>
            </p:cNvPr>
            <p:cNvGrpSpPr/>
            <p:nvPr/>
          </p:nvGrpSpPr>
          <p:grpSpPr>
            <a:xfrm>
              <a:off x="22349045" y="25804671"/>
              <a:ext cx="6120000" cy="1260000"/>
              <a:chOff x="2119248" y="10307782"/>
              <a:chExt cx="5062903" cy="1368120"/>
            </a:xfrm>
          </p:grpSpPr>
          <p:sp>
            <p:nvSpPr>
              <p:cNvPr id="1142" name="Rectangle 1141">
                <a:extLst>
                  <a:ext uri="{FF2B5EF4-FFF2-40B4-BE49-F238E27FC236}">
                    <a16:creationId xmlns:a16="http://schemas.microsoft.com/office/drawing/2014/main" id="{4F2B6043-91DA-2EF8-AFEE-0BA9298AAD9C}"/>
                  </a:ext>
                </a:extLst>
              </p:cNvPr>
              <p:cNvSpPr/>
              <p:nvPr/>
            </p:nvSpPr>
            <p:spPr>
              <a:xfrm>
                <a:off x="2167497" y="10307782"/>
                <a:ext cx="5003639" cy="136812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815" dirty="0">
                  <a:latin typeface="Roboto Condensed" panose="02000000000000000000" pitchFamily="2" charset="0"/>
                  <a:ea typeface="Roboto Condensed" panose="02000000000000000000" pitchFamily="2" charset="0"/>
                </a:endParaRPr>
              </a:p>
            </p:txBody>
          </p:sp>
          <p:sp>
            <p:nvSpPr>
              <p:cNvPr id="1143" name="Content Placeholder 2">
                <a:extLst>
                  <a:ext uri="{FF2B5EF4-FFF2-40B4-BE49-F238E27FC236}">
                    <a16:creationId xmlns:a16="http://schemas.microsoft.com/office/drawing/2014/main" id="{4823443A-60CD-514E-A76E-76FA358946C5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119248" y="10579273"/>
                <a:ext cx="5062903" cy="825139"/>
              </a:xfrm>
              <a:prstGeom prst="rect">
                <a:avLst/>
              </a:prstGeom>
            </p:spPr>
            <p:txBody>
              <a:bodyPr vert="horz" lIns="0" tIns="0" rIns="0" bIns="0" rtlCol="0" anchor="ctr">
                <a:noAutofit/>
              </a:bodyPr>
              <a:lstStyle>
                <a:lvl1pPr marL="171496" indent="-171496" algn="l" defTabSz="685983" rtl="0" eaLnBrk="1" latinLnBrk="0" hangingPunct="1">
                  <a:lnSpc>
                    <a:spcPct val="90000"/>
                  </a:lnSpc>
                  <a:spcBef>
                    <a:spcPts val="750"/>
                  </a:spcBef>
                  <a:buClr>
                    <a:srgbClr val="1F94D1"/>
                  </a:buClr>
                  <a:buFont typeface="Arial"/>
                  <a:buChar char="•"/>
                  <a:defRPr sz="2101" kern="1200">
                    <a:solidFill>
                      <a:srgbClr val="00467B"/>
                    </a:solidFill>
                    <a:latin typeface="+mn-lt"/>
                    <a:ea typeface="+mn-ea"/>
                    <a:cs typeface="+mn-cs"/>
                  </a:defRPr>
                </a:lvl1pPr>
                <a:lvl2pPr marL="292100" indent="-112713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Clr>
                    <a:srgbClr val="1F94D1"/>
                  </a:buClr>
                  <a:buFont typeface="Arial" panose="020B0604020202020204" pitchFamily="34" charset="0"/>
                  <a:buChar char="–"/>
                  <a:tabLst/>
                  <a:defRPr sz="1800" kern="1200">
                    <a:solidFill>
                      <a:srgbClr val="00467B"/>
                    </a:solidFill>
                    <a:latin typeface="+mn-lt"/>
                    <a:ea typeface="+mn-ea"/>
                    <a:cs typeface="+mn-cs"/>
                  </a:defRPr>
                </a:lvl2pPr>
                <a:lvl3pPr marL="460375" indent="-112713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Clr>
                    <a:srgbClr val="1F94D1"/>
                  </a:buClr>
                  <a:buSzPct val="60000"/>
                  <a:buFont typeface="Arial" panose="020B0604020202020204" pitchFamily="34" charset="0"/>
                  <a:buChar char="►"/>
                  <a:tabLst/>
                  <a:defRPr sz="1500" kern="1200">
                    <a:solidFill>
                      <a:srgbClr val="00467B"/>
                    </a:solidFill>
                    <a:latin typeface="+mn-lt"/>
                    <a:ea typeface="+mn-ea"/>
                    <a:cs typeface="+mn-cs"/>
                  </a:defRPr>
                </a:lvl3pPr>
                <a:lvl4pPr marL="573088" indent="-112713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Clr>
                    <a:srgbClr val="1F94D1"/>
                  </a:buClr>
                  <a:buFont typeface="Wingdings" panose="05000000000000000000" pitchFamily="2" charset="2"/>
                  <a:buChar char="§"/>
                  <a:tabLst/>
                  <a:defRPr sz="1350" kern="1200">
                    <a:solidFill>
                      <a:srgbClr val="00467B"/>
                    </a:solidFill>
                    <a:latin typeface="+mn-lt"/>
                    <a:ea typeface="+mn-ea"/>
                    <a:cs typeface="+mn-cs"/>
                  </a:defRPr>
                </a:lvl4pPr>
                <a:lvl5pPr marL="695325" indent="-122238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Clr>
                    <a:srgbClr val="1F94D1"/>
                  </a:buClr>
                  <a:buSzPct val="80000"/>
                  <a:buFont typeface="Courier New" panose="02070309020205020404" pitchFamily="49" charset="0"/>
                  <a:buChar char="o"/>
                  <a:tabLst/>
                  <a:defRPr sz="1350" kern="1200">
                    <a:solidFill>
                      <a:srgbClr val="00467B"/>
                    </a:solidFill>
                    <a:latin typeface="+mn-lt"/>
                    <a:ea typeface="+mn-ea"/>
                    <a:cs typeface="+mn-cs"/>
                  </a:defRPr>
                </a:lvl5pPr>
                <a:lvl6pPr marL="1886453" indent="-171496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9444" indent="-171496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2436" indent="-171496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5427" indent="-171496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>
                  <a:lnSpc>
                    <a:spcPct val="85000"/>
                  </a:lnSpc>
                  <a:spcBef>
                    <a:spcPts val="23"/>
                  </a:spcBef>
                  <a:buNone/>
                  <a:defRPr/>
                </a:pPr>
                <a:r>
                  <a:rPr lang="nl-NL" sz="815" dirty="0">
                    <a:solidFill>
                      <a:srgbClr val="8098AA"/>
                    </a:solidFill>
                    <a:latin typeface="Roboto Condensed"/>
                    <a:cs typeface="Arial" panose="020B0604020202020204" pitchFamily="34" charset="0"/>
                  </a:rPr>
                  <a:t>Verlofuren administratie, aanmaken reserves</a:t>
                </a:r>
              </a:p>
            </p:txBody>
          </p:sp>
        </p:grpSp>
        <p:grpSp>
          <p:nvGrpSpPr>
            <p:cNvPr id="1146" name="Group 1145">
              <a:extLst>
                <a:ext uri="{FF2B5EF4-FFF2-40B4-BE49-F238E27FC236}">
                  <a16:creationId xmlns:a16="http://schemas.microsoft.com/office/drawing/2014/main" id="{E01849D0-55D7-B635-C662-4A5C1B5C94C7}"/>
                </a:ext>
              </a:extLst>
            </p:cNvPr>
            <p:cNvGrpSpPr/>
            <p:nvPr/>
          </p:nvGrpSpPr>
          <p:grpSpPr>
            <a:xfrm>
              <a:off x="22349045" y="27083907"/>
              <a:ext cx="6120000" cy="1260000"/>
              <a:chOff x="2119248" y="10307782"/>
              <a:chExt cx="5062903" cy="1368120"/>
            </a:xfrm>
          </p:grpSpPr>
          <p:sp>
            <p:nvSpPr>
              <p:cNvPr id="1147" name="Rectangle 1146">
                <a:extLst>
                  <a:ext uri="{FF2B5EF4-FFF2-40B4-BE49-F238E27FC236}">
                    <a16:creationId xmlns:a16="http://schemas.microsoft.com/office/drawing/2014/main" id="{6029407B-D957-7187-ECC2-8332D83380D4}"/>
                  </a:ext>
                </a:extLst>
              </p:cNvPr>
              <p:cNvSpPr/>
              <p:nvPr/>
            </p:nvSpPr>
            <p:spPr>
              <a:xfrm>
                <a:off x="2167497" y="10307782"/>
                <a:ext cx="5003639" cy="136812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815" dirty="0">
                  <a:latin typeface="Roboto Condensed" panose="02000000000000000000" pitchFamily="2" charset="0"/>
                  <a:ea typeface="Roboto Condensed" panose="02000000000000000000" pitchFamily="2" charset="0"/>
                </a:endParaRPr>
              </a:p>
            </p:txBody>
          </p:sp>
          <p:sp>
            <p:nvSpPr>
              <p:cNvPr id="1148" name="Content Placeholder 2">
                <a:extLst>
                  <a:ext uri="{FF2B5EF4-FFF2-40B4-BE49-F238E27FC236}">
                    <a16:creationId xmlns:a16="http://schemas.microsoft.com/office/drawing/2014/main" id="{784EBC39-532A-CB75-4376-1FE30B7EF28D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119248" y="10579273"/>
                <a:ext cx="5062903" cy="825139"/>
              </a:xfrm>
              <a:prstGeom prst="rect">
                <a:avLst/>
              </a:prstGeom>
            </p:spPr>
            <p:txBody>
              <a:bodyPr vert="horz" lIns="0" tIns="0" rIns="0" bIns="0" rtlCol="0" anchor="ctr">
                <a:noAutofit/>
              </a:bodyPr>
              <a:lstStyle>
                <a:lvl1pPr marL="171496" indent="-171496" algn="l" defTabSz="685983" rtl="0" eaLnBrk="1" latinLnBrk="0" hangingPunct="1">
                  <a:lnSpc>
                    <a:spcPct val="90000"/>
                  </a:lnSpc>
                  <a:spcBef>
                    <a:spcPts val="750"/>
                  </a:spcBef>
                  <a:buClr>
                    <a:srgbClr val="1F94D1"/>
                  </a:buClr>
                  <a:buFont typeface="Arial"/>
                  <a:buChar char="•"/>
                  <a:defRPr sz="2101" kern="1200">
                    <a:solidFill>
                      <a:srgbClr val="00467B"/>
                    </a:solidFill>
                    <a:latin typeface="+mn-lt"/>
                    <a:ea typeface="+mn-ea"/>
                    <a:cs typeface="+mn-cs"/>
                  </a:defRPr>
                </a:lvl1pPr>
                <a:lvl2pPr marL="292100" indent="-112713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Clr>
                    <a:srgbClr val="1F94D1"/>
                  </a:buClr>
                  <a:buFont typeface="Arial" panose="020B0604020202020204" pitchFamily="34" charset="0"/>
                  <a:buChar char="–"/>
                  <a:tabLst/>
                  <a:defRPr sz="1800" kern="1200">
                    <a:solidFill>
                      <a:srgbClr val="00467B"/>
                    </a:solidFill>
                    <a:latin typeface="+mn-lt"/>
                    <a:ea typeface="+mn-ea"/>
                    <a:cs typeface="+mn-cs"/>
                  </a:defRPr>
                </a:lvl2pPr>
                <a:lvl3pPr marL="460375" indent="-112713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Clr>
                    <a:srgbClr val="1F94D1"/>
                  </a:buClr>
                  <a:buSzPct val="60000"/>
                  <a:buFont typeface="Arial" panose="020B0604020202020204" pitchFamily="34" charset="0"/>
                  <a:buChar char="►"/>
                  <a:tabLst/>
                  <a:defRPr sz="1500" kern="1200">
                    <a:solidFill>
                      <a:srgbClr val="00467B"/>
                    </a:solidFill>
                    <a:latin typeface="+mn-lt"/>
                    <a:ea typeface="+mn-ea"/>
                    <a:cs typeface="+mn-cs"/>
                  </a:defRPr>
                </a:lvl3pPr>
                <a:lvl4pPr marL="573088" indent="-112713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Clr>
                    <a:srgbClr val="1F94D1"/>
                  </a:buClr>
                  <a:buFont typeface="Wingdings" panose="05000000000000000000" pitchFamily="2" charset="2"/>
                  <a:buChar char="§"/>
                  <a:tabLst/>
                  <a:defRPr sz="1350" kern="1200">
                    <a:solidFill>
                      <a:srgbClr val="00467B"/>
                    </a:solidFill>
                    <a:latin typeface="+mn-lt"/>
                    <a:ea typeface="+mn-ea"/>
                    <a:cs typeface="+mn-cs"/>
                  </a:defRPr>
                </a:lvl4pPr>
                <a:lvl5pPr marL="695325" indent="-122238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Clr>
                    <a:srgbClr val="1F94D1"/>
                  </a:buClr>
                  <a:buSzPct val="80000"/>
                  <a:buFont typeface="Courier New" panose="02070309020205020404" pitchFamily="49" charset="0"/>
                  <a:buChar char="o"/>
                  <a:tabLst/>
                  <a:defRPr sz="1350" kern="1200">
                    <a:solidFill>
                      <a:srgbClr val="00467B"/>
                    </a:solidFill>
                    <a:latin typeface="+mn-lt"/>
                    <a:ea typeface="+mn-ea"/>
                    <a:cs typeface="+mn-cs"/>
                  </a:defRPr>
                </a:lvl5pPr>
                <a:lvl6pPr marL="1886453" indent="-171496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9444" indent="-171496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2436" indent="-171496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5427" indent="-171496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>
                  <a:lnSpc>
                    <a:spcPct val="85000"/>
                  </a:lnSpc>
                  <a:spcBef>
                    <a:spcPts val="23"/>
                  </a:spcBef>
                  <a:buNone/>
                  <a:defRPr/>
                </a:pPr>
                <a:r>
                  <a:rPr lang="nl-NL" sz="815" dirty="0">
                    <a:solidFill>
                      <a:srgbClr val="8098AA"/>
                    </a:solidFill>
                    <a:latin typeface="Roboto Condensed"/>
                    <a:cs typeface="Arial" panose="020B0604020202020204" pitchFamily="34" charset="0"/>
                  </a:rPr>
                  <a:t>UWV vergoedingen (verlof) aanvragen</a:t>
                </a:r>
              </a:p>
            </p:txBody>
          </p:sp>
        </p:grpSp>
        <p:grpSp>
          <p:nvGrpSpPr>
            <p:cNvPr id="1149" name="Group 1148">
              <a:extLst>
                <a:ext uri="{FF2B5EF4-FFF2-40B4-BE49-F238E27FC236}">
                  <a16:creationId xmlns:a16="http://schemas.microsoft.com/office/drawing/2014/main" id="{228C662E-7D05-69D4-45C0-3D857D72AB63}"/>
                </a:ext>
              </a:extLst>
            </p:cNvPr>
            <p:cNvGrpSpPr/>
            <p:nvPr/>
          </p:nvGrpSpPr>
          <p:grpSpPr>
            <a:xfrm>
              <a:off x="28907871" y="24525435"/>
              <a:ext cx="6120000" cy="1260000"/>
              <a:chOff x="2119248" y="10307782"/>
              <a:chExt cx="5062903" cy="1368120"/>
            </a:xfrm>
          </p:grpSpPr>
          <p:sp>
            <p:nvSpPr>
              <p:cNvPr id="1150" name="Rectangle 1149">
                <a:extLst>
                  <a:ext uri="{FF2B5EF4-FFF2-40B4-BE49-F238E27FC236}">
                    <a16:creationId xmlns:a16="http://schemas.microsoft.com/office/drawing/2014/main" id="{B9BA2E52-BE8B-57F4-F79E-E5E28CF5FEC7}"/>
                  </a:ext>
                </a:extLst>
              </p:cNvPr>
              <p:cNvSpPr/>
              <p:nvPr/>
            </p:nvSpPr>
            <p:spPr>
              <a:xfrm>
                <a:off x="2167497" y="10307782"/>
                <a:ext cx="5003639" cy="136812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815" dirty="0">
                  <a:latin typeface="Roboto Condensed" panose="02000000000000000000" pitchFamily="2" charset="0"/>
                  <a:ea typeface="Roboto Condensed" panose="02000000000000000000" pitchFamily="2" charset="0"/>
                </a:endParaRPr>
              </a:p>
            </p:txBody>
          </p:sp>
          <p:sp>
            <p:nvSpPr>
              <p:cNvPr id="1151" name="Content Placeholder 2">
                <a:extLst>
                  <a:ext uri="{FF2B5EF4-FFF2-40B4-BE49-F238E27FC236}">
                    <a16:creationId xmlns:a16="http://schemas.microsoft.com/office/drawing/2014/main" id="{89F17F04-3906-F00F-871F-D1945DCC5F2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119248" y="10579273"/>
                <a:ext cx="5062903" cy="825139"/>
              </a:xfrm>
              <a:prstGeom prst="rect">
                <a:avLst/>
              </a:prstGeom>
            </p:spPr>
            <p:txBody>
              <a:bodyPr vert="horz" lIns="0" tIns="0" rIns="0" bIns="0" rtlCol="0" anchor="ctr">
                <a:noAutofit/>
              </a:bodyPr>
              <a:lstStyle>
                <a:lvl1pPr marL="171496" indent="-171496" algn="l" defTabSz="685983" rtl="0" eaLnBrk="1" latinLnBrk="0" hangingPunct="1">
                  <a:lnSpc>
                    <a:spcPct val="90000"/>
                  </a:lnSpc>
                  <a:spcBef>
                    <a:spcPts val="750"/>
                  </a:spcBef>
                  <a:buClr>
                    <a:srgbClr val="1F94D1"/>
                  </a:buClr>
                  <a:buFont typeface="Arial"/>
                  <a:buChar char="•"/>
                  <a:defRPr sz="2101" kern="1200">
                    <a:solidFill>
                      <a:srgbClr val="00467B"/>
                    </a:solidFill>
                    <a:latin typeface="+mn-lt"/>
                    <a:ea typeface="+mn-ea"/>
                    <a:cs typeface="+mn-cs"/>
                  </a:defRPr>
                </a:lvl1pPr>
                <a:lvl2pPr marL="292100" indent="-112713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Clr>
                    <a:srgbClr val="1F94D1"/>
                  </a:buClr>
                  <a:buFont typeface="Arial" panose="020B0604020202020204" pitchFamily="34" charset="0"/>
                  <a:buChar char="–"/>
                  <a:tabLst/>
                  <a:defRPr sz="1800" kern="1200">
                    <a:solidFill>
                      <a:srgbClr val="00467B"/>
                    </a:solidFill>
                    <a:latin typeface="+mn-lt"/>
                    <a:ea typeface="+mn-ea"/>
                    <a:cs typeface="+mn-cs"/>
                  </a:defRPr>
                </a:lvl2pPr>
                <a:lvl3pPr marL="460375" indent="-112713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Clr>
                    <a:srgbClr val="1F94D1"/>
                  </a:buClr>
                  <a:buSzPct val="60000"/>
                  <a:buFont typeface="Arial" panose="020B0604020202020204" pitchFamily="34" charset="0"/>
                  <a:buChar char="►"/>
                  <a:tabLst/>
                  <a:defRPr sz="1500" kern="1200">
                    <a:solidFill>
                      <a:srgbClr val="00467B"/>
                    </a:solidFill>
                    <a:latin typeface="+mn-lt"/>
                    <a:ea typeface="+mn-ea"/>
                    <a:cs typeface="+mn-cs"/>
                  </a:defRPr>
                </a:lvl3pPr>
                <a:lvl4pPr marL="573088" indent="-112713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Clr>
                    <a:srgbClr val="1F94D1"/>
                  </a:buClr>
                  <a:buFont typeface="Wingdings" panose="05000000000000000000" pitchFamily="2" charset="2"/>
                  <a:buChar char="§"/>
                  <a:tabLst/>
                  <a:defRPr sz="1350" kern="1200">
                    <a:solidFill>
                      <a:srgbClr val="00467B"/>
                    </a:solidFill>
                    <a:latin typeface="+mn-lt"/>
                    <a:ea typeface="+mn-ea"/>
                    <a:cs typeface="+mn-cs"/>
                  </a:defRPr>
                </a:lvl4pPr>
                <a:lvl5pPr marL="695325" indent="-122238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Clr>
                    <a:srgbClr val="1F94D1"/>
                  </a:buClr>
                  <a:buSzPct val="80000"/>
                  <a:buFont typeface="Courier New" panose="02070309020205020404" pitchFamily="49" charset="0"/>
                  <a:buChar char="o"/>
                  <a:tabLst/>
                  <a:defRPr sz="1350" kern="1200">
                    <a:solidFill>
                      <a:srgbClr val="00467B"/>
                    </a:solidFill>
                    <a:latin typeface="+mn-lt"/>
                    <a:ea typeface="+mn-ea"/>
                    <a:cs typeface="+mn-cs"/>
                  </a:defRPr>
                </a:lvl5pPr>
                <a:lvl6pPr marL="1886453" indent="-171496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9444" indent="-171496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2436" indent="-171496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5427" indent="-171496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 defTabSz="155375">
                  <a:lnSpc>
                    <a:spcPct val="85000"/>
                  </a:lnSpc>
                  <a:spcBef>
                    <a:spcPts val="23"/>
                  </a:spcBef>
                  <a:buNone/>
                  <a:defRPr/>
                </a:pPr>
                <a:r>
                  <a:rPr lang="nl-NL" sz="815" dirty="0">
                    <a:solidFill>
                      <a:srgbClr val="8098AA"/>
                    </a:solidFill>
                    <a:latin typeface="Roboto Condensed" panose="02000000000000000000" pitchFamily="2" charset="0"/>
                    <a:ea typeface="Roboto Condensed" panose="02000000000000000000" pitchFamily="2" charset="0"/>
                    <a:cs typeface="Arial" panose="020B0604020202020204" pitchFamily="34" charset="0"/>
                  </a:rPr>
                  <a:t>Beheren opleidingsbudgetten</a:t>
                </a:r>
              </a:p>
            </p:txBody>
          </p:sp>
        </p:grpSp>
        <p:grpSp>
          <p:nvGrpSpPr>
            <p:cNvPr id="1152" name="Group 1151">
              <a:extLst>
                <a:ext uri="{FF2B5EF4-FFF2-40B4-BE49-F238E27FC236}">
                  <a16:creationId xmlns:a16="http://schemas.microsoft.com/office/drawing/2014/main" id="{BEAA7BE7-87B5-4698-CD7F-31591E6D9CBC}"/>
                </a:ext>
              </a:extLst>
            </p:cNvPr>
            <p:cNvGrpSpPr/>
            <p:nvPr/>
          </p:nvGrpSpPr>
          <p:grpSpPr>
            <a:xfrm>
              <a:off x="35538813" y="24525435"/>
              <a:ext cx="6120000" cy="1260000"/>
              <a:chOff x="2119248" y="10307782"/>
              <a:chExt cx="5062903" cy="1368120"/>
            </a:xfrm>
          </p:grpSpPr>
          <p:sp>
            <p:nvSpPr>
              <p:cNvPr id="1153" name="Rectangle 1152">
                <a:extLst>
                  <a:ext uri="{FF2B5EF4-FFF2-40B4-BE49-F238E27FC236}">
                    <a16:creationId xmlns:a16="http://schemas.microsoft.com/office/drawing/2014/main" id="{35701598-BC48-CC14-6DCE-418BE3A6271D}"/>
                  </a:ext>
                </a:extLst>
              </p:cNvPr>
              <p:cNvSpPr/>
              <p:nvPr/>
            </p:nvSpPr>
            <p:spPr>
              <a:xfrm>
                <a:off x="2167497" y="10307782"/>
                <a:ext cx="5003639" cy="136812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815" dirty="0">
                  <a:latin typeface="Roboto Condensed" panose="02000000000000000000" pitchFamily="2" charset="0"/>
                  <a:ea typeface="Roboto Condensed" panose="02000000000000000000" pitchFamily="2" charset="0"/>
                </a:endParaRPr>
              </a:p>
            </p:txBody>
          </p:sp>
          <p:sp>
            <p:nvSpPr>
              <p:cNvPr id="1154" name="Content Placeholder 2">
                <a:extLst>
                  <a:ext uri="{FF2B5EF4-FFF2-40B4-BE49-F238E27FC236}">
                    <a16:creationId xmlns:a16="http://schemas.microsoft.com/office/drawing/2014/main" id="{F4BFF5C5-2544-5F92-7E4D-3FBD1FB40825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119248" y="10579273"/>
                <a:ext cx="5062903" cy="825139"/>
              </a:xfrm>
              <a:prstGeom prst="rect">
                <a:avLst/>
              </a:prstGeom>
            </p:spPr>
            <p:txBody>
              <a:bodyPr vert="horz" lIns="0" tIns="0" rIns="0" bIns="0" rtlCol="0" anchor="ctr">
                <a:noAutofit/>
              </a:bodyPr>
              <a:lstStyle>
                <a:lvl1pPr marL="171496" indent="-171496" algn="l" defTabSz="685983" rtl="0" eaLnBrk="1" latinLnBrk="0" hangingPunct="1">
                  <a:lnSpc>
                    <a:spcPct val="90000"/>
                  </a:lnSpc>
                  <a:spcBef>
                    <a:spcPts val="750"/>
                  </a:spcBef>
                  <a:buClr>
                    <a:srgbClr val="1F94D1"/>
                  </a:buClr>
                  <a:buFont typeface="Arial"/>
                  <a:buChar char="•"/>
                  <a:defRPr sz="2101" kern="1200">
                    <a:solidFill>
                      <a:srgbClr val="00467B"/>
                    </a:solidFill>
                    <a:latin typeface="+mn-lt"/>
                    <a:ea typeface="+mn-ea"/>
                    <a:cs typeface="+mn-cs"/>
                  </a:defRPr>
                </a:lvl1pPr>
                <a:lvl2pPr marL="292100" indent="-112713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Clr>
                    <a:srgbClr val="1F94D1"/>
                  </a:buClr>
                  <a:buFont typeface="Arial" panose="020B0604020202020204" pitchFamily="34" charset="0"/>
                  <a:buChar char="–"/>
                  <a:tabLst/>
                  <a:defRPr sz="1800" kern="1200">
                    <a:solidFill>
                      <a:srgbClr val="00467B"/>
                    </a:solidFill>
                    <a:latin typeface="+mn-lt"/>
                    <a:ea typeface="+mn-ea"/>
                    <a:cs typeface="+mn-cs"/>
                  </a:defRPr>
                </a:lvl2pPr>
                <a:lvl3pPr marL="460375" indent="-112713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Clr>
                    <a:srgbClr val="1F94D1"/>
                  </a:buClr>
                  <a:buSzPct val="60000"/>
                  <a:buFont typeface="Arial" panose="020B0604020202020204" pitchFamily="34" charset="0"/>
                  <a:buChar char="►"/>
                  <a:tabLst/>
                  <a:defRPr sz="1500" kern="1200">
                    <a:solidFill>
                      <a:srgbClr val="00467B"/>
                    </a:solidFill>
                    <a:latin typeface="+mn-lt"/>
                    <a:ea typeface="+mn-ea"/>
                    <a:cs typeface="+mn-cs"/>
                  </a:defRPr>
                </a:lvl3pPr>
                <a:lvl4pPr marL="573088" indent="-112713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Clr>
                    <a:srgbClr val="1F94D1"/>
                  </a:buClr>
                  <a:buFont typeface="Wingdings" panose="05000000000000000000" pitchFamily="2" charset="2"/>
                  <a:buChar char="§"/>
                  <a:tabLst/>
                  <a:defRPr sz="1350" kern="1200">
                    <a:solidFill>
                      <a:srgbClr val="00467B"/>
                    </a:solidFill>
                    <a:latin typeface="+mn-lt"/>
                    <a:ea typeface="+mn-ea"/>
                    <a:cs typeface="+mn-cs"/>
                  </a:defRPr>
                </a:lvl4pPr>
                <a:lvl5pPr marL="695325" indent="-122238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Clr>
                    <a:srgbClr val="1F94D1"/>
                  </a:buClr>
                  <a:buSzPct val="80000"/>
                  <a:buFont typeface="Courier New" panose="02070309020205020404" pitchFamily="49" charset="0"/>
                  <a:buChar char="o"/>
                  <a:tabLst/>
                  <a:defRPr sz="1350" kern="1200">
                    <a:solidFill>
                      <a:srgbClr val="00467B"/>
                    </a:solidFill>
                    <a:latin typeface="+mn-lt"/>
                    <a:ea typeface="+mn-ea"/>
                    <a:cs typeface="+mn-cs"/>
                  </a:defRPr>
                </a:lvl5pPr>
                <a:lvl6pPr marL="1886453" indent="-171496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9444" indent="-171496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2436" indent="-171496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5427" indent="-171496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 defTabSz="155375">
                  <a:lnSpc>
                    <a:spcPct val="85000"/>
                  </a:lnSpc>
                  <a:spcBef>
                    <a:spcPts val="23"/>
                  </a:spcBef>
                  <a:buNone/>
                  <a:defRPr/>
                </a:pPr>
                <a:r>
                  <a:rPr lang="nl-NL" sz="815" dirty="0">
                    <a:solidFill>
                      <a:srgbClr val="8098AA"/>
                    </a:solidFill>
                    <a:latin typeface="Roboto Condensed" panose="02000000000000000000" pitchFamily="2" charset="0"/>
                    <a:ea typeface="Roboto Condensed" panose="02000000000000000000" pitchFamily="2" charset="0"/>
                    <a:cs typeface="Arial" panose="020B0604020202020204" pitchFamily="34" charset="0"/>
                  </a:rPr>
                  <a:t>Beëindiging toegang pand en systemen</a:t>
                </a:r>
              </a:p>
            </p:txBody>
          </p:sp>
        </p:grpSp>
        <p:grpSp>
          <p:nvGrpSpPr>
            <p:cNvPr id="1155" name="Group 1154">
              <a:extLst>
                <a:ext uri="{FF2B5EF4-FFF2-40B4-BE49-F238E27FC236}">
                  <a16:creationId xmlns:a16="http://schemas.microsoft.com/office/drawing/2014/main" id="{B4BCB49A-4A96-C090-F105-6E23947F6360}"/>
                </a:ext>
              </a:extLst>
            </p:cNvPr>
            <p:cNvGrpSpPr/>
            <p:nvPr/>
          </p:nvGrpSpPr>
          <p:grpSpPr>
            <a:xfrm>
              <a:off x="35538813" y="25804671"/>
              <a:ext cx="6120000" cy="1260000"/>
              <a:chOff x="2119248" y="10307782"/>
              <a:chExt cx="5062903" cy="1368120"/>
            </a:xfrm>
          </p:grpSpPr>
          <p:sp>
            <p:nvSpPr>
              <p:cNvPr id="1156" name="Rectangle 1155">
                <a:extLst>
                  <a:ext uri="{FF2B5EF4-FFF2-40B4-BE49-F238E27FC236}">
                    <a16:creationId xmlns:a16="http://schemas.microsoft.com/office/drawing/2014/main" id="{D42AD79D-AA92-7AFA-BF95-A17474FA6364}"/>
                  </a:ext>
                </a:extLst>
              </p:cNvPr>
              <p:cNvSpPr/>
              <p:nvPr/>
            </p:nvSpPr>
            <p:spPr>
              <a:xfrm>
                <a:off x="2167497" y="10307782"/>
                <a:ext cx="5003639" cy="136812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815" dirty="0">
                  <a:latin typeface="Roboto Condensed" panose="02000000000000000000" pitchFamily="2" charset="0"/>
                  <a:ea typeface="Roboto Condensed" panose="02000000000000000000" pitchFamily="2" charset="0"/>
                </a:endParaRPr>
              </a:p>
            </p:txBody>
          </p:sp>
          <p:sp>
            <p:nvSpPr>
              <p:cNvPr id="1157" name="Content Placeholder 2">
                <a:extLst>
                  <a:ext uri="{FF2B5EF4-FFF2-40B4-BE49-F238E27FC236}">
                    <a16:creationId xmlns:a16="http://schemas.microsoft.com/office/drawing/2014/main" id="{AA6A9A24-A9DE-4275-D260-FB1B2E43F4C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119248" y="10579273"/>
                <a:ext cx="5062903" cy="825139"/>
              </a:xfrm>
              <a:prstGeom prst="rect">
                <a:avLst/>
              </a:prstGeom>
            </p:spPr>
            <p:txBody>
              <a:bodyPr vert="horz" lIns="0" tIns="0" rIns="0" bIns="0" rtlCol="0" anchor="ctr">
                <a:noAutofit/>
              </a:bodyPr>
              <a:lstStyle>
                <a:lvl1pPr marL="171496" indent="-171496" algn="l" defTabSz="685983" rtl="0" eaLnBrk="1" latinLnBrk="0" hangingPunct="1">
                  <a:lnSpc>
                    <a:spcPct val="90000"/>
                  </a:lnSpc>
                  <a:spcBef>
                    <a:spcPts val="750"/>
                  </a:spcBef>
                  <a:buClr>
                    <a:srgbClr val="1F94D1"/>
                  </a:buClr>
                  <a:buFont typeface="Arial"/>
                  <a:buChar char="•"/>
                  <a:defRPr sz="2101" kern="1200">
                    <a:solidFill>
                      <a:srgbClr val="00467B"/>
                    </a:solidFill>
                    <a:latin typeface="+mn-lt"/>
                    <a:ea typeface="+mn-ea"/>
                    <a:cs typeface="+mn-cs"/>
                  </a:defRPr>
                </a:lvl1pPr>
                <a:lvl2pPr marL="292100" indent="-112713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Clr>
                    <a:srgbClr val="1F94D1"/>
                  </a:buClr>
                  <a:buFont typeface="Arial" panose="020B0604020202020204" pitchFamily="34" charset="0"/>
                  <a:buChar char="–"/>
                  <a:tabLst/>
                  <a:defRPr sz="1800" kern="1200">
                    <a:solidFill>
                      <a:srgbClr val="00467B"/>
                    </a:solidFill>
                    <a:latin typeface="+mn-lt"/>
                    <a:ea typeface="+mn-ea"/>
                    <a:cs typeface="+mn-cs"/>
                  </a:defRPr>
                </a:lvl2pPr>
                <a:lvl3pPr marL="460375" indent="-112713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Clr>
                    <a:srgbClr val="1F94D1"/>
                  </a:buClr>
                  <a:buSzPct val="60000"/>
                  <a:buFont typeface="Arial" panose="020B0604020202020204" pitchFamily="34" charset="0"/>
                  <a:buChar char="►"/>
                  <a:tabLst/>
                  <a:defRPr sz="1500" kern="1200">
                    <a:solidFill>
                      <a:srgbClr val="00467B"/>
                    </a:solidFill>
                    <a:latin typeface="+mn-lt"/>
                    <a:ea typeface="+mn-ea"/>
                    <a:cs typeface="+mn-cs"/>
                  </a:defRPr>
                </a:lvl3pPr>
                <a:lvl4pPr marL="573088" indent="-112713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Clr>
                    <a:srgbClr val="1F94D1"/>
                  </a:buClr>
                  <a:buFont typeface="Wingdings" panose="05000000000000000000" pitchFamily="2" charset="2"/>
                  <a:buChar char="§"/>
                  <a:tabLst/>
                  <a:defRPr sz="1350" kern="1200">
                    <a:solidFill>
                      <a:srgbClr val="00467B"/>
                    </a:solidFill>
                    <a:latin typeface="+mn-lt"/>
                    <a:ea typeface="+mn-ea"/>
                    <a:cs typeface="+mn-cs"/>
                  </a:defRPr>
                </a:lvl4pPr>
                <a:lvl5pPr marL="695325" indent="-122238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Clr>
                    <a:srgbClr val="1F94D1"/>
                  </a:buClr>
                  <a:buSzPct val="80000"/>
                  <a:buFont typeface="Courier New" panose="02070309020205020404" pitchFamily="49" charset="0"/>
                  <a:buChar char="o"/>
                  <a:tabLst/>
                  <a:defRPr sz="1350" kern="1200">
                    <a:solidFill>
                      <a:srgbClr val="00467B"/>
                    </a:solidFill>
                    <a:latin typeface="+mn-lt"/>
                    <a:ea typeface="+mn-ea"/>
                    <a:cs typeface="+mn-cs"/>
                  </a:defRPr>
                </a:lvl5pPr>
                <a:lvl6pPr marL="1886453" indent="-171496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9444" indent="-171496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2436" indent="-171496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5427" indent="-171496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 defTabSz="155375">
                  <a:lnSpc>
                    <a:spcPct val="85000"/>
                  </a:lnSpc>
                  <a:spcBef>
                    <a:spcPts val="23"/>
                  </a:spcBef>
                  <a:buNone/>
                  <a:defRPr/>
                </a:pPr>
                <a:r>
                  <a:rPr lang="nl-NL" sz="815" dirty="0">
                    <a:solidFill>
                      <a:srgbClr val="8098AA"/>
                    </a:solidFill>
                    <a:latin typeface="Roboto Condensed" panose="02000000000000000000" pitchFamily="2" charset="0"/>
                    <a:ea typeface="Roboto Condensed" panose="02000000000000000000" pitchFamily="2" charset="0"/>
                    <a:cs typeface="Arial" panose="020B0604020202020204" pitchFamily="34" charset="0"/>
                  </a:rPr>
                  <a:t>(Financiële) verrekeningen einde contract</a:t>
                </a:r>
              </a:p>
            </p:txBody>
          </p:sp>
        </p:grpSp>
        <p:grpSp>
          <p:nvGrpSpPr>
            <p:cNvPr id="1158" name="Group 1157">
              <a:extLst>
                <a:ext uri="{FF2B5EF4-FFF2-40B4-BE49-F238E27FC236}">
                  <a16:creationId xmlns:a16="http://schemas.microsoft.com/office/drawing/2014/main" id="{E4F1F4DF-63D8-88DD-BA4C-B06C9F46A20B}"/>
                </a:ext>
              </a:extLst>
            </p:cNvPr>
            <p:cNvGrpSpPr/>
            <p:nvPr/>
          </p:nvGrpSpPr>
          <p:grpSpPr>
            <a:xfrm>
              <a:off x="35538813" y="27083907"/>
              <a:ext cx="6120000" cy="1260000"/>
              <a:chOff x="2119248" y="10307782"/>
              <a:chExt cx="5062903" cy="1368120"/>
            </a:xfrm>
          </p:grpSpPr>
          <p:sp>
            <p:nvSpPr>
              <p:cNvPr id="1159" name="Rectangle 1158">
                <a:extLst>
                  <a:ext uri="{FF2B5EF4-FFF2-40B4-BE49-F238E27FC236}">
                    <a16:creationId xmlns:a16="http://schemas.microsoft.com/office/drawing/2014/main" id="{731A97DE-0EC2-4EA0-885C-69040961C9A4}"/>
                  </a:ext>
                </a:extLst>
              </p:cNvPr>
              <p:cNvSpPr/>
              <p:nvPr/>
            </p:nvSpPr>
            <p:spPr>
              <a:xfrm>
                <a:off x="2167497" y="10307782"/>
                <a:ext cx="5003639" cy="136812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815" dirty="0">
                  <a:latin typeface="Roboto Condensed" panose="02000000000000000000" pitchFamily="2" charset="0"/>
                  <a:ea typeface="Roboto Condensed" panose="02000000000000000000" pitchFamily="2" charset="0"/>
                </a:endParaRPr>
              </a:p>
            </p:txBody>
          </p:sp>
          <p:sp>
            <p:nvSpPr>
              <p:cNvPr id="1160" name="Content Placeholder 2">
                <a:extLst>
                  <a:ext uri="{FF2B5EF4-FFF2-40B4-BE49-F238E27FC236}">
                    <a16:creationId xmlns:a16="http://schemas.microsoft.com/office/drawing/2014/main" id="{9CE78903-DE30-5887-0E7A-56E6D73BA12F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119248" y="10579273"/>
                <a:ext cx="5062903" cy="825139"/>
              </a:xfrm>
              <a:prstGeom prst="rect">
                <a:avLst/>
              </a:prstGeom>
            </p:spPr>
            <p:txBody>
              <a:bodyPr vert="horz" lIns="0" tIns="0" rIns="0" bIns="0" rtlCol="0" anchor="ctr">
                <a:noAutofit/>
              </a:bodyPr>
              <a:lstStyle>
                <a:lvl1pPr marL="171496" indent="-171496" algn="l" defTabSz="685983" rtl="0" eaLnBrk="1" latinLnBrk="0" hangingPunct="1">
                  <a:lnSpc>
                    <a:spcPct val="90000"/>
                  </a:lnSpc>
                  <a:spcBef>
                    <a:spcPts val="750"/>
                  </a:spcBef>
                  <a:buClr>
                    <a:srgbClr val="1F94D1"/>
                  </a:buClr>
                  <a:buFont typeface="Arial"/>
                  <a:buChar char="•"/>
                  <a:defRPr sz="2101" kern="1200">
                    <a:solidFill>
                      <a:srgbClr val="00467B"/>
                    </a:solidFill>
                    <a:latin typeface="+mn-lt"/>
                    <a:ea typeface="+mn-ea"/>
                    <a:cs typeface="+mn-cs"/>
                  </a:defRPr>
                </a:lvl1pPr>
                <a:lvl2pPr marL="292100" indent="-112713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Clr>
                    <a:srgbClr val="1F94D1"/>
                  </a:buClr>
                  <a:buFont typeface="Arial" panose="020B0604020202020204" pitchFamily="34" charset="0"/>
                  <a:buChar char="–"/>
                  <a:tabLst/>
                  <a:defRPr sz="1800" kern="1200">
                    <a:solidFill>
                      <a:srgbClr val="00467B"/>
                    </a:solidFill>
                    <a:latin typeface="+mn-lt"/>
                    <a:ea typeface="+mn-ea"/>
                    <a:cs typeface="+mn-cs"/>
                  </a:defRPr>
                </a:lvl2pPr>
                <a:lvl3pPr marL="460375" indent="-112713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Clr>
                    <a:srgbClr val="1F94D1"/>
                  </a:buClr>
                  <a:buSzPct val="60000"/>
                  <a:buFont typeface="Arial" panose="020B0604020202020204" pitchFamily="34" charset="0"/>
                  <a:buChar char="►"/>
                  <a:tabLst/>
                  <a:defRPr sz="1500" kern="1200">
                    <a:solidFill>
                      <a:srgbClr val="00467B"/>
                    </a:solidFill>
                    <a:latin typeface="+mn-lt"/>
                    <a:ea typeface="+mn-ea"/>
                    <a:cs typeface="+mn-cs"/>
                  </a:defRPr>
                </a:lvl3pPr>
                <a:lvl4pPr marL="573088" indent="-112713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Clr>
                    <a:srgbClr val="1F94D1"/>
                  </a:buClr>
                  <a:buFont typeface="Wingdings" panose="05000000000000000000" pitchFamily="2" charset="2"/>
                  <a:buChar char="§"/>
                  <a:tabLst/>
                  <a:defRPr sz="1350" kern="1200">
                    <a:solidFill>
                      <a:srgbClr val="00467B"/>
                    </a:solidFill>
                    <a:latin typeface="+mn-lt"/>
                    <a:ea typeface="+mn-ea"/>
                    <a:cs typeface="+mn-cs"/>
                  </a:defRPr>
                </a:lvl4pPr>
                <a:lvl5pPr marL="695325" indent="-122238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Clr>
                    <a:srgbClr val="1F94D1"/>
                  </a:buClr>
                  <a:buSzPct val="80000"/>
                  <a:buFont typeface="Courier New" panose="02070309020205020404" pitchFamily="49" charset="0"/>
                  <a:buChar char="o"/>
                  <a:tabLst/>
                  <a:defRPr sz="1350" kern="1200">
                    <a:solidFill>
                      <a:srgbClr val="00467B"/>
                    </a:solidFill>
                    <a:latin typeface="+mn-lt"/>
                    <a:ea typeface="+mn-ea"/>
                    <a:cs typeface="+mn-cs"/>
                  </a:defRPr>
                </a:lvl5pPr>
                <a:lvl6pPr marL="1886453" indent="-171496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9444" indent="-171496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2436" indent="-171496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5427" indent="-171496" algn="l" defTabSz="685983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 defTabSz="155375">
                  <a:lnSpc>
                    <a:spcPct val="85000"/>
                  </a:lnSpc>
                  <a:spcBef>
                    <a:spcPts val="23"/>
                  </a:spcBef>
                  <a:buNone/>
                  <a:defRPr/>
                </a:pPr>
                <a:r>
                  <a:rPr lang="nl-NL" sz="815" dirty="0">
                    <a:solidFill>
                      <a:srgbClr val="8098AA"/>
                    </a:solidFill>
                    <a:latin typeface="Roboto Condensed" panose="02000000000000000000" pitchFamily="2" charset="0"/>
                    <a:ea typeface="Roboto Condensed" panose="02000000000000000000" pitchFamily="2" charset="0"/>
                    <a:cs typeface="Arial" panose="020B0604020202020204" pitchFamily="34" charset="0"/>
                  </a:rPr>
                  <a:t>Transitievergoeding</a:t>
                </a:r>
              </a:p>
            </p:txBody>
          </p:sp>
        </p:grpSp>
      </p:grpSp>
      <p:sp>
        <p:nvSpPr>
          <p:cNvPr id="1242" name="Rectangle 1241">
            <a:extLst>
              <a:ext uri="{FF2B5EF4-FFF2-40B4-BE49-F238E27FC236}">
                <a16:creationId xmlns:a16="http://schemas.microsoft.com/office/drawing/2014/main" id="{56C0267A-DF9C-A66E-F447-1C122126221E}"/>
              </a:ext>
            </a:extLst>
          </p:cNvPr>
          <p:cNvSpPr/>
          <p:nvPr/>
        </p:nvSpPr>
        <p:spPr>
          <a:xfrm>
            <a:off x="1529586" y="1661021"/>
            <a:ext cx="2068038" cy="176598"/>
          </a:xfrm>
          <a:prstGeom prst="rect">
            <a:avLst/>
          </a:prstGeom>
          <a:solidFill>
            <a:srgbClr val="8098A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408" dirty="0"/>
          </a:p>
        </p:txBody>
      </p:sp>
      <p:sp>
        <p:nvSpPr>
          <p:cNvPr id="1243" name="Oval 1242">
            <a:extLst>
              <a:ext uri="{FF2B5EF4-FFF2-40B4-BE49-F238E27FC236}">
                <a16:creationId xmlns:a16="http://schemas.microsoft.com/office/drawing/2014/main" id="{67CDF20F-362D-A6DB-AE75-31D24FB25FC6}"/>
              </a:ext>
            </a:extLst>
          </p:cNvPr>
          <p:cNvSpPr/>
          <p:nvPr/>
        </p:nvSpPr>
        <p:spPr>
          <a:xfrm>
            <a:off x="1320834" y="1545195"/>
            <a:ext cx="408251" cy="408251"/>
          </a:xfrm>
          <a:prstGeom prst="ellipse">
            <a:avLst/>
          </a:prstGeom>
          <a:solidFill>
            <a:srgbClr val="8098AA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408" dirty="0"/>
          </a:p>
        </p:txBody>
      </p:sp>
      <p:sp>
        <p:nvSpPr>
          <p:cNvPr id="1246" name="TextBox 1245">
            <a:extLst>
              <a:ext uri="{FF2B5EF4-FFF2-40B4-BE49-F238E27FC236}">
                <a16:creationId xmlns:a16="http://schemas.microsoft.com/office/drawing/2014/main" id="{BB632DF7-D91E-8EF1-8DCB-F044E7874C74}"/>
              </a:ext>
            </a:extLst>
          </p:cNvPr>
          <p:cNvSpPr txBox="1"/>
          <p:nvPr/>
        </p:nvSpPr>
        <p:spPr>
          <a:xfrm flipH="1">
            <a:off x="1746752" y="1610443"/>
            <a:ext cx="1853392" cy="2596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1050" dirty="0">
                <a:solidFill>
                  <a:schemeClr val="bg1"/>
                </a:solidFill>
                <a:latin typeface="Roboto Condensed" panose="02000000000000000000" pitchFamily="2" charset="0"/>
                <a:ea typeface="Roboto Condensed" panose="02000000000000000000" pitchFamily="2" charset="0"/>
              </a:rPr>
              <a:t>Zichtbaar voor de medewerker</a:t>
            </a:r>
          </a:p>
        </p:txBody>
      </p:sp>
      <p:pic>
        <p:nvPicPr>
          <p:cNvPr id="1075" name="Graphic 1074" descr="Eye with solid fill">
            <a:extLst>
              <a:ext uri="{FF2B5EF4-FFF2-40B4-BE49-F238E27FC236}">
                <a16:creationId xmlns:a16="http://schemas.microsoft.com/office/drawing/2014/main" id="{E04F903A-B348-4B31-38EB-A33082C16DC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383930" y="1610688"/>
            <a:ext cx="277263" cy="277263"/>
          </a:xfrm>
          <a:prstGeom prst="rect">
            <a:avLst/>
          </a:prstGeom>
        </p:spPr>
      </p:pic>
      <p:sp>
        <p:nvSpPr>
          <p:cNvPr id="2" name="Rectangle 892">
            <a:extLst>
              <a:ext uri="{FF2B5EF4-FFF2-40B4-BE49-F238E27FC236}">
                <a16:creationId xmlns:a16="http://schemas.microsoft.com/office/drawing/2014/main" id="{55BE6F3D-F399-3B42-114A-0B4C6C98EB4C}"/>
              </a:ext>
            </a:extLst>
          </p:cNvPr>
          <p:cNvSpPr/>
          <p:nvPr/>
        </p:nvSpPr>
        <p:spPr>
          <a:xfrm>
            <a:off x="7818045" y="1950581"/>
            <a:ext cx="1386314" cy="285418"/>
          </a:xfrm>
          <a:prstGeom prst="rect">
            <a:avLst/>
          </a:prstGeom>
          <a:solidFill>
            <a:srgbClr val="60B3BB">
              <a:alpha val="40000"/>
            </a:srgb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815" dirty="0"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EA2CC638-082A-D142-3266-9CD254ADB526}"/>
              </a:ext>
            </a:extLst>
          </p:cNvPr>
          <p:cNvSpPr txBox="1">
            <a:spLocks/>
          </p:cNvSpPr>
          <p:nvPr/>
        </p:nvSpPr>
        <p:spPr>
          <a:xfrm>
            <a:off x="7818045" y="1950581"/>
            <a:ext cx="1386314" cy="2854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55375">
              <a:lnSpc>
                <a:spcPct val="85000"/>
              </a:lnSpc>
              <a:spcBef>
                <a:spcPts val="23"/>
              </a:spcBef>
              <a:buNone/>
              <a:defRPr/>
            </a:pPr>
            <a:r>
              <a:rPr lang="nl-NL" sz="815" dirty="0">
                <a:solidFill>
                  <a:srgbClr val="8098AA"/>
                </a:solidFill>
                <a:latin typeface="Roboto Condensed"/>
                <a:cs typeface="Arial" panose="020B0604020202020204" pitchFamily="34" charset="0"/>
              </a:rPr>
              <a:t>Ontwikkelgesprek(ken)</a:t>
            </a:r>
            <a:endParaRPr lang="nl-NL" sz="634" dirty="0">
              <a:solidFill>
                <a:srgbClr val="8098AA"/>
              </a:solidFill>
              <a:latin typeface="Roboto Condensed" panose="02000000000000000000" pitchFamily="2" charset="0"/>
              <a:ea typeface="Roboto Condensed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5" name="Rectangle 1108">
            <a:extLst>
              <a:ext uri="{FF2B5EF4-FFF2-40B4-BE49-F238E27FC236}">
                <a16:creationId xmlns:a16="http://schemas.microsoft.com/office/drawing/2014/main" id="{2F6C6827-7465-1B48-4394-5698A77FA810}"/>
              </a:ext>
            </a:extLst>
          </p:cNvPr>
          <p:cNvSpPr/>
          <p:nvPr/>
        </p:nvSpPr>
        <p:spPr>
          <a:xfrm>
            <a:off x="9323115" y="3804031"/>
            <a:ext cx="1386314" cy="285418"/>
          </a:xfrm>
          <a:prstGeom prst="rect">
            <a:avLst/>
          </a:prstGeom>
          <a:solidFill>
            <a:srgbClr val="60B3BB">
              <a:alpha val="25098"/>
            </a:srgb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55375">
              <a:lnSpc>
                <a:spcPct val="85000"/>
              </a:lnSpc>
              <a:spcBef>
                <a:spcPts val="23"/>
              </a:spcBef>
              <a:buClr>
                <a:srgbClr val="1F94D1"/>
              </a:buClr>
              <a:defRPr/>
            </a:pPr>
            <a:r>
              <a:rPr lang="nl-NL" sz="815" dirty="0">
                <a:solidFill>
                  <a:srgbClr val="8098AA"/>
                </a:solidFill>
                <a:latin typeface="Roboto Condensed"/>
                <a:cs typeface="Arial" panose="020B0604020202020204" pitchFamily="34" charset="0"/>
              </a:rPr>
              <a:t>Eind afrekening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F056140B-D2F1-4D7A-4748-3540E1BC1EE3}"/>
              </a:ext>
            </a:extLst>
          </p:cNvPr>
          <p:cNvSpPr txBox="1"/>
          <p:nvPr/>
        </p:nvSpPr>
        <p:spPr>
          <a:xfrm>
            <a:off x="9122072" y="6630834"/>
            <a:ext cx="3008195" cy="24929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indent="0" algn="ctr" defTabSz="685983">
              <a:lnSpc>
                <a:spcPct val="85000"/>
              </a:lnSpc>
              <a:spcBef>
                <a:spcPts val="100"/>
              </a:spcBef>
              <a:buClr>
                <a:srgbClr val="1F94D1"/>
              </a:buClr>
              <a:buFont typeface="Arial"/>
              <a:buNone/>
              <a:defRPr sz="1200">
                <a:solidFill>
                  <a:srgbClr val="8098AA"/>
                </a:solidFill>
                <a:cs typeface="Arial" panose="020B0604020202020204" pitchFamily="34" charset="0"/>
              </a:defRPr>
            </a:lvl1pPr>
            <a:lvl2pPr marL="292100" indent="-112713" defTabSz="685983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>
                <a:solidFill>
                  <a:srgbClr val="00467B"/>
                </a:solidFill>
              </a:defRPr>
            </a:lvl2pPr>
            <a:lvl3pPr marL="460375" indent="-112713" defTabSz="685983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>
                <a:solidFill>
                  <a:srgbClr val="00467B"/>
                </a:solidFill>
              </a:defRPr>
            </a:lvl3pPr>
            <a:lvl4pPr marL="573088" indent="-112713" defTabSz="685983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>
                <a:solidFill>
                  <a:srgbClr val="00467B"/>
                </a:solidFill>
              </a:defRPr>
            </a:lvl4pPr>
            <a:lvl5pPr marL="695325" indent="-122238" defTabSz="685983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>
                <a:solidFill>
                  <a:srgbClr val="00467B"/>
                </a:solidFill>
              </a:defRPr>
            </a:lvl5pPr>
            <a:lvl6pPr marL="1886453" indent="-171496" defTabSz="685983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/>
            </a:lvl6pPr>
            <a:lvl7pPr marL="2229444" indent="-171496" defTabSz="685983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/>
            </a:lvl7pPr>
            <a:lvl8pPr marL="2572436" indent="-171496" defTabSz="685983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/>
            </a:lvl8pPr>
            <a:lvl9pPr marL="2915427" indent="-171496" defTabSz="685983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/>
            </a:lvl9pPr>
          </a:lstStyle>
          <a:p>
            <a:pPr algn="r"/>
            <a:r>
              <a:rPr lang="nl-NL" sz="1050" dirty="0"/>
              <a:t>Let op: niet elk proces is voor elk bedrijf van toepassing</a:t>
            </a:r>
          </a:p>
        </p:txBody>
      </p:sp>
      <p:sp>
        <p:nvSpPr>
          <p:cNvPr id="7" name="Tekstvak 458">
            <a:extLst>
              <a:ext uri="{FF2B5EF4-FFF2-40B4-BE49-F238E27FC236}">
                <a16:creationId xmlns:a16="http://schemas.microsoft.com/office/drawing/2014/main" id="{C2029872-C3C0-E547-02CB-D64ACADF860C}"/>
              </a:ext>
            </a:extLst>
          </p:cNvPr>
          <p:cNvSpPr txBox="1"/>
          <p:nvPr/>
        </p:nvSpPr>
        <p:spPr>
          <a:xfrm>
            <a:off x="4220083" y="670874"/>
            <a:ext cx="3669665" cy="371192"/>
          </a:xfrm>
          <a:prstGeom prst="rect">
            <a:avLst/>
          </a:prstGeom>
          <a:solidFill>
            <a:srgbClr val="60B3BB"/>
          </a:solidFill>
        </p:spPr>
        <p:txBody>
          <a:bodyPr wrap="square" rtlCol="0">
            <a:spAutoFit/>
          </a:bodyPr>
          <a:lstStyle/>
          <a:p>
            <a:pPr algn="ctr" defTabSz="207112">
              <a:defRPr/>
            </a:pPr>
            <a:r>
              <a:rPr lang="nl-NL" sz="1812" b="1" kern="0" dirty="0">
                <a:solidFill>
                  <a:srgbClr val="E4E4E4"/>
                </a:solidFill>
                <a:latin typeface="Roboto Condensed"/>
              </a:rPr>
              <a:t>HR processen in de medewerkerreis </a:t>
            </a:r>
          </a:p>
        </p:txBody>
      </p:sp>
      <p:pic>
        <p:nvPicPr>
          <p:cNvPr id="1032" name="Graphic 1031">
            <a:extLst>
              <a:ext uri="{FF2B5EF4-FFF2-40B4-BE49-F238E27FC236}">
                <a16:creationId xmlns:a16="http://schemas.microsoft.com/office/drawing/2014/main" id="{5F97FF74-E8A7-F62D-3B9B-AF4CAFDEDB12}"/>
              </a:ext>
            </a:extLst>
          </p:cNvPr>
          <p:cNvPicPr>
            <a:picLocks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152764" y="73736"/>
            <a:ext cx="686529" cy="698101"/>
          </a:xfrm>
          <a:prstGeom prst="rect">
            <a:avLst/>
          </a:prstGeom>
        </p:spPr>
      </p:pic>
      <p:grpSp>
        <p:nvGrpSpPr>
          <p:cNvPr id="550" name="Graphic 179">
            <a:extLst>
              <a:ext uri="{FF2B5EF4-FFF2-40B4-BE49-F238E27FC236}">
                <a16:creationId xmlns:a16="http://schemas.microsoft.com/office/drawing/2014/main" id="{165286BC-DF57-91BF-9D06-1CA35C8C688E}"/>
              </a:ext>
            </a:extLst>
          </p:cNvPr>
          <p:cNvGrpSpPr/>
          <p:nvPr/>
        </p:nvGrpSpPr>
        <p:grpSpPr>
          <a:xfrm>
            <a:off x="6745194" y="146881"/>
            <a:ext cx="473554" cy="547036"/>
            <a:chOff x="3862574" y="6337796"/>
            <a:chExt cx="314867" cy="364582"/>
          </a:xfrm>
          <a:solidFill>
            <a:srgbClr val="98733A"/>
          </a:solidFill>
        </p:grpSpPr>
        <p:sp>
          <p:nvSpPr>
            <p:cNvPr id="551" name="Freeform: Shape 550">
              <a:extLst>
                <a:ext uri="{FF2B5EF4-FFF2-40B4-BE49-F238E27FC236}">
                  <a16:creationId xmlns:a16="http://schemas.microsoft.com/office/drawing/2014/main" id="{2C6741EA-31FB-ABD0-21C0-96A27D6971A1}"/>
                </a:ext>
              </a:extLst>
            </p:cNvPr>
            <p:cNvSpPr/>
            <p:nvPr/>
          </p:nvSpPr>
          <p:spPr>
            <a:xfrm>
              <a:off x="4061438" y="6536659"/>
              <a:ext cx="116003" cy="165719"/>
            </a:xfrm>
            <a:custGeom>
              <a:avLst/>
              <a:gdLst>
                <a:gd name="connsiteX0" fmla="*/ 107718 w 116003"/>
                <a:gd name="connsiteY0" fmla="*/ 165719 h 165719"/>
                <a:gd name="connsiteX1" fmla="*/ 91146 w 116003"/>
                <a:gd name="connsiteY1" fmla="*/ 165719 h 165719"/>
                <a:gd name="connsiteX2" fmla="*/ 82860 w 116003"/>
                <a:gd name="connsiteY2" fmla="*/ 157433 h 165719"/>
                <a:gd name="connsiteX3" fmla="*/ 82860 w 116003"/>
                <a:gd name="connsiteY3" fmla="*/ 33144 h 165719"/>
                <a:gd name="connsiteX4" fmla="*/ 8286 w 116003"/>
                <a:gd name="connsiteY4" fmla="*/ 33144 h 165719"/>
                <a:gd name="connsiteX5" fmla="*/ 0 w 116003"/>
                <a:gd name="connsiteY5" fmla="*/ 24858 h 165719"/>
                <a:gd name="connsiteX6" fmla="*/ 0 w 116003"/>
                <a:gd name="connsiteY6" fmla="*/ 8286 h 165719"/>
                <a:gd name="connsiteX7" fmla="*/ 8286 w 116003"/>
                <a:gd name="connsiteY7" fmla="*/ 0 h 165719"/>
                <a:gd name="connsiteX8" fmla="*/ 99432 w 116003"/>
                <a:gd name="connsiteY8" fmla="*/ 0 h 165719"/>
                <a:gd name="connsiteX9" fmla="*/ 116004 w 116003"/>
                <a:gd name="connsiteY9" fmla="*/ 16572 h 165719"/>
                <a:gd name="connsiteX10" fmla="*/ 116004 w 116003"/>
                <a:gd name="connsiteY10" fmla="*/ 157433 h 165719"/>
                <a:gd name="connsiteX11" fmla="*/ 107718 w 116003"/>
                <a:gd name="connsiteY11" fmla="*/ 165719 h 165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6003" h="165719">
                  <a:moveTo>
                    <a:pt x="107718" y="165719"/>
                  </a:moveTo>
                  <a:lnTo>
                    <a:pt x="91146" y="165719"/>
                  </a:lnTo>
                  <a:cubicBezTo>
                    <a:pt x="86571" y="165719"/>
                    <a:pt x="82860" y="162008"/>
                    <a:pt x="82860" y="157433"/>
                  </a:cubicBezTo>
                  <a:lnTo>
                    <a:pt x="82860" y="33144"/>
                  </a:lnTo>
                  <a:lnTo>
                    <a:pt x="8286" y="33144"/>
                  </a:lnTo>
                  <a:cubicBezTo>
                    <a:pt x="3712" y="33144"/>
                    <a:pt x="0" y="29432"/>
                    <a:pt x="0" y="24858"/>
                  </a:cubicBezTo>
                  <a:lnTo>
                    <a:pt x="0" y="8286"/>
                  </a:lnTo>
                  <a:cubicBezTo>
                    <a:pt x="0" y="3712"/>
                    <a:pt x="3712" y="0"/>
                    <a:pt x="8286" y="0"/>
                  </a:cubicBezTo>
                  <a:lnTo>
                    <a:pt x="99432" y="0"/>
                  </a:lnTo>
                  <a:cubicBezTo>
                    <a:pt x="108580" y="0"/>
                    <a:pt x="116004" y="7423"/>
                    <a:pt x="116004" y="16572"/>
                  </a:cubicBezTo>
                  <a:lnTo>
                    <a:pt x="116004" y="157433"/>
                  </a:lnTo>
                  <a:cubicBezTo>
                    <a:pt x="116004" y="162008"/>
                    <a:pt x="112292" y="165719"/>
                    <a:pt x="107718" y="165719"/>
                  </a:cubicBezTo>
                  <a:close/>
                </a:path>
              </a:pathLst>
            </a:custGeom>
            <a:solidFill>
              <a:srgbClr val="98733A"/>
            </a:solidFill>
            <a:ln w="5429" cap="flat">
              <a:solidFill>
                <a:sysClr val="window" lastClr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207112">
                <a:defRPr/>
              </a:pPr>
              <a:endParaRPr lang="nl-NL" sz="1359" kern="0" dirty="0">
                <a:solidFill>
                  <a:srgbClr val="7C7C7C"/>
                </a:solidFill>
                <a:latin typeface="Roboto Condensed"/>
              </a:endParaRPr>
            </a:p>
          </p:txBody>
        </p:sp>
        <p:sp>
          <p:nvSpPr>
            <p:cNvPr id="552" name="Freeform: Shape 551">
              <a:extLst>
                <a:ext uri="{FF2B5EF4-FFF2-40B4-BE49-F238E27FC236}">
                  <a16:creationId xmlns:a16="http://schemas.microsoft.com/office/drawing/2014/main" id="{884DC019-7676-D1B5-A794-A92A8A6344E0}"/>
                </a:ext>
              </a:extLst>
            </p:cNvPr>
            <p:cNvSpPr/>
            <p:nvPr/>
          </p:nvSpPr>
          <p:spPr>
            <a:xfrm>
              <a:off x="4061438" y="6418873"/>
              <a:ext cx="114227" cy="101214"/>
            </a:xfrm>
            <a:custGeom>
              <a:avLst/>
              <a:gdLst>
                <a:gd name="connsiteX0" fmla="*/ 82860 w 114227"/>
                <a:gd name="connsiteY0" fmla="*/ 101214 h 101214"/>
                <a:gd name="connsiteX1" fmla="*/ 8286 w 114227"/>
                <a:gd name="connsiteY1" fmla="*/ 101214 h 101214"/>
                <a:gd name="connsiteX2" fmla="*/ 0 w 114227"/>
                <a:gd name="connsiteY2" fmla="*/ 92928 h 101214"/>
                <a:gd name="connsiteX3" fmla="*/ 0 w 114227"/>
                <a:gd name="connsiteY3" fmla="*/ 76356 h 101214"/>
                <a:gd name="connsiteX4" fmla="*/ 8286 w 114227"/>
                <a:gd name="connsiteY4" fmla="*/ 68070 h 101214"/>
                <a:gd name="connsiteX5" fmla="*/ 69287 w 114227"/>
                <a:gd name="connsiteY5" fmla="*/ 68070 h 101214"/>
                <a:gd name="connsiteX6" fmla="*/ 81565 w 114227"/>
                <a:gd name="connsiteY6" fmla="*/ 6660 h 101214"/>
                <a:gd name="connsiteX7" fmla="*/ 91319 w 114227"/>
                <a:gd name="connsiteY7" fmla="*/ 165 h 101214"/>
                <a:gd name="connsiteX8" fmla="*/ 107567 w 114227"/>
                <a:gd name="connsiteY8" fmla="*/ 3423 h 101214"/>
                <a:gd name="connsiteX9" fmla="*/ 114062 w 114227"/>
                <a:gd name="connsiteY9" fmla="*/ 13176 h 101214"/>
                <a:gd name="connsiteX10" fmla="*/ 99109 w 114227"/>
                <a:gd name="connsiteY10" fmla="*/ 87899 h 101214"/>
                <a:gd name="connsiteX11" fmla="*/ 82860 w 114227"/>
                <a:gd name="connsiteY11" fmla="*/ 101213 h 101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227" h="101214">
                  <a:moveTo>
                    <a:pt x="82860" y="101214"/>
                  </a:moveTo>
                  <a:lnTo>
                    <a:pt x="8286" y="101214"/>
                  </a:lnTo>
                  <a:cubicBezTo>
                    <a:pt x="3712" y="101214"/>
                    <a:pt x="0" y="97503"/>
                    <a:pt x="0" y="92928"/>
                  </a:cubicBezTo>
                  <a:lnTo>
                    <a:pt x="0" y="76356"/>
                  </a:lnTo>
                  <a:cubicBezTo>
                    <a:pt x="0" y="71782"/>
                    <a:pt x="3712" y="68070"/>
                    <a:pt x="8286" y="68070"/>
                  </a:cubicBezTo>
                  <a:lnTo>
                    <a:pt x="69287" y="68070"/>
                  </a:lnTo>
                  <a:lnTo>
                    <a:pt x="81565" y="6660"/>
                  </a:lnTo>
                  <a:cubicBezTo>
                    <a:pt x="82450" y="2172"/>
                    <a:pt x="86830" y="-741"/>
                    <a:pt x="91319" y="165"/>
                  </a:cubicBezTo>
                  <a:lnTo>
                    <a:pt x="107567" y="3423"/>
                  </a:lnTo>
                  <a:cubicBezTo>
                    <a:pt x="112055" y="4330"/>
                    <a:pt x="114968" y="8689"/>
                    <a:pt x="114062" y="13176"/>
                  </a:cubicBezTo>
                  <a:lnTo>
                    <a:pt x="99109" y="87899"/>
                  </a:lnTo>
                  <a:cubicBezTo>
                    <a:pt x="97555" y="95645"/>
                    <a:pt x="90758" y="101213"/>
                    <a:pt x="82860" y="101213"/>
                  </a:cubicBezTo>
                  <a:close/>
                </a:path>
              </a:pathLst>
            </a:custGeom>
            <a:solidFill>
              <a:srgbClr val="98733A"/>
            </a:solidFill>
            <a:ln w="5429" cap="flat">
              <a:solidFill>
                <a:sysClr val="window" lastClr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207112">
                <a:defRPr/>
              </a:pPr>
              <a:endParaRPr lang="nl-NL" sz="1359" kern="0" dirty="0">
                <a:solidFill>
                  <a:srgbClr val="7C7C7C"/>
                </a:solidFill>
                <a:latin typeface="Roboto Condensed"/>
              </a:endParaRPr>
            </a:p>
          </p:txBody>
        </p:sp>
        <p:sp>
          <p:nvSpPr>
            <p:cNvPr id="556" name="Freeform: Shape 555">
              <a:extLst>
                <a:ext uri="{FF2B5EF4-FFF2-40B4-BE49-F238E27FC236}">
                  <a16:creationId xmlns:a16="http://schemas.microsoft.com/office/drawing/2014/main" id="{916933F4-98AF-3B15-39EF-66AE6658E542}"/>
                </a:ext>
              </a:extLst>
            </p:cNvPr>
            <p:cNvSpPr/>
            <p:nvPr/>
          </p:nvSpPr>
          <p:spPr>
            <a:xfrm>
              <a:off x="3862574" y="6470371"/>
              <a:ext cx="116003" cy="232007"/>
            </a:xfrm>
            <a:custGeom>
              <a:avLst/>
              <a:gdLst>
                <a:gd name="connsiteX0" fmla="*/ 116004 w 116003"/>
                <a:gd name="connsiteY0" fmla="*/ 149147 h 232007"/>
                <a:gd name="connsiteX1" fmla="*/ 99432 w 116003"/>
                <a:gd name="connsiteY1" fmla="*/ 165719 h 232007"/>
                <a:gd name="connsiteX2" fmla="*/ 82860 w 116003"/>
                <a:gd name="connsiteY2" fmla="*/ 165719 h 232007"/>
                <a:gd name="connsiteX3" fmla="*/ 82860 w 116003"/>
                <a:gd name="connsiteY3" fmla="*/ 198863 h 232007"/>
                <a:gd name="connsiteX4" fmla="*/ 99432 w 116003"/>
                <a:gd name="connsiteY4" fmla="*/ 215435 h 232007"/>
                <a:gd name="connsiteX5" fmla="*/ 99432 w 116003"/>
                <a:gd name="connsiteY5" fmla="*/ 232007 h 232007"/>
                <a:gd name="connsiteX6" fmla="*/ 33144 w 116003"/>
                <a:gd name="connsiteY6" fmla="*/ 232007 h 232007"/>
                <a:gd name="connsiteX7" fmla="*/ 33144 w 116003"/>
                <a:gd name="connsiteY7" fmla="*/ 215435 h 232007"/>
                <a:gd name="connsiteX8" fmla="*/ 49716 w 116003"/>
                <a:gd name="connsiteY8" fmla="*/ 198863 h 232007"/>
                <a:gd name="connsiteX9" fmla="*/ 49716 w 116003"/>
                <a:gd name="connsiteY9" fmla="*/ 165719 h 232007"/>
                <a:gd name="connsiteX10" fmla="*/ 0 w 116003"/>
                <a:gd name="connsiteY10" fmla="*/ 116004 h 232007"/>
                <a:gd name="connsiteX11" fmla="*/ 0 w 116003"/>
                <a:gd name="connsiteY11" fmla="*/ 16572 h 232007"/>
                <a:gd name="connsiteX12" fmla="*/ 16572 w 116003"/>
                <a:gd name="connsiteY12" fmla="*/ 0 h 232007"/>
                <a:gd name="connsiteX13" fmla="*/ 33144 w 116003"/>
                <a:gd name="connsiteY13" fmla="*/ 16572 h 232007"/>
                <a:gd name="connsiteX14" fmla="*/ 33144 w 116003"/>
                <a:gd name="connsiteY14" fmla="*/ 116004 h 232007"/>
                <a:gd name="connsiteX15" fmla="*/ 49716 w 116003"/>
                <a:gd name="connsiteY15" fmla="*/ 132576 h 232007"/>
                <a:gd name="connsiteX16" fmla="*/ 99432 w 116003"/>
                <a:gd name="connsiteY16" fmla="*/ 132576 h 232007"/>
                <a:gd name="connsiteX17" fmla="*/ 116004 w 116003"/>
                <a:gd name="connsiteY17" fmla="*/ 149147 h 232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16003" h="232007">
                  <a:moveTo>
                    <a:pt x="116004" y="149147"/>
                  </a:moveTo>
                  <a:cubicBezTo>
                    <a:pt x="116004" y="158296"/>
                    <a:pt x="108580" y="165719"/>
                    <a:pt x="99432" y="165719"/>
                  </a:cubicBezTo>
                  <a:lnTo>
                    <a:pt x="82860" y="165719"/>
                  </a:lnTo>
                  <a:lnTo>
                    <a:pt x="82860" y="198863"/>
                  </a:lnTo>
                  <a:cubicBezTo>
                    <a:pt x="92009" y="198863"/>
                    <a:pt x="99432" y="206286"/>
                    <a:pt x="99432" y="215435"/>
                  </a:cubicBezTo>
                  <a:lnTo>
                    <a:pt x="99432" y="232007"/>
                  </a:lnTo>
                  <a:lnTo>
                    <a:pt x="33144" y="232007"/>
                  </a:lnTo>
                  <a:lnTo>
                    <a:pt x="33144" y="215435"/>
                  </a:lnTo>
                  <a:cubicBezTo>
                    <a:pt x="33144" y="206286"/>
                    <a:pt x="40567" y="198863"/>
                    <a:pt x="49716" y="198863"/>
                  </a:cubicBezTo>
                  <a:lnTo>
                    <a:pt x="49716" y="165719"/>
                  </a:lnTo>
                  <a:cubicBezTo>
                    <a:pt x="22290" y="165719"/>
                    <a:pt x="0" y="143429"/>
                    <a:pt x="0" y="116004"/>
                  </a:cubicBezTo>
                  <a:lnTo>
                    <a:pt x="0" y="16572"/>
                  </a:lnTo>
                  <a:cubicBezTo>
                    <a:pt x="0" y="7423"/>
                    <a:pt x="7423" y="0"/>
                    <a:pt x="16572" y="0"/>
                  </a:cubicBezTo>
                  <a:cubicBezTo>
                    <a:pt x="25721" y="0"/>
                    <a:pt x="33144" y="7423"/>
                    <a:pt x="33144" y="16572"/>
                  </a:cubicBezTo>
                  <a:lnTo>
                    <a:pt x="33144" y="116004"/>
                  </a:lnTo>
                  <a:cubicBezTo>
                    <a:pt x="33144" y="125152"/>
                    <a:pt x="40567" y="132576"/>
                    <a:pt x="49716" y="132576"/>
                  </a:cubicBezTo>
                  <a:lnTo>
                    <a:pt x="99432" y="132576"/>
                  </a:lnTo>
                  <a:cubicBezTo>
                    <a:pt x="108580" y="132576"/>
                    <a:pt x="116004" y="139999"/>
                    <a:pt x="116004" y="149147"/>
                  </a:cubicBezTo>
                  <a:close/>
                </a:path>
              </a:pathLst>
            </a:custGeom>
            <a:solidFill>
              <a:srgbClr val="98733A"/>
            </a:solidFill>
            <a:ln w="5429" cap="flat">
              <a:solidFill>
                <a:sysClr val="window" lastClr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207112">
                <a:defRPr/>
              </a:pPr>
              <a:endParaRPr lang="nl-NL" sz="1359" kern="0" dirty="0">
                <a:solidFill>
                  <a:srgbClr val="7C7C7C"/>
                </a:solidFill>
                <a:latin typeface="Roboto Condensed"/>
              </a:endParaRPr>
            </a:p>
          </p:txBody>
        </p:sp>
        <p:sp>
          <p:nvSpPr>
            <p:cNvPr id="564" name="Freeform: Shape 563">
              <a:extLst>
                <a:ext uri="{FF2B5EF4-FFF2-40B4-BE49-F238E27FC236}">
                  <a16:creationId xmlns:a16="http://schemas.microsoft.com/office/drawing/2014/main" id="{F101C3D2-2447-D4B9-B424-72A2DB31256C}"/>
                </a:ext>
              </a:extLst>
            </p:cNvPr>
            <p:cNvSpPr/>
            <p:nvPr/>
          </p:nvSpPr>
          <p:spPr>
            <a:xfrm>
              <a:off x="3912292" y="6437230"/>
              <a:ext cx="132575" cy="265148"/>
            </a:xfrm>
            <a:custGeom>
              <a:avLst/>
              <a:gdLst>
                <a:gd name="connsiteX0" fmla="*/ 132573 w 132575"/>
                <a:gd name="connsiteY0" fmla="*/ 149145 h 265148"/>
                <a:gd name="connsiteX1" fmla="*/ 132573 w 132575"/>
                <a:gd name="connsiteY1" fmla="*/ 248577 h 265148"/>
                <a:gd name="connsiteX2" fmla="*/ 116001 w 132575"/>
                <a:gd name="connsiteY2" fmla="*/ 265149 h 265148"/>
                <a:gd name="connsiteX3" fmla="*/ 99429 w 132575"/>
                <a:gd name="connsiteY3" fmla="*/ 248577 h 265148"/>
                <a:gd name="connsiteX4" fmla="*/ 99429 w 132575"/>
                <a:gd name="connsiteY4" fmla="*/ 163193 h 265148"/>
                <a:gd name="connsiteX5" fmla="*/ 27706 w 132575"/>
                <a:gd name="connsiteY5" fmla="*/ 151238 h 265148"/>
                <a:gd name="connsiteX6" fmla="*/ 0 w 132575"/>
                <a:gd name="connsiteY6" fmla="*/ 118613 h 265148"/>
                <a:gd name="connsiteX7" fmla="*/ 0 w 132575"/>
                <a:gd name="connsiteY7" fmla="*/ 33079 h 265148"/>
                <a:gd name="connsiteX8" fmla="*/ 33144 w 132575"/>
                <a:gd name="connsiteY8" fmla="*/ 0 h 265148"/>
                <a:gd name="connsiteX9" fmla="*/ 66288 w 132575"/>
                <a:gd name="connsiteY9" fmla="*/ 33144 h 265148"/>
                <a:gd name="connsiteX10" fmla="*/ 66288 w 132575"/>
                <a:gd name="connsiteY10" fmla="*/ 49716 h 265148"/>
                <a:gd name="connsiteX11" fmla="*/ 116004 w 132575"/>
                <a:gd name="connsiteY11" fmla="*/ 49716 h 265148"/>
                <a:gd name="connsiteX12" fmla="*/ 132576 w 132575"/>
                <a:gd name="connsiteY12" fmla="*/ 66288 h 265148"/>
                <a:gd name="connsiteX13" fmla="*/ 116004 w 132575"/>
                <a:gd name="connsiteY13" fmla="*/ 82860 h 265148"/>
                <a:gd name="connsiteX14" fmla="*/ 66288 w 132575"/>
                <a:gd name="connsiteY14" fmla="*/ 82860 h 265148"/>
                <a:gd name="connsiteX15" fmla="*/ 66288 w 132575"/>
                <a:gd name="connsiteY15" fmla="*/ 124117 h 265148"/>
                <a:gd name="connsiteX16" fmla="*/ 118722 w 132575"/>
                <a:gd name="connsiteY16" fmla="*/ 132813 h 265148"/>
                <a:gd name="connsiteX17" fmla="*/ 132576 w 132575"/>
                <a:gd name="connsiteY17" fmla="*/ 149147 h 265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32575" h="265148">
                  <a:moveTo>
                    <a:pt x="132573" y="149145"/>
                  </a:moveTo>
                  <a:lnTo>
                    <a:pt x="132573" y="248577"/>
                  </a:lnTo>
                  <a:cubicBezTo>
                    <a:pt x="132573" y="257726"/>
                    <a:pt x="125150" y="265149"/>
                    <a:pt x="116001" y="265149"/>
                  </a:cubicBezTo>
                  <a:cubicBezTo>
                    <a:pt x="106853" y="265149"/>
                    <a:pt x="99429" y="257726"/>
                    <a:pt x="99429" y="248577"/>
                  </a:cubicBezTo>
                  <a:lnTo>
                    <a:pt x="99429" y="163193"/>
                  </a:lnTo>
                  <a:lnTo>
                    <a:pt x="27706" y="151238"/>
                  </a:lnTo>
                  <a:cubicBezTo>
                    <a:pt x="11630" y="148541"/>
                    <a:pt x="0" y="134817"/>
                    <a:pt x="0" y="118613"/>
                  </a:cubicBezTo>
                  <a:lnTo>
                    <a:pt x="0" y="33079"/>
                  </a:lnTo>
                  <a:cubicBezTo>
                    <a:pt x="0" y="14846"/>
                    <a:pt x="14867" y="0"/>
                    <a:pt x="33144" y="0"/>
                  </a:cubicBezTo>
                  <a:cubicBezTo>
                    <a:pt x="51421" y="0"/>
                    <a:pt x="66288" y="14867"/>
                    <a:pt x="66288" y="33144"/>
                  </a:cubicBezTo>
                  <a:lnTo>
                    <a:pt x="66288" y="49716"/>
                  </a:lnTo>
                  <a:lnTo>
                    <a:pt x="116004" y="49716"/>
                  </a:lnTo>
                  <a:cubicBezTo>
                    <a:pt x="125152" y="49716"/>
                    <a:pt x="132576" y="57139"/>
                    <a:pt x="132576" y="66288"/>
                  </a:cubicBezTo>
                  <a:cubicBezTo>
                    <a:pt x="132576" y="75437"/>
                    <a:pt x="125152" y="82860"/>
                    <a:pt x="116004" y="82860"/>
                  </a:cubicBezTo>
                  <a:lnTo>
                    <a:pt x="66288" y="82860"/>
                  </a:lnTo>
                  <a:lnTo>
                    <a:pt x="66288" y="124117"/>
                  </a:lnTo>
                  <a:lnTo>
                    <a:pt x="118722" y="132813"/>
                  </a:lnTo>
                  <a:cubicBezTo>
                    <a:pt x="126706" y="134129"/>
                    <a:pt x="132576" y="141034"/>
                    <a:pt x="132576" y="149147"/>
                  </a:cubicBezTo>
                  <a:close/>
                </a:path>
              </a:pathLst>
            </a:custGeom>
            <a:solidFill>
              <a:srgbClr val="98733A"/>
            </a:solidFill>
            <a:ln w="5429" cap="flat">
              <a:solidFill>
                <a:sysClr val="window" lastClr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207112">
                <a:defRPr/>
              </a:pPr>
              <a:endParaRPr lang="nl-NL" sz="1359" kern="0" dirty="0">
                <a:solidFill>
                  <a:srgbClr val="7C7C7C"/>
                </a:solidFill>
                <a:latin typeface="Roboto Condensed"/>
              </a:endParaRPr>
            </a:p>
          </p:txBody>
        </p:sp>
        <p:sp>
          <p:nvSpPr>
            <p:cNvPr id="570" name="Freeform: Shape 569">
              <a:extLst>
                <a:ext uri="{FF2B5EF4-FFF2-40B4-BE49-F238E27FC236}">
                  <a16:creationId xmlns:a16="http://schemas.microsoft.com/office/drawing/2014/main" id="{9F62A42B-18F8-2FF9-0949-906FE0F3409C}"/>
                </a:ext>
              </a:extLst>
            </p:cNvPr>
            <p:cNvSpPr/>
            <p:nvPr/>
          </p:nvSpPr>
          <p:spPr>
            <a:xfrm>
              <a:off x="3912290" y="6337796"/>
              <a:ext cx="82859" cy="82859"/>
            </a:xfrm>
            <a:custGeom>
              <a:avLst/>
              <a:gdLst>
                <a:gd name="connsiteX0" fmla="*/ 41430 w 82859"/>
                <a:gd name="connsiteY0" fmla="*/ 0 h 82859"/>
                <a:gd name="connsiteX1" fmla="*/ 82860 w 82859"/>
                <a:gd name="connsiteY1" fmla="*/ 41430 h 82859"/>
                <a:gd name="connsiteX2" fmla="*/ 41430 w 82859"/>
                <a:gd name="connsiteY2" fmla="*/ 82860 h 82859"/>
                <a:gd name="connsiteX3" fmla="*/ 0 w 82859"/>
                <a:gd name="connsiteY3" fmla="*/ 41430 h 82859"/>
                <a:gd name="connsiteX4" fmla="*/ 41430 w 82859"/>
                <a:gd name="connsiteY4" fmla="*/ 0 h 82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859" h="82859">
                  <a:moveTo>
                    <a:pt x="41430" y="0"/>
                  </a:moveTo>
                  <a:cubicBezTo>
                    <a:pt x="64302" y="0"/>
                    <a:pt x="82860" y="18557"/>
                    <a:pt x="82860" y="41430"/>
                  </a:cubicBezTo>
                  <a:cubicBezTo>
                    <a:pt x="82860" y="64302"/>
                    <a:pt x="64302" y="82860"/>
                    <a:pt x="41430" y="82860"/>
                  </a:cubicBezTo>
                  <a:cubicBezTo>
                    <a:pt x="18557" y="82860"/>
                    <a:pt x="0" y="64302"/>
                    <a:pt x="0" y="41430"/>
                  </a:cubicBezTo>
                  <a:cubicBezTo>
                    <a:pt x="0" y="18557"/>
                    <a:pt x="18557" y="0"/>
                    <a:pt x="41430" y="0"/>
                  </a:cubicBezTo>
                  <a:close/>
                </a:path>
              </a:pathLst>
            </a:custGeom>
            <a:solidFill>
              <a:srgbClr val="98733A"/>
            </a:solidFill>
            <a:ln w="5429" cap="flat">
              <a:solidFill>
                <a:sysClr val="window" lastClr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207112">
                <a:defRPr/>
              </a:pPr>
              <a:endParaRPr lang="nl-NL" sz="1359" kern="0" dirty="0">
                <a:solidFill>
                  <a:srgbClr val="7C7C7C"/>
                </a:solidFill>
                <a:latin typeface="Roboto Condensed"/>
              </a:endParaRPr>
            </a:p>
          </p:txBody>
        </p:sp>
      </p:grpSp>
      <p:sp>
        <p:nvSpPr>
          <p:cNvPr id="9" name="Tekstballon: rechthoek 8">
            <a:extLst>
              <a:ext uri="{FF2B5EF4-FFF2-40B4-BE49-F238E27FC236}">
                <a16:creationId xmlns:a16="http://schemas.microsoft.com/office/drawing/2014/main" id="{2A545861-1CDB-F90E-4D60-C753CEEC8C88}"/>
              </a:ext>
            </a:extLst>
          </p:cNvPr>
          <p:cNvSpPr/>
          <p:nvPr/>
        </p:nvSpPr>
        <p:spPr>
          <a:xfrm>
            <a:off x="322773" y="2774043"/>
            <a:ext cx="1386314" cy="413411"/>
          </a:xfrm>
          <a:prstGeom prst="wedgeRectCallout">
            <a:avLst>
              <a:gd name="adj1" fmla="val 63242"/>
              <a:gd name="adj2" fmla="val 81191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050" dirty="0"/>
              <a:t>Krijtbord met ‘welkom </a:t>
            </a:r>
            <a:r>
              <a:rPr lang="nl-NL" sz="1050" i="1" dirty="0"/>
              <a:t>naam’ </a:t>
            </a:r>
            <a:r>
              <a:rPr lang="nl-NL" sz="1050" dirty="0"/>
              <a:t>bij binnenkomst</a:t>
            </a:r>
          </a:p>
        </p:txBody>
      </p:sp>
      <p:sp>
        <p:nvSpPr>
          <p:cNvPr id="8" name="Ster: 5 punten 7">
            <a:extLst>
              <a:ext uri="{FF2B5EF4-FFF2-40B4-BE49-F238E27FC236}">
                <a16:creationId xmlns:a16="http://schemas.microsoft.com/office/drawing/2014/main" id="{F708D06B-9BC7-4099-CE5C-DEDB90B5A351}"/>
              </a:ext>
            </a:extLst>
          </p:cNvPr>
          <p:cNvSpPr/>
          <p:nvPr/>
        </p:nvSpPr>
        <p:spPr>
          <a:xfrm>
            <a:off x="169420" y="2631334"/>
            <a:ext cx="322772" cy="285418"/>
          </a:xfrm>
          <a:prstGeom prst="star5">
            <a:avLst>
              <a:gd name="adj" fmla="val 23929"/>
              <a:gd name="hf" fmla="val 105146"/>
              <a:gd name="vf" fmla="val 110557"/>
            </a:avLst>
          </a:prstGeom>
          <a:solidFill>
            <a:srgbClr val="FFFF00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0" name="Tekstballon: rechthoek 9">
            <a:extLst>
              <a:ext uri="{FF2B5EF4-FFF2-40B4-BE49-F238E27FC236}">
                <a16:creationId xmlns:a16="http://schemas.microsoft.com/office/drawing/2014/main" id="{A814EB89-AD78-81B8-D5A6-0BF7616E08C9}"/>
              </a:ext>
            </a:extLst>
          </p:cNvPr>
          <p:cNvSpPr/>
          <p:nvPr/>
        </p:nvSpPr>
        <p:spPr>
          <a:xfrm>
            <a:off x="3325626" y="3346725"/>
            <a:ext cx="1386314" cy="1139581"/>
          </a:xfrm>
          <a:prstGeom prst="wedgeRectCallout">
            <a:avLst>
              <a:gd name="adj1" fmla="val 5178"/>
              <a:gd name="adj2" fmla="val -98861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050" dirty="0"/>
              <a:t>In het welkomstpakket een handgeschreven kaartje van leidinggevende om welkom te heten en contactgegevens te delen voor vragen</a:t>
            </a:r>
          </a:p>
        </p:txBody>
      </p:sp>
      <p:sp>
        <p:nvSpPr>
          <p:cNvPr id="11" name="Ster: 5 punten 10">
            <a:extLst>
              <a:ext uri="{FF2B5EF4-FFF2-40B4-BE49-F238E27FC236}">
                <a16:creationId xmlns:a16="http://schemas.microsoft.com/office/drawing/2014/main" id="{5C061AC5-E608-6AEF-FAE0-7FA5CC3B0109}"/>
              </a:ext>
            </a:extLst>
          </p:cNvPr>
          <p:cNvSpPr/>
          <p:nvPr/>
        </p:nvSpPr>
        <p:spPr>
          <a:xfrm>
            <a:off x="3144247" y="3185494"/>
            <a:ext cx="322772" cy="285418"/>
          </a:xfrm>
          <a:prstGeom prst="star5">
            <a:avLst>
              <a:gd name="adj" fmla="val 23929"/>
              <a:gd name="hf" fmla="val 105146"/>
              <a:gd name="vf" fmla="val 110557"/>
            </a:avLst>
          </a:prstGeom>
          <a:solidFill>
            <a:srgbClr val="FFFF00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3" name="Tekstballon: rechthoek 12">
            <a:extLst>
              <a:ext uri="{FF2B5EF4-FFF2-40B4-BE49-F238E27FC236}">
                <a16:creationId xmlns:a16="http://schemas.microsoft.com/office/drawing/2014/main" id="{7442DD60-6545-1ABD-F8EF-0559AC2C446A}"/>
              </a:ext>
            </a:extLst>
          </p:cNvPr>
          <p:cNvSpPr/>
          <p:nvPr/>
        </p:nvSpPr>
        <p:spPr>
          <a:xfrm>
            <a:off x="4907113" y="3333797"/>
            <a:ext cx="1386314" cy="683178"/>
          </a:xfrm>
          <a:prstGeom prst="wedgeRectCallout">
            <a:avLst>
              <a:gd name="adj1" fmla="val 9823"/>
              <a:gd name="adj2" fmla="val -85665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050" dirty="0"/>
              <a:t>Telefoontje vanuit HR hoe het gaat en of er nog vragen zijn na de eerste week</a:t>
            </a:r>
          </a:p>
        </p:txBody>
      </p:sp>
      <p:sp>
        <p:nvSpPr>
          <p:cNvPr id="17" name="Ster: 5 punten 16">
            <a:extLst>
              <a:ext uri="{FF2B5EF4-FFF2-40B4-BE49-F238E27FC236}">
                <a16:creationId xmlns:a16="http://schemas.microsoft.com/office/drawing/2014/main" id="{44AD7BD0-8ADC-584E-838B-F51CE18894F2}"/>
              </a:ext>
            </a:extLst>
          </p:cNvPr>
          <p:cNvSpPr/>
          <p:nvPr/>
        </p:nvSpPr>
        <p:spPr>
          <a:xfrm>
            <a:off x="4725734" y="3172565"/>
            <a:ext cx="322772" cy="285418"/>
          </a:xfrm>
          <a:prstGeom prst="star5">
            <a:avLst>
              <a:gd name="adj" fmla="val 23929"/>
              <a:gd name="hf" fmla="val 105146"/>
              <a:gd name="vf" fmla="val 110557"/>
            </a:avLst>
          </a:prstGeom>
          <a:solidFill>
            <a:srgbClr val="FFFF00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Rechthoek 19">
            <a:extLst>
              <a:ext uri="{FF2B5EF4-FFF2-40B4-BE49-F238E27FC236}">
                <a16:creationId xmlns:a16="http://schemas.microsoft.com/office/drawing/2014/main" id="{DA4A1639-EC65-E8D1-16C1-0256154A2057}"/>
              </a:ext>
            </a:extLst>
          </p:cNvPr>
          <p:cNvSpPr/>
          <p:nvPr/>
        </p:nvSpPr>
        <p:spPr>
          <a:xfrm rot="20400085">
            <a:off x="322956" y="329654"/>
            <a:ext cx="1475422" cy="59576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400" dirty="0"/>
              <a:t>Voorbeeld WOW momenten</a:t>
            </a:r>
          </a:p>
        </p:txBody>
      </p:sp>
      <p:sp>
        <p:nvSpPr>
          <p:cNvPr id="21" name="Tekstballon: rechthoek 20">
            <a:extLst>
              <a:ext uri="{FF2B5EF4-FFF2-40B4-BE49-F238E27FC236}">
                <a16:creationId xmlns:a16="http://schemas.microsoft.com/office/drawing/2014/main" id="{F2F25F4C-66CD-DA8A-1662-93EDF721CA32}"/>
              </a:ext>
            </a:extLst>
          </p:cNvPr>
          <p:cNvSpPr/>
          <p:nvPr/>
        </p:nvSpPr>
        <p:spPr>
          <a:xfrm>
            <a:off x="4800470" y="4854543"/>
            <a:ext cx="1386314" cy="683178"/>
          </a:xfrm>
          <a:prstGeom prst="wedgeRectCallout">
            <a:avLst>
              <a:gd name="adj1" fmla="val 10287"/>
              <a:gd name="adj2" fmla="val -85665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050" dirty="0"/>
              <a:t>Einde proeftijd niet zomaar voor bij laten gaan maar echt vieren ‘we zijn blij met je!’</a:t>
            </a:r>
          </a:p>
        </p:txBody>
      </p:sp>
      <p:sp>
        <p:nvSpPr>
          <p:cNvPr id="22" name="Ster: 5 punten 21">
            <a:extLst>
              <a:ext uri="{FF2B5EF4-FFF2-40B4-BE49-F238E27FC236}">
                <a16:creationId xmlns:a16="http://schemas.microsoft.com/office/drawing/2014/main" id="{F9768697-29F5-E229-8F14-5BB9266A2E6D}"/>
              </a:ext>
            </a:extLst>
          </p:cNvPr>
          <p:cNvSpPr/>
          <p:nvPr/>
        </p:nvSpPr>
        <p:spPr>
          <a:xfrm>
            <a:off x="4619091" y="4693311"/>
            <a:ext cx="322772" cy="285418"/>
          </a:xfrm>
          <a:prstGeom prst="star5">
            <a:avLst>
              <a:gd name="adj" fmla="val 23929"/>
              <a:gd name="hf" fmla="val 105146"/>
              <a:gd name="vf" fmla="val 110557"/>
            </a:avLst>
          </a:prstGeom>
          <a:solidFill>
            <a:srgbClr val="FFFF00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3" name="Tekstballon: rechthoek 22">
            <a:extLst>
              <a:ext uri="{FF2B5EF4-FFF2-40B4-BE49-F238E27FC236}">
                <a16:creationId xmlns:a16="http://schemas.microsoft.com/office/drawing/2014/main" id="{96A8E5D6-722B-EFD0-C4FA-377055610240}"/>
              </a:ext>
            </a:extLst>
          </p:cNvPr>
          <p:cNvSpPr/>
          <p:nvPr/>
        </p:nvSpPr>
        <p:spPr>
          <a:xfrm>
            <a:off x="6415060" y="2380860"/>
            <a:ext cx="1386314" cy="953797"/>
          </a:xfrm>
          <a:prstGeom prst="wedgeRectCallout">
            <a:avLst>
              <a:gd name="adj1" fmla="val 5178"/>
              <a:gd name="adj2" fmla="val 69869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050" dirty="0"/>
              <a:t>‘Gefeliciteerd’ gesprek bij bijv. zwangerschap en 50 jaar om daarin ook inzetbaarheid te bespreken</a:t>
            </a:r>
          </a:p>
        </p:txBody>
      </p:sp>
      <p:sp>
        <p:nvSpPr>
          <p:cNvPr id="24" name="Ster: 5 punten 23">
            <a:extLst>
              <a:ext uri="{FF2B5EF4-FFF2-40B4-BE49-F238E27FC236}">
                <a16:creationId xmlns:a16="http://schemas.microsoft.com/office/drawing/2014/main" id="{23EC17A4-82A8-C8A5-D160-7B94BA3B7A49}"/>
              </a:ext>
            </a:extLst>
          </p:cNvPr>
          <p:cNvSpPr/>
          <p:nvPr/>
        </p:nvSpPr>
        <p:spPr>
          <a:xfrm>
            <a:off x="6233681" y="2219629"/>
            <a:ext cx="322772" cy="285418"/>
          </a:xfrm>
          <a:prstGeom prst="star5">
            <a:avLst>
              <a:gd name="adj" fmla="val 23929"/>
              <a:gd name="hf" fmla="val 105146"/>
              <a:gd name="vf" fmla="val 110557"/>
            </a:avLst>
          </a:prstGeom>
          <a:solidFill>
            <a:srgbClr val="FFFF00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5" name="Tekstballon: rechthoek 24">
            <a:extLst>
              <a:ext uri="{FF2B5EF4-FFF2-40B4-BE49-F238E27FC236}">
                <a16:creationId xmlns:a16="http://schemas.microsoft.com/office/drawing/2014/main" id="{397D2C8B-566C-B67B-97AA-E7A9E0D2A460}"/>
              </a:ext>
            </a:extLst>
          </p:cNvPr>
          <p:cNvSpPr/>
          <p:nvPr/>
        </p:nvSpPr>
        <p:spPr>
          <a:xfrm>
            <a:off x="7889748" y="3917377"/>
            <a:ext cx="1386314" cy="408731"/>
          </a:xfrm>
          <a:prstGeom prst="wedgeRectCallout">
            <a:avLst>
              <a:gd name="adj1" fmla="val 12610"/>
              <a:gd name="adj2" fmla="val -108314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050" dirty="0"/>
              <a:t>Persoonlijke felicitatie vanuit directie</a:t>
            </a:r>
          </a:p>
        </p:txBody>
      </p:sp>
      <p:sp>
        <p:nvSpPr>
          <p:cNvPr id="26" name="Ster: 5 punten 25">
            <a:extLst>
              <a:ext uri="{FF2B5EF4-FFF2-40B4-BE49-F238E27FC236}">
                <a16:creationId xmlns:a16="http://schemas.microsoft.com/office/drawing/2014/main" id="{087BE859-A1A6-BAB3-5463-C61A1FB9B196}"/>
              </a:ext>
            </a:extLst>
          </p:cNvPr>
          <p:cNvSpPr/>
          <p:nvPr/>
        </p:nvSpPr>
        <p:spPr>
          <a:xfrm>
            <a:off x="7708369" y="3756145"/>
            <a:ext cx="322772" cy="285418"/>
          </a:xfrm>
          <a:prstGeom prst="star5">
            <a:avLst>
              <a:gd name="adj" fmla="val 23929"/>
              <a:gd name="hf" fmla="val 105146"/>
              <a:gd name="vf" fmla="val 110557"/>
            </a:avLst>
          </a:prstGeom>
          <a:solidFill>
            <a:srgbClr val="FFFF00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Tekstballon: rechthoek 26">
            <a:extLst>
              <a:ext uri="{FF2B5EF4-FFF2-40B4-BE49-F238E27FC236}">
                <a16:creationId xmlns:a16="http://schemas.microsoft.com/office/drawing/2014/main" id="{251B60F7-D43A-EBE1-8F1A-AA9095FF3967}"/>
              </a:ext>
            </a:extLst>
          </p:cNvPr>
          <p:cNvSpPr/>
          <p:nvPr/>
        </p:nvSpPr>
        <p:spPr>
          <a:xfrm>
            <a:off x="9517257" y="3660285"/>
            <a:ext cx="1386314" cy="755176"/>
          </a:xfrm>
          <a:prstGeom prst="wedgeRectCallout">
            <a:avLst>
              <a:gd name="adj1" fmla="val 2540"/>
              <a:gd name="adj2" fmla="val -85945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050" dirty="0"/>
              <a:t>Afscheidspakket met een aandenken zodat medewerker nog vaak herinnert wordt aan jullie bedrijf</a:t>
            </a:r>
          </a:p>
        </p:txBody>
      </p:sp>
      <p:sp>
        <p:nvSpPr>
          <p:cNvPr id="28" name="Ster: 5 punten 27">
            <a:extLst>
              <a:ext uri="{FF2B5EF4-FFF2-40B4-BE49-F238E27FC236}">
                <a16:creationId xmlns:a16="http://schemas.microsoft.com/office/drawing/2014/main" id="{3E04A37B-5A46-2D73-11D8-661D9109B479}"/>
              </a:ext>
            </a:extLst>
          </p:cNvPr>
          <p:cNvSpPr/>
          <p:nvPr/>
        </p:nvSpPr>
        <p:spPr>
          <a:xfrm>
            <a:off x="9335878" y="3499053"/>
            <a:ext cx="322772" cy="285418"/>
          </a:xfrm>
          <a:prstGeom prst="star5">
            <a:avLst>
              <a:gd name="adj" fmla="val 23929"/>
              <a:gd name="hf" fmla="val 105146"/>
              <a:gd name="vf" fmla="val 110557"/>
            </a:avLst>
          </a:prstGeom>
          <a:solidFill>
            <a:srgbClr val="FFFF00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9" name="Tekstballon: rechthoek 28">
            <a:extLst>
              <a:ext uri="{FF2B5EF4-FFF2-40B4-BE49-F238E27FC236}">
                <a16:creationId xmlns:a16="http://schemas.microsoft.com/office/drawing/2014/main" id="{B4BBF4FC-8BDC-73F0-6C58-D32446E0D466}"/>
              </a:ext>
            </a:extLst>
          </p:cNvPr>
          <p:cNvSpPr/>
          <p:nvPr/>
        </p:nvSpPr>
        <p:spPr>
          <a:xfrm>
            <a:off x="6503480" y="5412673"/>
            <a:ext cx="1386314" cy="423654"/>
          </a:xfrm>
          <a:prstGeom prst="wedgeRectCallout">
            <a:avLst>
              <a:gd name="adj1" fmla="val 2390"/>
              <a:gd name="adj2" fmla="val -82625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050" dirty="0"/>
              <a:t>Vieren met het team met iets lekkers</a:t>
            </a:r>
          </a:p>
        </p:txBody>
      </p:sp>
      <p:sp>
        <p:nvSpPr>
          <p:cNvPr id="30" name="Ster: 5 punten 29">
            <a:extLst>
              <a:ext uri="{FF2B5EF4-FFF2-40B4-BE49-F238E27FC236}">
                <a16:creationId xmlns:a16="http://schemas.microsoft.com/office/drawing/2014/main" id="{7123B12F-18FD-BB4E-DE7D-2F3ACFBB4971}"/>
              </a:ext>
            </a:extLst>
          </p:cNvPr>
          <p:cNvSpPr/>
          <p:nvPr/>
        </p:nvSpPr>
        <p:spPr>
          <a:xfrm>
            <a:off x="6322101" y="5251441"/>
            <a:ext cx="322772" cy="285418"/>
          </a:xfrm>
          <a:prstGeom prst="star5">
            <a:avLst>
              <a:gd name="adj" fmla="val 23929"/>
              <a:gd name="hf" fmla="val 105146"/>
              <a:gd name="vf" fmla="val 110557"/>
            </a:avLst>
          </a:prstGeom>
          <a:solidFill>
            <a:srgbClr val="FFFF00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31" name="Tekstballon: rechthoek 30">
            <a:extLst>
              <a:ext uri="{FF2B5EF4-FFF2-40B4-BE49-F238E27FC236}">
                <a16:creationId xmlns:a16="http://schemas.microsoft.com/office/drawing/2014/main" id="{148296BE-41A7-0FE2-13A8-43EA9C6A0A14}"/>
              </a:ext>
            </a:extLst>
          </p:cNvPr>
          <p:cNvSpPr/>
          <p:nvPr/>
        </p:nvSpPr>
        <p:spPr>
          <a:xfrm>
            <a:off x="4911983" y="2300107"/>
            <a:ext cx="1123744" cy="329660"/>
          </a:xfrm>
          <a:prstGeom prst="wedgeRectCallout">
            <a:avLst>
              <a:gd name="adj1" fmla="val 9823"/>
              <a:gd name="adj2" fmla="val -85665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050" dirty="0"/>
              <a:t>Lunch met het hele team</a:t>
            </a:r>
          </a:p>
        </p:txBody>
      </p:sp>
      <p:sp>
        <p:nvSpPr>
          <p:cNvPr id="32" name="Ster: 5 punten 31">
            <a:extLst>
              <a:ext uri="{FF2B5EF4-FFF2-40B4-BE49-F238E27FC236}">
                <a16:creationId xmlns:a16="http://schemas.microsoft.com/office/drawing/2014/main" id="{B7543A17-A265-A578-45EE-88E6F067DC19}"/>
              </a:ext>
            </a:extLst>
          </p:cNvPr>
          <p:cNvSpPr/>
          <p:nvPr/>
        </p:nvSpPr>
        <p:spPr>
          <a:xfrm>
            <a:off x="4730604" y="2138875"/>
            <a:ext cx="322772" cy="285418"/>
          </a:xfrm>
          <a:prstGeom prst="star5">
            <a:avLst>
              <a:gd name="adj" fmla="val 23929"/>
              <a:gd name="hf" fmla="val 105146"/>
              <a:gd name="vf" fmla="val 110557"/>
            </a:avLst>
          </a:prstGeom>
          <a:solidFill>
            <a:srgbClr val="FFFF00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3812889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71" name="Group 470">
            <a:extLst>
              <a:ext uri="{FF2B5EF4-FFF2-40B4-BE49-F238E27FC236}">
                <a16:creationId xmlns:a16="http://schemas.microsoft.com/office/drawing/2014/main" id="{9C71528C-E823-7B9F-CE1D-3E7E0FBEADF6}"/>
              </a:ext>
            </a:extLst>
          </p:cNvPr>
          <p:cNvGrpSpPr>
            <a:grpSpLocks noChangeAspect="1"/>
          </p:cNvGrpSpPr>
          <p:nvPr/>
        </p:nvGrpSpPr>
        <p:grpSpPr>
          <a:xfrm rot="5400000">
            <a:off x="7318295" y="3788749"/>
            <a:ext cx="646684" cy="438530"/>
            <a:chOff x="2460593" y="1450725"/>
            <a:chExt cx="644661" cy="233999"/>
          </a:xfrm>
        </p:grpSpPr>
        <p:sp>
          <p:nvSpPr>
            <p:cNvPr id="472" name="Freeform 127">
              <a:extLst>
                <a:ext uri="{FF2B5EF4-FFF2-40B4-BE49-F238E27FC236}">
                  <a16:creationId xmlns:a16="http://schemas.microsoft.com/office/drawing/2014/main" id="{1B5C72E1-C1D4-9E50-8406-C84D513F549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461714" y="1450725"/>
              <a:ext cx="642419" cy="233999"/>
            </a:xfrm>
            <a:custGeom>
              <a:avLst/>
              <a:gdLst>
                <a:gd name="connsiteX0" fmla="*/ 0 w 644661"/>
                <a:gd name="connsiteY0" fmla="*/ 0 h 233999"/>
                <a:gd name="connsiteX1" fmla="*/ 644661 w 644661"/>
                <a:gd name="connsiteY1" fmla="*/ 0 h 233999"/>
                <a:gd name="connsiteX2" fmla="*/ 644661 w 644661"/>
                <a:gd name="connsiteY2" fmla="*/ 233999 h 233999"/>
                <a:gd name="connsiteX3" fmla="*/ 0 w 644661"/>
                <a:gd name="connsiteY3" fmla="*/ 233999 h 233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4661" h="233999">
                  <a:moveTo>
                    <a:pt x="0" y="0"/>
                  </a:moveTo>
                  <a:lnTo>
                    <a:pt x="644661" y="0"/>
                  </a:lnTo>
                  <a:lnTo>
                    <a:pt x="644661" y="233999"/>
                  </a:lnTo>
                  <a:lnTo>
                    <a:pt x="0" y="233999"/>
                  </a:lnTo>
                  <a:close/>
                </a:path>
              </a:pathLst>
            </a:custGeom>
            <a:solidFill>
              <a:schemeClr val="tx2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grpSp>
          <p:nvGrpSpPr>
            <p:cNvPr id="474" name="Graphic 4">
              <a:extLst>
                <a:ext uri="{FF2B5EF4-FFF2-40B4-BE49-F238E27FC236}">
                  <a16:creationId xmlns:a16="http://schemas.microsoft.com/office/drawing/2014/main" id="{0D730F9A-90D5-F951-5161-DD2DF8427CC8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460593" y="1463821"/>
              <a:ext cx="644661" cy="207807"/>
              <a:chOff x="2460593" y="1463821"/>
              <a:chExt cx="644661" cy="207807"/>
            </a:xfrm>
            <a:solidFill>
              <a:srgbClr val="E4E4E4"/>
            </a:solidFill>
          </p:grpSpPr>
          <p:sp>
            <p:nvSpPr>
              <p:cNvPr id="475" name="Freeform 130">
                <a:extLst>
                  <a:ext uri="{FF2B5EF4-FFF2-40B4-BE49-F238E27FC236}">
                    <a16:creationId xmlns:a16="http://schemas.microsoft.com/office/drawing/2014/main" id="{D031221E-3140-2CA7-85B2-6A174EE7588C}"/>
                  </a:ext>
                </a:extLst>
              </p:cNvPr>
              <p:cNvSpPr/>
              <p:nvPr/>
            </p:nvSpPr>
            <p:spPr>
              <a:xfrm>
                <a:off x="2460593" y="1663357"/>
                <a:ext cx="644661" cy="8270"/>
              </a:xfrm>
              <a:custGeom>
                <a:avLst/>
                <a:gdLst>
                  <a:gd name="connsiteX0" fmla="*/ 0 w 644661"/>
                  <a:gd name="connsiteY0" fmla="*/ 0 h 8270"/>
                  <a:gd name="connsiteX1" fmla="*/ 644661 w 644661"/>
                  <a:gd name="connsiteY1" fmla="*/ 0 h 8270"/>
                  <a:gd name="connsiteX2" fmla="*/ 644661 w 644661"/>
                  <a:gd name="connsiteY2" fmla="*/ 8271 h 8270"/>
                  <a:gd name="connsiteX3" fmla="*/ 0 w 644661"/>
                  <a:gd name="connsiteY3" fmla="*/ 8271 h 8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4661" h="8270">
                    <a:moveTo>
                      <a:pt x="0" y="0"/>
                    </a:moveTo>
                    <a:lnTo>
                      <a:pt x="644661" y="0"/>
                    </a:lnTo>
                    <a:lnTo>
                      <a:pt x="644661" y="8271"/>
                    </a:lnTo>
                    <a:lnTo>
                      <a:pt x="0" y="8271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  <p:sp>
            <p:nvSpPr>
              <p:cNvPr id="476" name="Freeform 131">
                <a:extLst>
                  <a:ext uri="{FF2B5EF4-FFF2-40B4-BE49-F238E27FC236}">
                    <a16:creationId xmlns:a16="http://schemas.microsoft.com/office/drawing/2014/main" id="{D4353673-1918-BFF6-BF09-4DCA45F93DDF}"/>
                  </a:ext>
                </a:extLst>
              </p:cNvPr>
              <p:cNvSpPr/>
              <p:nvPr/>
            </p:nvSpPr>
            <p:spPr>
              <a:xfrm>
                <a:off x="2460593" y="1463821"/>
                <a:ext cx="644661" cy="8270"/>
              </a:xfrm>
              <a:custGeom>
                <a:avLst/>
                <a:gdLst>
                  <a:gd name="connsiteX0" fmla="*/ 0 w 644661"/>
                  <a:gd name="connsiteY0" fmla="*/ 0 h 8270"/>
                  <a:gd name="connsiteX1" fmla="*/ 644661 w 644661"/>
                  <a:gd name="connsiteY1" fmla="*/ 0 h 8270"/>
                  <a:gd name="connsiteX2" fmla="*/ 644661 w 644661"/>
                  <a:gd name="connsiteY2" fmla="*/ 8271 h 8270"/>
                  <a:gd name="connsiteX3" fmla="*/ 0 w 644661"/>
                  <a:gd name="connsiteY3" fmla="*/ 8271 h 8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4661" h="8270">
                    <a:moveTo>
                      <a:pt x="0" y="0"/>
                    </a:moveTo>
                    <a:lnTo>
                      <a:pt x="644661" y="0"/>
                    </a:lnTo>
                    <a:lnTo>
                      <a:pt x="644661" y="8271"/>
                    </a:lnTo>
                    <a:lnTo>
                      <a:pt x="0" y="8271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</p:grpSp>
      <p:sp>
        <p:nvSpPr>
          <p:cNvPr id="494" name="Freeform 4">
            <a:extLst>
              <a:ext uri="{FF2B5EF4-FFF2-40B4-BE49-F238E27FC236}">
                <a16:creationId xmlns:a16="http://schemas.microsoft.com/office/drawing/2014/main" id="{12771446-F2B7-3DC1-7721-838FC22E9797}"/>
              </a:ext>
            </a:extLst>
          </p:cNvPr>
          <p:cNvSpPr>
            <a:spLocks noChangeAspect="1"/>
          </p:cNvSpPr>
          <p:nvPr/>
        </p:nvSpPr>
        <p:spPr>
          <a:xfrm rot="5400000">
            <a:off x="7069901" y="4269292"/>
            <a:ext cx="1148952" cy="14983"/>
          </a:xfrm>
          <a:custGeom>
            <a:avLst/>
            <a:gdLst>
              <a:gd name="connsiteX0" fmla="*/ 559580 w 613083"/>
              <a:gd name="connsiteY0" fmla="*/ 0 h 7995"/>
              <a:gd name="connsiteX1" fmla="*/ 559580 w 613083"/>
              <a:gd name="connsiteY1" fmla="*/ 7995 h 7995"/>
              <a:gd name="connsiteX2" fmla="*/ 613083 w 613083"/>
              <a:gd name="connsiteY2" fmla="*/ 7995 h 7995"/>
              <a:gd name="connsiteX3" fmla="*/ 613083 w 613083"/>
              <a:gd name="connsiteY3" fmla="*/ 0 h 7995"/>
              <a:gd name="connsiteX4" fmla="*/ 559580 w 613083"/>
              <a:gd name="connsiteY4" fmla="*/ 0 h 7995"/>
              <a:gd name="connsiteX5" fmla="*/ 479049 w 613083"/>
              <a:gd name="connsiteY5" fmla="*/ 0 h 7995"/>
              <a:gd name="connsiteX6" fmla="*/ 479049 w 613083"/>
              <a:gd name="connsiteY6" fmla="*/ 7995 h 7995"/>
              <a:gd name="connsiteX7" fmla="*/ 532552 w 613083"/>
              <a:gd name="connsiteY7" fmla="*/ 7995 h 7995"/>
              <a:gd name="connsiteX8" fmla="*/ 532552 w 613083"/>
              <a:gd name="connsiteY8" fmla="*/ 0 h 7995"/>
              <a:gd name="connsiteX9" fmla="*/ 479049 w 613083"/>
              <a:gd name="connsiteY9" fmla="*/ 0 h 7995"/>
              <a:gd name="connsiteX10" fmla="*/ 398449 w 613083"/>
              <a:gd name="connsiteY10" fmla="*/ 0 h 7995"/>
              <a:gd name="connsiteX11" fmla="*/ 398449 w 613083"/>
              <a:gd name="connsiteY11" fmla="*/ 7995 h 7995"/>
              <a:gd name="connsiteX12" fmla="*/ 451952 w 613083"/>
              <a:gd name="connsiteY12" fmla="*/ 7995 h 7995"/>
              <a:gd name="connsiteX13" fmla="*/ 451952 w 613083"/>
              <a:gd name="connsiteY13" fmla="*/ 0 h 7995"/>
              <a:gd name="connsiteX14" fmla="*/ 398449 w 613083"/>
              <a:gd name="connsiteY14" fmla="*/ 0 h 7995"/>
              <a:gd name="connsiteX15" fmla="*/ 317849 w 613083"/>
              <a:gd name="connsiteY15" fmla="*/ 0 h 7995"/>
              <a:gd name="connsiteX16" fmla="*/ 317849 w 613083"/>
              <a:gd name="connsiteY16" fmla="*/ 7995 h 7995"/>
              <a:gd name="connsiteX17" fmla="*/ 371352 w 613083"/>
              <a:gd name="connsiteY17" fmla="*/ 7995 h 7995"/>
              <a:gd name="connsiteX18" fmla="*/ 371352 w 613083"/>
              <a:gd name="connsiteY18" fmla="*/ 0 h 7995"/>
              <a:gd name="connsiteX19" fmla="*/ 317849 w 613083"/>
              <a:gd name="connsiteY19" fmla="*/ 0 h 7995"/>
              <a:gd name="connsiteX20" fmla="*/ 237318 w 613083"/>
              <a:gd name="connsiteY20" fmla="*/ 0 h 7995"/>
              <a:gd name="connsiteX21" fmla="*/ 237318 w 613083"/>
              <a:gd name="connsiteY21" fmla="*/ 7995 h 7995"/>
              <a:gd name="connsiteX22" fmla="*/ 290821 w 613083"/>
              <a:gd name="connsiteY22" fmla="*/ 7995 h 7995"/>
              <a:gd name="connsiteX23" fmla="*/ 290821 w 613083"/>
              <a:gd name="connsiteY23" fmla="*/ 0 h 7995"/>
              <a:gd name="connsiteX24" fmla="*/ 237318 w 613083"/>
              <a:gd name="connsiteY24" fmla="*/ 0 h 7995"/>
              <a:gd name="connsiteX25" fmla="*/ 156718 w 613083"/>
              <a:gd name="connsiteY25" fmla="*/ 0 h 7995"/>
              <a:gd name="connsiteX26" fmla="*/ 156718 w 613083"/>
              <a:gd name="connsiteY26" fmla="*/ 7995 h 7995"/>
              <a:gd name="connsiteX27" fmla="*/ 210222 w 613083"/>
              <a:gd name="connsiteY27" fmla="*/ 7995 h 7995"/>
              <a:gd name="connsiteX28" fmla="*/ 210222 w 613083"/>
              <a:gd name="connsiteY28" fmla="*/ 0 h 7995"/>
              <a:gd name="connsiteX29" fmla="*/ 156718 w 613083"/>
              <a:gd name="connsiteY29" fmla="*/ 0 h 7995"/>
              <a:gd name="connsiteX30" fmla="*/ 76187 w 613083"/>
              <a:gd name="connsiteY30" fmla="*/ 0 h 7995"/>
              <a:gd name="connsiteX31" fmla="*/ 76187 w 613083"/>
              <a:gd name="connsiteY31" fmla="*/ 7995 h 7995"/>
              <a:gd name="connsiteX32" fmla="*/ 129691 w 613083"/>
              <a:gd name="connsiteY32" fmla="*/ 7995 h 7995"/>
              <a:gd name="connsiteX33" fmla="*/ 129691 w 613083"/>
              <a:gd name="connsiteY33" fmla="*/ 0 h 7995"/>
              <a:gd name="connsiteX34" fmla="*/ 76187 w 613083"/>
              <a:gd name="connsiteY34" fmla="*/ 0 h 7995"/>
              <a:gd name="connsiteX35" fmla="*/ 0 w 613083"/>
              <a:gd name="connsiteY35" fmla="*/ 0 h 7995"/>
              <a:gd name="connsiteX36" fmla="*/ 0 w 613083"/>
              <a:gd name="connsiteY36" fmla="*/ 7995 h 7995"/>
              <a:gd name="connsiteX37" fmla="*/ 49091 w 613083"/>
              <a:gd name="connsiteY37" fmla="*/ 7995 h 7995"/>
              <a:gd name="connsiteX38" fmla="*/ 49091 w 613083"/>
              <a:gd name="connsiteY38" fmla="*/ 0 h 7995"/>
              <a:gd name="connsiteX39" fmla="*/ 0 w 613083"/>
              <a:gd name="connsiteY39" fmla="*/ 0 h 7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13083" h="7995">
                <a:moveTo>
                  <a:pt x="559580" y="0"/>
                </a:moveTo>
                <a:cubicBezTo>
                  <a:pt x="559580" y="1792"/>
                  <a:pt x="559580" y="6203"/>
                  <a:pt x="559580" y="7995"/>
                </a:cubicBezTo>
                <a:cubicBezTo>
                  <a:pt x="562131" y="7995"/>
                  <a:pt x="610532" y="7995"/>
                  <a:pt x="613083" y="7995"/>
                </a:cubicBezTo>
                <a:cubicBezTo>
                  <a:pt x="613083" y="6203"/>
                  <a:pt x="613083" y="1792"/>
                  <a:pt x="613083" y="0"/>
                </a:cubicBezTo>
                <a:cubicBezTo>
                  <a:pt x="610532" y="0"/>
                  <a:pt x="562131" y="0"/>
                  <a:pt x="559580" y="0"/>
                </a:cubicBezTo>
                <a:close/>
                <a:moveTo>
                  <a:pt x="479049" y="0"/>
                </a:moveTo>
                <a:cubicBezTo>
                  <a:pt x="479049" y="1792"/>
                  <a:pt x="479049" y="6203"/>
                  <a:pt x="479049" y="7995"/>
                </a:cubicBezTo>
                <a:cubicBezTo>
                  <a:pt x="481600" y="7995"/>
                  <a:pt x="530001" y="7995"/>
                  <a:pt x="532552" y="7995"/>
                </a:cubicBezTo>
                <a:cubicBezTo>
                  <a:pt x="532552" y="6203"/>
                  <a:pt x="532552" y="1792"/>
                  <a:pt x="532552" y="0"/>
                </a:cubicBezTo>
                <a:cubicBezTo>
                  <a:pt x="529932" y="0"/>
                  <a:pt x="481600" y="0"/>
                  <a:pt x="479049" y="0"/>
                </a:cubicBezTo>
                <a:close/>
                <a:moveTo>
                  <a:pt x="398449" y="0"/>
                </a:moveTo>
                <a:cubicBezTo>
                  <a:pt x="398449" y="1792"/>
                  <a:pt x="398449" y="6203"/>
                  <a:pt x="398449" y="7995"/>
                </a:cubicBezTo>
                <a:cubicBezTo>
                  <a:pt x="401000" y="7995"/>
                  <a:pt x="449401" y="7995"/>
                  <a:pt x="451952" y="7995"/>
                </a:cubicBezTo>
                <a:cubicBezTo>
                  <a:pt x="451952" y="6203"/>
                  <a:pt x="451952" y="1792"/>
                  <a:pt x="451952" y="0"/>
                </a:cubicBezTo>
                <a:cubicBezTo>
                  <a:pt x="449401" y="0"/>
                  <a:pt x="401000" y="0"/>
                  <a:pt x="398449" y="0"/>
                </a:cubicBezTo>
                <a:close/>
                <a:moveTo>
                  <a:pt x="317849" y="0"/>
                </a:moveTo>
                <a:cubicBezTo>
                  <a:pt x="317849" y="1792"/>
                  <a:pt x="317849" y="6203"/>
                  <a:pt x="317849" y="7995"/>
                </a:cubicBezTo>
                <a:cubicBezTo>
                  <a:pt x="320400" y="7995"/>
                  <a:pt x="368801" y="7995"/>
                  <a:pt x="371352" y="7995"/>
                </a:cubicBezTo>
                <a:cubicBezTo>
                  <a:pt x="371352" y="6203"/>
                  <a:pt x="371352" y="1792"/>
                  <a:pt x="371352" y="0"/>
                </a:cubicBezTo>
                <a:cubicBezTo>
                  <a:pt x="368801" y="0"/>
                  <a:pt x="320400" y="0"/>
                  <a:pt x="317849" y="0"/>
                </a:cubicBezTo>
                <a:close/>
                <a:moveTo>
                  <a:pt x="237318" y="0"/>
                </a:moveTo>
                <a:cubicBezTo>
                  <a:pt x="237318" y="1792"/>
                  <a:pt x="237318" y="6203"/>
                  <a:pt x="237318" y="7995"/>
                </a:cubicBezTo>
                <a:cubicBezTo>
                  <a:pt x="239869" y="7995"/>
                  <a:pt x="288270" y="7995"/>
                  <a:pt x="290821" y="7995"/>
                </a:cubicBezTo>
                <a:cubicBezTo>
                  <a:pt x="290821" y="6203"/>
                  <a:pt x="290821" y="1792"/>
                  <a:pt x="290821" y="0"/>
                </a:cubicBezTo>
                <a:cubicBezTo>
                  <a:pt x="288201" y="0"/>
                  <a:pt x="239869" y="0"/>
                  <a:pt x="237318" y="0"/>
                </a:cubicBezTo>
                <a:close/>
                <a:moveTo>
                  <a:pt x="156718" y="0"/>
                </a:moveTo>
                <a:cubicBezTo>
                  <a:pt x="156718" y="1792"/>
                  <a:pt x="156718" y="6203"/>
                  <a:pt x="156718" y="7995"/>
                </a:cubicBezTo>
                <a:cubicBezTo>
                  <a:pt x="159269" y="7995"/>
                  <a:pt x="207671" y="7995"/>
                  <a:pt x="210222" y="7995"/>
                </a:cubicBezTo>
                <a:cubicBezTo>
                  <a:pt x="210222" y="6203"/>
                  <a:pt x="210222" y="1792"/>
                  <a:pt x="210222" y="0"/>
                </a:cubicBezTo>
                <a:cubicBezTo>
                  <a:pt x="207671" y="0"/>
                  <a:pt x="159269" y="0"/>
                  <a:pt x="156718" y="0"/>
                </a:cubicBezTo>
                <a:close/>
                <a:moveTo>
                  <a:pt x="76187" y="0"/>
                </a:moveTo>
                <a:cubicBezTo>
                  <a:pt x="76187" y="1792"/>
                  <a:pt x="76187" y="6203"/>
                  <a:pt x="76187" y="7995"/>
                </a:cubicBezTo>
                <a:cubicBezTo>
                  <a:pt x="78738" y="7995"/>
                  <a:pt x="127140" y="7995"/>
                  <a:pt x="129691" y="7995"/>
                </a:cubicBezTo>
                <a:cubicBezTo>
                  <a:pt x="129691" y="6203"/>
                  <a:pt x="129691" y="1792"/>
                  <a:pt x="129691" y="0"/>
                </a:cubicBezTo>
                <a:cubicBezTo>
                  <a:pt x="127071" y="0"/>
                  <a:pt x="78738" y="0"/>
                  <a:pt x="76187" y="0"/>
                </a:cubicBezTo>
                <a:close/>
                <a:moveTo>
                  <a:pt x="0" y="0"/>
                </a:moveTo>
                <a:cubicBezTo>
                  <a:pt x="0" y="1792"/>
                  <a:pt x="0" y="6203"/>
                  <a:pt x="0" y="7995"/>
                </a:cubicBezTo>
                <a:cubicBezTo>
                  <a:pt x="2551" y="7995"/>
                  <a:pt x="46540" y="7995"/>
                  <a:pt x="49091" y="7995"/>
                </a:cubicBezTo>
                <a:cubicBezTo>
                  <a:pt x="49091" y="6203"/>
                  <a:pt x="49091" y="1792"/>
                  <a:pt x="49091" y="0"/>
                </a:cubicBezTo>
                <a:cubicBezTo>
                  <a:pt x="46540" y="0"/>
                  <a:pt x="2551" y="0"/>
                  <a:pt x="0" y="0"/>
                </a:cubicBezTo>
                <a:close/>
              </a:path>
            </a:pathLst>
          </a:custGeom>
          <a:solidFill>
            <a:srgbClr val="E4E4E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 dirty="0"/>
          </a:p>
        </p:txBody>
      </p:sp>
      <p:grpSp>
        <p:nvGrpSpPr>
          <p:cNvPr id="449" name="Group 448">
            <a:extLst>
              <a:ext uri="{FF2B5EF4-FFF2-40B4-BE49-F238E27FC236}">
                <a16:creationId xmlns:a16="http://schemas.microsoft.com/office/drawing/2014/main" id="{4F84881E-8BE5-31F4-7128-CB13313E3C0D}"/>
              </a:ext>
            </a:extLst>
          </p:cNvPr>
          <p:cNvGrpSpPr>
            <a:grpSpLocks noChangeAspect="1"/>
          </p:cNvGrpSpPr>
          <p:nvPr/>
        </p:nvGrpSpPr>
        <p:grpSpPr>
          <a:xfrm rot="15722872" flipV="1">
            <a:off x="3372004" y="4183967"/>
            <a:ext cx="510787" cy="512857"/>
            <a:chOff x="2190208" y="366364"/>
            <a:chExt cx="495734" cy="497743"/>
          </a:xfrm>
        </p:grpSpPr>
        <p:grpSp>
          <p:nvGrpSpPr>
            <p:cNvPr id="450" name="Graphic 4">
              <a:extLst>
                <a:ext uri="{FF2B5EF4-FFF2-40B4-BE49-F238E27FC236}">
                  <a16:creationId xmlns:a16="http://schemas.microsoft.com/office/drawing/2014/main" id="{627B3DDB-997E-3BED-0716-CF2F9FF3B7BD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190208" y="366364"/>
              <a:ext cx="495734" cy="497743"/>
              <a:chOff x="2190208" y="366364"/>
              <a:chExt cx="495734" cy="497743"/>
            </a:xfrm>
          </p:grpSpPr>
          <p:sp>
            <p:nvSpPr>
              <p:cNvPr id="452" name="Freeform 60">
                <a:extLst>
                  <a:ext uri="{FF2B5EF4-FFF2-40B4-BE49-F238E27FC236}">
                    <a16:creationId xmlns:a16="http://schemas.microsoft.com/office/drawing/2014/main" id="{4F4F815E-BB53-EB9E-FFC5-FAAECD5935CD}"/>
                  </a:ext>
                </a:extLst>
              </p:cNvPr>
              <p:cNvSpPr/>
              <p:nvPr/>
            </p:nvSpPr>
            <p:spPr>
              <a:xfrm>
                <a:off x="2190208" y="366364"/>
                <a:ext cx="495734" cy="495568"/>
              </a:xfrm>
              <a:custGeom>
                <a:avLst/>
                <a:gdLst>
                  <a:gd name="connsiteX0" fmla="*/ 0 w 495734"/>
                  <a:gd name="connsiteY0" fmla="*/ 0 h 495568"/>
                  <a:gd name="connsiteX1" fmla="*/ 0 w 495734"/>
                  <a:gd name="connsiteY1" fmla="*/ 233999 h 495568"/>
                  <a:gd name="connsiteX2" fmla="*/ 261656 w 495734"/>
                  <a:gd name="connsiteY2" fmla="*/ 495568 h 495568"/>
                  <a:gd name="connsiteX3" fmla="*/ 495734 w 495734"/>
                  <a:gd name="connsiteY3" fmla="*/ 495568 h 495568"/>
                  <a:gd name="connsiteX4" fmla="*/ 0 w 495734"/>
                  <a:gd name="connsiteY4" fmla="*/ 0 h 4955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95734" h="495568">
                    <a:moveTo>
                      <a:pt x="0" y="0"/>
                    </a:moveTo>
                    <a:lnTo>
                      <a:pt x="0" y="233999"/>
                    </a:lnTo>
                    <a:cubicBezTo>
                      <a:pt x="144239" y="233999"/>
                      <a:pt x="261656" y="351309"/>
                      <a:pt x="261656" y="495568"/>
                    </a:cubicBezTo>
                    <a:lnTo>
                      <a:pt x="495734" y="495568"/>
                    </a:lnTo>
                    <a:cubicBezTo>
                      <a:pt x="495734" y="222351"/>
                      <a:pt x="273378" y="0"/>
                      <a:pt x="0" y="0"/>
                    </a:cubicBezTo>
                    <a:close/>
                  </a:path>
                </a:pathLst>
              </a:custGeom>
              <a:solidFill>
                <a:schemeClr val="accent6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  <p:sp>
            <p:nvSpPr>
              <p:cNvPr id="453" name="Freeform 61">
                <a:extLst>
                  <a:ext uri="{FF2B5EF4-FFF2-40B4-BE49-F238E27FC236}">
                    <a16:creationId xmlns:a16="http://schemas.microsoft.com/office/drawing/2014/main" id="{C82823E0-7D68-5F52-55DE-7AD6AE556871}"/>
                  </a:ext>
                </a:extLst>
              </p:cNvPr>
              <p:cNvSpPr/>
              <p:nvPr/>
            </p:nvSpPr>
            <p:spPr>
              <a:xfrm>
                <a:off x="2192110" y="381566"/>
                <a:ext cx="482702" cy="482541"/>
              </a:xfrm>
              <a:custGeom>
                <a:avLst/>
                <a:gdLst>
                  <a:gd name="connsiteX0" fmla="*/ 0 w 482702"/>
                  <a:gd name="connsiteY0" fmla="*/ 199606 h 482541"/>
                  <a:gd name="connsiteX1" fmla="*/ 0 w 482702"/>
                  <a:gd name="connsiteY1" fmla="*/ 207877 h 482541"/>
                  <a:gd name="connsiteX2" fmla="*/ 274757 w 482702"/>
                  <a:gd name="connsiteY2" fmla="*/ 482541 h 482541"/>
                  <a:gd name="connsiteX3" fmla="*/ 283030 w 482702"/>
                  <a:gd name="connsiteY3" fmla="*/ 482541 h 482541"/>
                  <a:gd name="connsiteX4" fmla="*/ 0 w 482702"/>
                  <a:gd name="connsiteY4" fmla="*/ 199606 h 482541"/>
                  <a:gd name="connsiteX5" fmla="*/ 0 w 482702"/>
                  <a:gd name="connsiteY5" fmla="*/ 0 h 482541"/>
                  <a:gd name="connsiteX6" fmla="*/ 0 w 482702"/>
                  <a:gd name="connsiteY6" fmla="*/ 8271 h 482541"/>
                  <a:gd name="connsiteX7" fmla="*/ 474429 w 482702"/>
                  <a:gd name="connsiteY7" fmla="*/ 482541 h 482541"/>
                  <a:gd name="connsiteX8" fmla="*/ 482703 w 482702"/>
                  <a:gd name="connsiteY8" fmla="*/ 482541 h 482541"/>
                  <a:gd name="connsiteX9" fmla="*/ 0 w 482702"/>
                  <a:gd name="connsiteY9" fmla="*/ 0 h 4825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82702" h="482541">
                    <a:moveTo>
                      <a:pt x="0" y="199606"/>
                    </a:moveTo>
                    <a:lnTo>
                      <a:pt x="0" y="207877"/>
                    </a:lnTo>
                    <a:cubicBezTo>
                      <a:pt x="151478" y="207877"/>
                      <a:pt x="274757" y="331114"/>
                      <a:pt x="274757" y="482541"/>
                    </a:cubicBezTo>
                    <a:lnTo>
                      <a:pt x="283030" y="482541"/>
                    </a:lnTo>
                    <a:cubicBezTo>
                      <a:pt x="282961" y="326496"/>
                      <a:pt x="156029" y="199606"/>
                      <a:pt x="0" y="199606"/>
                    </a:cubicBezTo>
                    <a:close/>
                    <a:moveTo>
                      <a:pt x="0" y="0"/>
                    </a:moveTo>
                    <a:lnTo>
                      <a:pt x="0" y="8271"/>
                    </a:lnTo>
                    <a:cubicBezTo>
                      <a:pt x="261588" y="8271"/>
                      <a:pt x="474429" y="221041"/>
                      <a:pt x="474429" y="482541"/>
                    </a:cubicBezTo>
                    <a:lnTo>
                      <a:pt x="482703" y="482541"/>
                    </a:lnTo>
                    <a:cubicBezTo>
                      <a:pt x="482634" y="216423"/>
                      <a:pt x="266138" y="0"/>
                      <a:pt x="0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  <p:sp>
          <p:nvSpPr>
            <p:cNvPr id="451" name="Freeform 59">
              <a:extLst>
                <a:ext uri="{FF2B5EF4-FFF2-40B4-BE49-F238E27FC236}">
                  <a16:creationId xmlns:a16="http://schemas.microsoft.com/office/drawing/2014/main" id="{74801F37-320B-A2AE-2AD1-EDD568FA836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192041" y="480197"/>
              <a:ext cx="384038" cy="366265"/>
            </a:xfrm>
            <a:custGeom>
              <a:avLst/>
              <a:gdLst>
                <a:gd name="connsiteX0" fmla="*/ 359494 w 384038"/>
                <a:gd name="connsiteY0" fmla="*/ 247302 h 366265"/>
                <a:gd name="connsiteX1" fmla="*/ 351978 w 384038"/>
                <a:gd name="connsiteY1" fmla="*/ 249852 h 366265"/>
                <a:gd name="connsiteX2" fmla="*/ 351633 w 384038"/>
                <a:gd name="connsiteY2" fmla="*/ 249990 h 366265"/>
                <a:gd name="connsiteX3" fmla="*/ 351771 w 384038"/>
                <a:gd name="connsiteY3" fmla="*/ 250334 h 366265"/>
                <a:gd name="connsiteX4" fmla="*/ 366526 w 384038"/>
                <a:gd name="connsiteY4" fmla="*/ 298581 h 366265"/>
                <a:gd name="connsiteX5" fmla="*/ 370525 w 384038"/>
                <a:gd name="connsiteY5" fmla="*/ 298030 h 366265"/>
                <a:gd name="connsiteX6" fmla="*/ 374317 w 384038"/>
                <a:gd name="connsiteY6" fmla="*/ 297134 h 366265"/>
                <a:gd name="connsiteX7" fmla="*/ 359494 w 384038"/>
                <a:gd name="connsiteY7" fmla="*/ 247302 h 366265"/>
                <a:gd name="connsiteX8" fmla="*/ 73360 w 384038"/>
                <a:gd name="connsiteY8" fmla="*/ 6961 h 366265"/>
                <a:gd name="connsiteX9" fmla="*/ 71844 w 384038"/>
                <a:gd name="connsiteY9" fmla="*/ 15095 h 366265"/>
                <a:gd name="connsiteX10" fmla="*/ 72188 w 384038"/>
                <a:gd name="connsiteY10" fmla="*/ 15163 h 366265"/>
                <a:gd name="connsiteX11" fmla="*/ 120934 w 384038"/>
                <a:gd name="connsiteY11" fmla="*/ 28121 h 366265"/>
                <a:gd name="connsiteX12" fmla="*/ 121279 w 384038"/>
                <a:gd name="connsiteY12" fmla="*/ 28259 h 366265"/>
                <a:gd name="connsiteX13" fmla="*/ 123830 w 384038"/>
                <a:gd name="connsiteY13" fmla="*/ 20746 h 366265"/>
                <a:gd name="connsiteX14" fmla="*/ 73705 w 384038"/>
                <a:gd name="connsiteY14" fmla="*/ 7099 h 366265"/>
                <a:gd name="connsiteX15" fmla="*/ 73360 w 384038"/>
                <a:gd name="connsiteY15" fmla="*/ 6961 h 366265"/>
                <a:gd name="connsiteX16" fmla="*/ 379626 w 384038"/>
                <a:gd name="connsiteY16" fmla="*/ 322498 h 366265"/>
                <a:gd name="connsiteX17" fmla="*/ 374869 w 384038"/>
                <a:gd name="connsiteY17" fmla="*/ 322912 h 366265"/>
                <a:gd name="connsiteX18" fmla="*/ 371421 w 384038"/>
                <a:gd name="connsiteY18" fmla="*/ 323463 h 366265"/>
                <a:gd name="connsiteX19" fmla="*/ 371490 w 384038"/>
                <a:gd name="connsiteY19" fmla="*/ 323808 h 366265"/>
                <a:gd name="connsiteX20" fmla="*/ 375972 w 384038"/>
                <a:gd name="connsiteY20" fmla="*/ 366265 h 366265"/>
                <a:gd name="connsiteX21" fmla="*/ 384039 w 384038"/>
                <a:gd name="connsiteY21" fmla="*/ 366265 h 366265"/>
                <a:gd name="connsiteX22" fmla="*/ 379626 w 384038"/>
                <a:gd name="connsiteY22" fmla="*/ 322498 h 366265"/>
                <a:gd name="connsiteX23" fmla="*/ 69 w 384038"/>
                <a:gd name="connsiteY23" fmla="*/ 7995 h 366265"/>
                <a:gd name="connsiteX24" fmla="*/ 46678 w 384038"/>
                <a:gd name="connsiteY24" fmla="*/ 11166 h 366265"/>
                <a:gd name="connsiteX25" fmla="*/ 47367 w 384038"/>
                <a:gd name="connsiteY25" fmla="*/ 8202 h 366265"/>
                <a:gd name="connsiteX26" fmla="*/ 47988 w 384038"/>
                <a:gd name="connsiteY26" fmla="*/ 3308 h 366265"/>
                <a:gd name="connsiteX27" fmla="*/ 0 w 384038"/>
                <a:gd name="connsiteY27" fmla="*/ 0 h 366265"/>
                <a:gd name="connsiteX28" fmla="*/ 0 w 384038"/>
                <a:gd name="connsiteY28" fmla="*/ 7995 h 366265"/>
                <a:gd name="connsiteX29" fmla="*/ 148238 w 384038"/>
                <a:gd name="connsiteY29" fmla="*/ 29500 h 366265"/>
                <a:gd name="connsiteX30" fmla="*/ 146031 w 384038"/>
                <a:gd name="connsiteY30" fmla="*/ 33911 h 366265"/>
                <a:gd name="connsiteX31" fmla="*/ 144790 w 384038"/>
                <a:gd name="connsiteY31" fmla="*/ 37013 h 366265"/>
                <a:gd name="connsiteX32" fmla="*/ 147893 w 384038"/>
                <a:gd name="connsiteY32" fmla="*/ 38391 h 366265"/>
                <a:gd name="connsiteX33" fmla="*/ 190227 w 384038"/>
                <a:gd name="connsiteY33" fmla="*/ 59827 h 366265"/>
                <a:gd name="connsiteX34" fmla="*/ 194570 w 384038"/>
                <a:gd name="connsiteY34" fmla="*/ 53210 h 366265"/>
                <a:gd name="connsiteX35" fmla="*/ 150444 w 384038"/>
                <a:gd name="connsiteY35" fmla="*/ 30534 h 366265"/>
                <a:gd name="connsiteX36" fmla="*/ 148238 w 384038"/>
                <a:gd name="connsiteY36" fmla="*/ 29500 h 366265"/>
                <a:gd name="connsiteX37" fmla="*/ 276342 w 384038"/>
                <a:gd name="connsiteY37" fmla="*/ 116689 h 366265"/>
                <a:gd name="connsiteX38" fmla="*/ 273240 w 384038"/>
                <a:gd name="connsiteY38" fmla="*/ 119240 h 366265"/>
                <a:gd name="connsiteX39" fmla="*/ 270206 w 384038"/>
                <a:gd name="connsiteY39" fmla="*/ 122203 h 366265"/>
                <a:gd name="connsiteX40" fmla="*/ 276618 w 384038"/>
                <a:gd name="connsiteY40" fmla="*/ 129372 h 366265"/>
                <a:gd name="connsiteX41" fmla="*/ 302818 w 384038"/>
                <a:gd name="connsiteY41" fmla="*/ 161146 h 366265"/>
                <a:gd name="connsiteX42" fmla="*/ 308058 w 384038"/>
                <a:gd name="connsiteY42" fmla="*/ 157768 h 366265"/>
                <a:gd name="connsiteX43" fmla="*/ 309437 w 384038"/>
                <a:gd name="connsiteY43" fmla="*/ 156804 h 366265"/>
                <a:gd name="connsiteX44" fmla="*/ 282341 w 384038"/>
                <a:gd name="connsiteY44" fmla="*/ 123444 h 366265"/>
                <a:gd name="connsiteX45" fmla="*/ 276342 w 384038"/>
                <a:gd name="connsiteY45" fmla="*/ 116689 h 366265"/>
                <a:gd name="connsiteX46" fmla="*/ 320676 w 384038"/>
                <a:gd name="connsiteY46" fmla="*/ 179893 h 366265"/>
                <a:gd name="connsiteX47" fmla="*/ 317366 w 384038"/>
                <a:gd name="connsiteY47" fmla="*/ 181961 h 366265"/>
                <a:gd name="connsiteX48" fmla="*/ 317573 w 384038"/>
                <a:gd name="connsiteY48" fmla="*/ 182237 h 366265"/>
                <a:gd name="connsiteX49" fmla="*/ 341705 w 384038"/>
                <a:gd name="connsiteY49" fmla="*/ 226555 h 366265"/>
                <a:gd name="connsiteX50" fmla="*/ 347635 w 384038"/>
                <a:gd name="connsiteY50" fmla="*/ 224212 h 366265"/>
                <a:gd name="connsiteX51" fmla="*/ 349013 w 384038"/>
                <a:gd name="connsiteY51" fmla="*/ 223592 h 366265"/>
                <a:gd name="connsiteX52" fmla="*/ 324537 w 384038"/>
                <a:gd name="connsiteY52" fmla="*/ 177757 h 366265"/>
                <a:gd name="connsiteX53" fmla="*/ 320676 w 384038"/>
                <a:gd name="connsiteY53" fmla="*/ 179893 h 366265"/>
                <a:gd name="connsiteX54" fmla="*/ 216772 w 384038"/>
                <a:gd name="connsiteY54" fmla="*/ 66512 h 366265"/>
                <a:gd name="connsiteX55" fmla="*/ 212014 w 384038"/>
                <a:gd name="connsiteY55" fmla="*/ 72853 h 366265"/>
                <a:gd name="connsiteX56" fmla="*/ 211807 w 384038"/>
                <a:gd name="connsiteY56" fmla="*/ 73129 h 366265"/>
                <a:gd name="connsiteX57" fmla="*/ 222081 w 384038"/>
                <a:gd name="connsiteY57" fmla="*/ 80711 h 366265"/>
                <a:gd name="connsiteX58" fmla="*/ 251590 w 384038"/>
                <a:gd name="connsiteY58" fmla="*/ 104697 h 366265"/>
                <a:gd name="connsiteX59" fmla="*/ 257175 w 384038"/>
                <a:gd name="connsiteY59" fmla="*/ 99045 h 366265"/>
                <a:gd name="connsiteX60" fmla="*/ 226631 w 384038"/>
                <a:gd name="connsiteY60" fmla="*/ 73818 h 366265"/>
                <a:gd name="connsiteX61" fmla="*/ 216772 w 384038"/>
                <a:gd name="connsiteY61" fmla="*/ 66512 h 366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384038" h="366265">
                  <a:moveTo>
                    <a:pt x="359494" y="247302"/>
                  </a:moveTo>
                  <a:cubicBezTo>
                    <a:pt x="359080" y="247095"/>
                    <a:pt x="351978" y="249852"/>
                    <a:pt x="351978" y="249852"/>
                  </a:cubicBezTo>
                  <a:lnTo>
                    <a:pt x="351633" y="249990"/>
                  </a:lnTo>
                  <a:lnTo>
                    <a:pt x="351771" y="250334"/>
                  </a:lnTo>
                  <a:cubicBezTo>
                    <a:pt x="358252" y="267014"/>
                    <a:pt x="363010" y="282729"/>
                    <a:pt x="366526" y="298581"/>
                  </a:cubicBezTo>
                  <a:cubicBezTo>
                    <a:pt x="366940" y="298857"/>
                    <a:pt x="370525" y="298030"/>
                    <a:pt x="370525" y="298030"/>
                  </a:cubicBezTo>
                  <a:lnTo>
                    <a:pt x="374317" y="297134"/>
                  </a:lnTo>
                  <a:cubicBezTo>
                    <a:pt x="371008" y="280523"/>
                    <a:pt x="366112" y="264326"/>
                    <a:pt x="359494" y="247302"/>
                  </a:cubicBezTo>
                  <a:close/>
                  <a:moveTo>
                    <a:pt x="73360" y="6961"/>
                  </a:moveTo>
                  <a:lnTo>
                    <a:pt x="71844" y="15095"/>
                  </a:lnTo>
                  <a:lnTo>
                    <a:pt x="72188" y="15163"/>
                  </a:lnTo>
                  <a:cubicBezTo>
                    <a:pt x="89287" y="18541"/>
                    <a:pt x="105697" y="22883"/>
                    <a:pt x="120934" y="28121"/>
                  </a:cubicBezTo>
                  <a:lnTo>
                    <a:pt x="121279" y="28259"/>
                  </a:lnTo>
                  <a:lnTo>
                    <a:pt x="123830" y="20746"/>
                  </a:lnTo>
                  <a:cubicBezTo>
                    <a:pt x="108041" y="15026"/>
                    <a:pt x="91287" y="10545"/>
                    <a:pt x="73705" y="7099"/>
                  </a:cubicBezTo>
                  <a:lnTo>
                    <a:pt x="73360" y="6961"/>
                  </a:lnTo>
                  <a:close/>
                  <a:moveTo>
                    <a:pt x="379626" y="322498"/>
                  </a:moveTo>
                  <a:cubicBezTo>
                    <a:pt x="379212" y="322223"/>
                    <a:pt x="374869" y="322912"/>
                    <a:pt x="374869" y="322912"/>
                  </a:cubicBezTo>
                  <a:lnTo>
                    <a:pt x="371421" y="323463"/>
                  </a:lnTo>
                  <a:lnTo>
                    <a:pt x="371490" y="323808"/>
                  </a:lnTo>
                  <a:cubicBezTo>
                    <a:pt x="373904" y="337524"/>
                    <a:pt x="375351" y="351791"/>
                    <a:pt x="375972" y="366265"/>
                  </a:cubicBezTo>
                  <a:lnTo>
                    <a:pt x="384039" y="366265"/>
                  </a:lnTo>
                  <a:cubicBezTo>
                    <a:pt x="383625" y="351240"/>
                    <a:pt x="382177" y="336559"/>
                    <a:pt x="379626" y="322498"/>
                  </a:cubicBezTo>
                  <a:close/>
                  <a:moveTo>
                    <a:pt x="69" y="7995"/>
                  </a:moveTo>
                  <a:cubicBezTo>
                    <a:pt x="15100" y="8340"/>
                    <a:pt x="30613" y="9236"/>
                    <a:pt x="46678" y="11166"/>
                  </a:cubicBezTo>
                  <a:cubicBezTo>
                    <a:pt x="47091" y="10890"/>
                    <a:pt x="47367" y="8202"/>
                    <a:pt x="47367" y="8202"/>
                  </a:cubicBezTo>
                  <a:lnTo>
                    <a:pt x="47988" y="3308"/>
                  </a:lnTo>
                  <a:cubicBezTo>
                    <a:pt x="31164" y="1034"/>
                    <a:pt x="15169" y="69"/>
                    <a:pt x="0" y="0"/>
                  </a:cubicBezTo>
                  <a:lnTo>
                    <a:pt x="0" y="7995"/>
                  </a:lnTo>
                  <a:close/>
                  <a:moveTo>
                    <a:pt x="148238" y="29500"/>
                  </a:moveTo>
                  <a:cubicBezTo>
                    <a:pt x="147755" y="29707"/>
                    <a:pt x="146031" y="33911"/>
                    <a:pt x="146031" y="33911"/>
                  </a:cubicBezTo>
                  <a:lnTo>
                    <a:pt x="144790" y="37013"/>
                  </a:lnTo>
                  <a:lnTo>
                    <a:pt x="147893" y="38391"/>
                  </a:lnTo>
                  <a:cubicBezTo>
                    <a:pt x="160510" y="44043"/>
                    <a:pt x="176230" y="51142"/>
                    <a:pt x="190227" y="59827"/>
                  </a:cubicBezTo>
                  <a:cubicBezTo>
                    <a:pt x="190709" y="59689"/>
                    <a:pt x="194570" y="53210"/>
                    <a:pt x="194570" y="53210"/>
                  </a:cubicBezTo>
                  <a:cubicBezTo>
                    <a:pt x="180023" y="43767"/>
                    <a:pt x="163613" y="36392"/>
                    <a:pt x="150444" y="30534"/>
                  </a:cubicBezTo>
                  <a:lnTo>
                    <a:pt x="148238" y="29500"/>
                  </a:lnTo>
                  <a:close/>
                  <a:moveTo>
                    <a:pt x="276342" y="116689"/>
                  </a:moveTo>
                  <a:cubicBezTo>
                    <a:pt x="275860" y="116689"/>
                    <a:pt x="273240" y="119240"/>
                    <a:pt x="273240" y="119240"/>
                  </a:cubicBezTo>
                  <a:lnTo>
                    <a:pt x="270206" y="122203"/>
                  </a:lnTo>
                  <a:lnTo>
                    <a:pt x="276618" y="129372"/>
                  </a:lnTo>
                  <a:cubicBezTo>
                    <a:pt x="286478" y="140262"/>
                    <a:pt x="295303" y="150187"/>
                    <a:pt x="302818" y="161146"/>
                  </a:cubicBezTo>
                  <a:cubicBezTo>
                    <a:pt x="303301" y="161215"/>
                    <a:pt x="308058" y="157768"/>
                    <a:pt x="308058" y="157768"/>
                  </a:cubicBezTo>
                  <a:lnTo>
                    <a:pt x="309437" y="156804"/>
                  </a:lnTo>
                  <a:cubicBezTo>
                    <a:pt x="301095" y="144190"/>
                    <a:pt x="290753" y="132680"/>
                    <a:pt x="282341" y="123444"/>
                  </a:cubicBezTo>
                  <a:lnTo>
                    <a:pt x="276342" y="116689"/>
                  </a:lnTo>
                  <a:close/>
                  <a:moveTo>
                    <a:pt x="320676" y="179893"/>
                  </a:moveTo>
                  <a:lnTo>
                    <a:pt x="317366" y="181961"/>
                  </a:lnTo>
                  <a:lnTo>
                    <a:pt x="317573" y="182237"/>
                  </a:lnTo>
                  <a:cubicBezTo>
                    <a:pt x="325985" y="195884"/>
                    <a:pt x="334741" y="210703"/>
                    <a:pt x="341705" y="226555"/>
                  </a:cubicBezTo>
                  <a:cubicBezTo>
                    <a:pt x="342188" y="226693"/>
                    <a:pt x="347635" y="224212"/>
                    <a:pt x="347635" y="224212"/>
                  </a:cubicBezTo>
                  <a:lnTo>
                    <a:pt x="349013" y="223592"/>
                  </a:lnTo>
                  <a:cubicBezTo>
                    <a:pt x="342050" y="206843"/>
                    <a:pt x="333155" y="191748"/>
                    <a:pt x="324537" y="177757"/>
                  </a:cubicBezTo>
                  <a:cubicBezTo>
                    <a:pt x="324054" y="177688"/>
                    <a:pt x="320676" y="179893"/>
                    <a:pt x="320676" y="179893"/>
                  </a:cubicBezTo>
                  <a:close/>
                  <a:moveTo>
                    <a:pt x="216772" y="66512"/>
                  </a:moveTo>
                  <a:cubicBezTo>
                    <a:pt x="216289" y="66581"/>
                    <a:pt x="212014" y="72853"/>
                    <a:pt x="212014" y="72853"/>
                  </a:cubicBezTo>
                  <a:lnTo>
                    <a:pt x="211807" y="73129"/>
                  </a:lnTo>
                  <a:lnTo>
                    <a:pt x="222081" y="80711"/>
                  </a:lnTo>
                  <a:cubicBezTo>
                    <a:pt x="233043" y="88706"/>
                    <a:pt x="242765" y="96081"/>
                    <a:pt x="251590" y="104697"/>
                  </a:cubicBezTo>
                  <a:cubicBezTo>
                    <a:pt x="252073" y="104697"/>
                    <a:pt x="257175" y="99045"/>
                    <a:pt x="257175" y="99045"/>
                  </a:cubicBezTo>
                  <a:cubicBezTo>
                    <a:pt x="248074" y="89740"/>
                    <a:pt x="238007" y="82089"/>
                    <a:pt x="226631" y="73818"/>
                  </a:cubicBezTo>
                  <a:lnTo>
                    <a:pt x="216772" y="66512"/>
                  </a:lnTo>
                  <a:close/>
                </a:path>
              </a:pathLst>
            </a:custGeom>
            <a:solidFill>
              <a:schemeClr val="bg1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2B875C26-C46D-C5CD-3B52-A1AA78FD6C10}"/>
              </a:ext>
            </a:extLst>
          </p:cNvPr>
          <p:cNvGrpSpPr>
            <a:grpSpLocks noChangeAspect="1"/>
          </p:cNvGrpSpPr>
          <p:nvPr/>
        </p:nvGrpSpPr>
        <p:grpSpPr>
          <a:xfrm rot="18136465" flipV="1">
            <a:off x="1862903" y="3642750"/>
            <a:ext cx="510787" cy="512857"/>
            <a:chOff x="2190208" y="366364"/>
            <a:chExt cx="495734" cy="497743"/>
          </a:xfrm>
        </p:grpSpPr>
        <p:grpSp>
          <p:nvGrpSpPr>
            <p:cNvPr id="44" name="Graphic 4">
              <a:extLst>
                <a:ext uri="{FF2B5EF4-FFF2-40B4-BE49-F238E27FC236}">
                  <a16:creationId xmlns:a16="http://schemas.microsoft.com/office/drawing/2014/main" id="{6736CF8E-0CFC-C82B-4962-BA96162B0C20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190208" y="366364"/>
              <a:ext cx="495734" cy="497743"/>
              <a:chOff x="2190208" y="366364"/>
              <a:chExt cx="495734" cy="497743"/>
            </a:xfrm>
          </p:grpSpPr>
          <p:sp>
            <p:nvSpPr>
              <p:cNvPr id="63" name="Freeform 60">
                <a:extLst>
                  <a:ext uri="{FF2B5EF4-FFF2-40B4-BE49-F238E27FC236}">
                    <a16:creationId xmlns:a16="http://schemas.microsoft.com/office/drawing/2014/main" id="{25234E91-969E-9D8C-DA0C-1A94436C83DA}"/>
                  </a:ext>
                </a:extLst>
              </p:cNvPr>
              <p:cNvSpPr/>
              <p:nvPr/>
            </p:nvSpPr>
            <p:spPr>
              <a:xfrm>
                <a:off x="2190208" y="366364"/>
                <a:ext cx="495734" cy="495568"/>
              </a:xfrm>
              <a:custGeom>
                <a:avLst/>
                <a:gdLst>
                  <a:gd name="connsiteX0" fmla="*/ 0 w 495734"/>
                  <a:gd name="connsiteY0" fmla="*/ 0 h 495568"/>
                  <a:gd name="connsiteX1" fmla="*/ 0 w 495734"/>
                  <a:gd name="connsiteY1" fmla="*/ 233999 h 495568"/>
                  <a:gd name="connsiteX2" fmla="*/ 261656 w 495734"/>
                  <a:gd name="connsiteY2" fmla="*/ 495568 h 495568"/>
                  <a:gd name="connsiteX3" fmla="*/ 495734 w 495734"/>
                  <a:gd name="connsiteY3" fmla="*/ 495568 h 495568"/>
                  <a:gd name="connsiteX4" fmla="*/ 0 w 495734"/>
                  <a:gd name="connsiteY4" fmla="*/ 0 h 4955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95734" h="495568">
                    <a:moveTo>
                      <a:pt x="0" y="0"/>
                    </a:moveTo>
                    <a:lnTo>
                      <a:pt x="0" y="233999"/>
                    </a:lnTo>
                    <a:cubicBezTo>
                      <a:pt x="144239" y="233999"/>
                      <a:pt x="261656" y="351309"/>
                      <a:pt x="261656" y="495568"/>
                    </a:cubicBezTo>
                    <a:lnTo>
                      <a:pt x="495734" y="495568"/>
                    </a:lnTo>
                    <a:cubicBezTo>
                      <a:pt x="495734" y="222351"/>
                      <a:pt x="273378" y="0"/>
                      <a:pt x="0" y="0"/>
                    </a:cubicBezTo>
                    <a:close/>
                  </a:path>
                </a:pathLst>
              </a:custGeom>
              <a:solidFill>
                <a:schemeClr val="accent6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  <p:sp>
            <p:nvSpPr>
              <p:cNvPr id="448" name="Freeform 61">
                <a:extLst>
                  <a:ext uri="{FF2B5EF4-FFF2-40B4-BE49-F238E27FC236}">
                    <a16:creationId xmlns:a16="http://schemas.microsoft.com/office/drawing/2014/main" id="{087901BD-92D3-B6EF-497F-18368A828DAF}"/>
                  </a:ext>
                </a:extLst>
              </p:cNvPr>
              <p:cNvSpPr/>
              <p:nvPr/>
            </p:nvSpPr>
            <p:spPr>
              <a:xfrm>
                <a:off x="2192110" y="381566"/>
                <a:ext cx="482702" cy="482541"/>
              </a:xfrm>
              <a:custGeom>
                <a:avLst/>
                <a:gdLst>
                  <a:gd name="connsiteX0" fmla="*/ 0 w 482702"/>
                  <a:gd name="connsiteY0" fmla="*/ 199606 h 482541"/>
                  <a:gd name="connsiteX1" fmla="*/ 0 w 482702"/>
                  <a:gd name="connsiteY1" fmla="*/ 207877 h 482541"/>
                  <a:gd name="connsiteX2" fmla="*/ 274757 w 482702"/>
                  <a:gd name="connsiteY2" fmla="*/ 482541 h 482541"/>
                  <a:gd name="connsiteX3" fmla="*/ 283030 w 482702"/>
                  <a:gd name="connsiteY3" fmla="*/ 482541 h 482541"/>
                  <a:gd name="connsiteX4" fmla="*/ 0 w 482702"/>
                  <a:gd name="connsiteY4" fmla="*/ 199606 h 482541"/>
                  <a:gd name="connsiteX5" fmla="*/ 0 w 482702"/>
                  <a:gd name="connsiteY5" fmla="*/ 0 h 482541"/>
                  <a:gd name="connsiteX6" fmla="*/ 0 w 482702"/>
                  <a:gd name="connsiteY6" fmla="*/ 8271 h 482541"/>
                  <a:gd name="connsiteX7" fmla="*/ 474429 w 482702"/>
                  <a:gd name="connsiteY7" fmla="*/ 482541 h 482541"/>
                  <a:gd name="connsiteX8" fmla="*/ 482703 w 482702"/>
                  <a:gd name="connsiteY8" fmla="*/ 482541 h 482541"/>
                  <a:gd name="connsiteX9" fmla="*/ 0 w 482702"/>
                  <a:gd name="connsiteY9" fmla="*/ 0 h 4825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82702" h="482541">
                    <a:moveTo>
                      <a:pt x="0" y="199606"/>
                    </a:moveTo>
                    <a:lnTo>
                      <a:pt x="0" y="207877"/>
                    </a:lnTo>
                    <a:cubicBezTo>
                      <a:pt x="151478" y="207877"/>
                      <a:pt x="274757" y="331114"/>
                      <a:pt x="274757" y="482541"/>
                    </a:cubicBezTo>
                    <a:lnTo>
                      <a:pt x="283030" y="482541"/>
                    </a:lnTo>
                    <a:cubicBezTo>
                      <a:pt x="282961" y="326496"/>
                      <a:pt x="156029" y="199606"/>
                      <a:pt x="0" y="199606"/>
                    </a:cubicBezTo>
                    <a:close/>
                    <a:moveTo>
                      <a:pt x="0" y="0"/>
                    </a:moveTo>
                    <a:lnTo>
                      <a:pt x="0" y="8271"/>
                    </a:lnTo>
                    <a:cubicBezTo>
                      <a:pt x="261588" y="8271"/>
                      <a:pt x="474429" y="221041"/>
                      <a:pt x="474429" y="482541"/>
                    </a:cubicBezTo>
                    <a:lnTo>
                      <a:pt x="482703" y="482541"/>
                    </a:lnTo>
                    <a:cubicBezTo>
                      <a:pt x="482634" y="216423"/>
                      <a:pt x="266138" y="0"/>
                      <a:pt x="0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  <p:sp>
          <p:nvSpPr>
            <p:cNvPr id="57" name="Freeform 59">
              <a:extLst>
                <a:ext uri="{FF2B5EF4-FFF2-40B4-BE49-F238E27FC236}">
                  <a16:creationId xmlns:a16="http://schemas.microsoft.com/office/drawing/2014/main" id="{3A8A4072-1D93-49A8-F2FA-1754FAA2AA3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192041" y="480197"/>
              <a:ext cx="384038" cy="366265"/>
            </a:xfrm>
            <a:custGeom>
              <a:avLst/>
              <a:gdLst>
                <a:gd name="connsiteX0" fmla="*/ 359494 w 384038"/>
                <a:gd name="connsiteY0" fmla="*/ 247302 h 366265"/>
                <a:gd name="connsiteX1" fmla="*/ 351978 w 384038"/>
                <a:gd name="connsiteY1" fmla="*/ 249852 h 366265"/>
                <a:gd name="connsiteX2" fmla="*/ 351633 w 384038"/>
                <a:gd name="connsiteY2" fmla="*/ 249990 h 366265"/>
                <a:gd name="connsiteX3" fmla="*/ 351771 w 384038"/>
                <a:gd name="connsiteY3" fmla="*/ 250334 h 366265"/>
                <a:gd name="connsiteX4" fmla="*/ 366526 w 384038"/>
                <a:gd name="connsiteY4" fmla="*/ 298581 h 366265"/>
                <a:gd name="connsiteX5" fmla="*/ 370525 w 384038"/>
                <a:gd name="connsiteY5" fmla="*/ 298030 h 366265"/>
                <a:gd name="connsiteX6" fmla="*/ 374317 w 384038"/>
                <a:gd name="connsiteY6" fmla="*/ 297134 h 366265"/>
                <a:gd name="connsiteX7" fmla="*/ 359494 w 384038"/>
                <a:gd name="connsiteY7" fmla="*/ 247302 h 366265"/>
                <a:gd name="connsiteX8" fmla="*/ 73360 w 384038"/>
                <a:gd name="connsiteY8" fmla="*/ 6961 h 366265"/>
                <a:gd name="connsiteX9" fmla="*/ 71844 w 384038"/>
                <a:gd name="connsiteY9" fmla="*/ 15095 h 366265"/>
                <a:gd name="connsiteX10" fmla="*/ 72188 w 384038"/>
                <a:gd name="connsiteY10" fmla="*/ 15163 h 366265"/>
                <a:gd name="connsiteX11" fmla="*/ 120934 w 384038"/>
                <a:gd name="connsiteY11" fmla="*/ 28121 h 366265"/>
                <a:gd name="connsiteX12" fmla="*/ 121279 w 384038"/>
                <a:gd name="connsiteY12" fmla="*/ 28259 h 366265"/>
                <a:gd name="connsiteX13" fmla="*/ 123830 w 384038"/>
                <a:gd name="connsiteY13" fmla="*/ 20746 h 366265"/>
                <a:gd name="connsiteX14" fmla="*/ 73705 w 384038"/>
                <a:gd name="connsiteY14" fmla="*/ 7099 h 366265"/>
                <a:gd name="connsiteX15" fmla="*/ 73360 w 384038"/>
                <a:gd name="connsiteY15" fmla="*/ 6961 h 366265"/>
                <a:gd name="connsiteX16" fmla="*/ 379626 w 384038"/>
                <a:gd name="connsiteY16" fmla="*/ 322498 h 366265"/>
                <a:gd name="connsiteX17" fmla="*/ 374869 w 384038"/>
                <a:gd name="connsiteY17" fmla="*/ 322912 h 366265"/>
                <a:gd name="connsiteX18" fmla="*/ 371421 w 384038"/>
                <a:gd name="connsiteY18" fmla="*/ 323463 h 366265"/>
                <a:gd name="connsiteX19" fmla="*/ 371490 w 384038"/>
                <a:gd name="connsiteY19" fmla="*/ 323808 h 366265"/>
                <a:gd name="connsiteX20" fmla="*/ 375972 w 384038"/>
                <a:gd name="connsiteY20" fmla="*/ 366265 h 366265"/>
                <a:gd name="connsiteX21" fmla="*/ 384039 w 384038"/>
                <a:gd name="connsiteY21" fmla="*/ 366265 h 366265"/>
                <a:gd name="connsiteX22" fmla="*/ 379626 w 384038"/>
                <a:gd name="connsiteY22" fmla="*/ 322498 h 366265"/>
                <a:gd name="connsiteX23" fmla="*/ 69 w 384038"/>
                <a:gd name="connsiteY23" fmla="*/ 7995 h 366265"/>
                <a:gd name="connsiteX24" fmla="*/ 46678 w 384038"/>
                <a:gd name="connsiteY24" fmla="*/ 11166 h 366265"/>
                <a:gd name="connsiteX25" fmla="*/ 47367 w 384038"/>
                <a:gd name="connsiteY25" fmla="*/ 8202 h 366265"/>
                <a:gd name="connsiteX26" fmla="*/ 47988 w 384038"/>
                <a:gd name="connsiteY26" fmla="*/ 3308 h 366265"/>
                <a:gd name="connsiteX27" fmla="*/ 0 w 384038"/>
                <a:gd name="connsiteY27" fmla="*/ 0 h 366265"/>
                <a:gd name="connsiteX28" fmla="*/ 0 w 384038"/>
                <a:gd name="connsiteY28" fmla="*/ 7995 h 366265"/>
                <a:gd name="connsiteX29" fmla="*/ 148238 w 384038"/>
                <a:gd name="connsiteY29" fmla="*/ 29500 h 366265"/>
                <a:gd name="connsiteX30" fmla="*/ 146031 w 384038"/>
                <a:gd name="connsiteY30" fmla="*/ 33911 h 366265"/>
                <a:gd name="connsiteX31" fmla="*/ 144790 w 384038"/>
                <a:gd name="connsiteY31" fmla="*/ 37013 h 366265"/>
                <a:gd name="connsiteX32" fmla="*/ 147893 w 384038"/>
                <a:gd name="connsiteY32" fmla="*/ 38391 h 366265"/>
                <a:gd name="connsiteX33" fmla="*/ 190227 w 384038"/>
                <a:gd name="connsiteY33" fmla="*/ 59827 h 366265"/>
                <a:gd name="connsiteX34" fmla="*/ 194570 w 384038"/>
                <a:gd name="connsiteY34" fmla="*/ 53210 h 366265"/>
                <a:gd name="connsiteX35" fmla="*/ 150444 w 384038"/>
                <a:gd name="connsiteY35" fmla="*/ 30534 h 366265"/>
                <a:gd name="connsiteX36" fmla="*/ 148238 w 384038"/>
                <a:gd name="connsiteY36" fmla="*/ 29500 h 366265"/>
                <a:gd name="connsiteX37" fmla="*/ 276342 w 384038"/>
                <a:gd name="connsiteY37" fmla="*/ 116689 h 366265"/>
                <a:gd name="connsiteX38" fmla="*/ 273240 w 384038"/>
                <a:gd name="connsiteY38" fmla="*/ 119240 h 366265"/>
                <a:gd name="connsiteX39" fmla="*/ 270206 w 384038"/>
                <a:gd name="connsiteY39" fmla="*/ 122203 h 366265"/>
                <a:gd name="connsiteX40" fmla="*/ 276618 w 384038"/>
                <a:gd name="connsiteY40" fmla="*/ 129372 h 366265"/>
                <a:gd name="connsiteX41" fmla="*/ 302818 w 384038"/>
                <a:gd name="connsiteY41" fmla="*/ 161146 h 366265"/>
                <a:gd name="connsiteX42" fmla="*/ 308058 w 384038"/>
                <a:gd name="connsiteY42" fmla="*/ 157768 h 366265"/>
                <a:gd name="connsiteX43" fmla="*/ 309437 w 384038"/>
                <a:gd name="connsiteY43" fmla="*/ 156804 h 366265"/>
                <a:gd name="connsiteX44" fmla="*/ 282341 w 384038"/>
                <a:gd name="connsiteY44" fmla="*/ 123444 h 366265"/>
                <a:gd name="connsiteX45" fmla="*/ 276342 w 384038"/>
                <a:gd name="connsiteY45" fmla="*/ 116689 h 366265"/>
                <a:gd name="connsiteX46" fmla="*/ 320676 w 384038"/>
                <a:gd name="connsiteY46" fmla="*/ 179893 h 366265"/>
                <a:gd name="connsiteX47" fmla="*/ 317366 w 384038"/>
                <a:gd name="connsiteY47" fmla="*/ 181961 h 366265"/>
                <a:gd name="connsiteX48" fmla="*/ 317573 w 384038"/>
                <a:gd name="connsiteY48" fmla="*/ 182237 h 366265"/>
                <a:gd name="connsiteX49" fmla="*/ 341705 w 384038"/>
                <a:gd name="connsiteY49" fmla="*/ 226555 h 366265"/>
                <a:gd name="connsiteX50" fmla="*/ 347635 w 384038"/>
                <a:gd name="connsiteY50" fmla="*/ 224212 h 366265"/>
                <a:gd name="connsiteX51" fmla="*/ 349013 w 384038"/>
                <a:gd name="connsiteY51" fmla="*/ 223592 h 366265"/>
                <a:gd name="connsiteX52" fmla="*/ 324537 w 384038"/>
                <a:gd name="connsiteY52" fmla="*/ 177757 h 366265"/>
                <a:gd name="connsiteX53" fmla="*/ 320676 w 384038"/>
                <a:gd name="connsiteY53" fmla="*/ 179893 h 366265"/>
                <a:gd name="connsiteX54" fmla="*/ 216772 w 384038"/>
                <a:gd name="connsiteY54" fmla="*/ 66512 h 366265"/>
                <a:gd name="connsiteX55" fmla="*/ 212014 w 384038"/>
                <a:gd name="connsiteY55" fmla="*/ 72853 h 366265"/>
                <a:gd name="connsiteX56" fmla="*/ 211807 w 384038"/>
                <a:gd name="connsiteY56" fmla="*/ 73129 h 366265"/>
                <a:gd name="connsiteX57" fmla="*/ 222081 w 384038"/>
                <a:gd name="connsiteY57" fmla="*/ 80711 h 366265"/>
                <a:gd name="connsiteX58" fmla="*/ 251590 w 384038"/>
                <a:gd name="connsiteY58" fmla="*/ 104697 h 366265"/>
                <a:gd name="connsiteX59" fmla="*/ 257175 w 384038"/>
                <a:gd name="connsiteY59" fmla="*/ 99045 h 366265"/>
                <a:gd name="connsiteX60" fmla="*/ 226631 w 384038"/>
                <a:gd name="connsiteY60" fmla="*/ 73818 h 366265"/>
                <a:gd name="connsiteX61" fmla="*/ 216772 w 384038"/>
                <a:gd name="connsiteY61" fmla="*/ 66512 h 366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384038" h="366265">
                  <a:moveTo>
                    <a:pt x="359494" y="247302"/>
                  </a:moveTo>
                  <a:cubicBezTo>
                    <a:pt x="359080" y="247095"/>
                    <a:pt x="351978" y="249852"/>
                    <a:pt x="351978" y="249852"/>
                  </a:cubicBezTo>
                  <a:lnTo>
                    <a:pt x="351633" y="249990"/>
                  </a:lnTo>
                  <a:lnTo>
                    <a:pt x="351771" y="250334"/>
                  </a:lnTo>
                  <a:cubicBezTo>
                    <a:pt x="358252" y="267014"/>
                    <a:pt x="363010" y="282729"/>
                    <a:pt x="366526" y="298581"/>
                  </a:cubicBezTo>
                  <a:cubicBezTo>
                    <a:pt x="366940" y="298857"/>
                    <a:pt x="370525" y="298030"/>
                    <a:pt x="370525" y="298030"/>
                  </a:cubicBezTo>
                  <a:lnTo>
                    <a:pt x="374317" y="297134"/>
                  </a:lnTo>
                  <a:cubicBezTo>
                    <a:pt x="371008" y="280523"/>
                    <a:pt x="366112" y="264326"/>
                    <a:pt x="359494" y="247302"/>
                  </a:cubicBezTo>
                  <a:close/>
                  <a:moveTo>
                    <a:pt x="73360" y="6961"/>
                  </a:moveTo>
                  <a:lnTo>
                    <a:pt x="71844" y="15095"/>
                  </a:lnTo>
                  <a:lnTo>
                    <a:pt x="72188" y="15163"/>
                  </a:lnTo>
                  <a:cubicBezTo>
                    <a:pt x="89287" y="18541"/>
                    <a:pt x="105697" y="22883"/>
                    <a:pt x="120934" y="28121"/>
                  </a:cubicBezTo>
                  <a:lnTo>
                    <a:pt x="121279" y="28259"/>
                  </a:lnTo>
                  <a:lnTo>
                    <a:pt x="123830" y="20746"/>
                  </a:lnTo>
                  <a:cubicBezTo>
                    <a:pt x="108041" y="15026"/>
                    <a:pt x="91287" y="10545"/>
                    <a:pt x="73705" y="7099"/>
                  </a:cubicBezTo>
                  <a:lnTo>
                    <a:pt x="73360" y="6961"/>
                  </a:lnTo>
                  <a:close/>
                  <a:moveTo>
                    <a:pt x="379626" y="322498"/>
                  </a:moveTo>
                  <a:cubicBezTo>
                    <a:pt x="379212" y="322223"/>
                    <a:pt x="374869" y="322912"/>
                    <a:pt x="374869" y="322912"/>
                  </a:cubicBezTo>
                  <a:lnTo>
                    <a:pt x="371421" y="323463"/>
                  </a:lnTo>
                  <a:lnTo>
                    <a:pt x="371490" y="323808"/>
                  </a:lnTo>
                  <a:cubicBezTo>
                    <a:pt x="373904" y="337524"/>
                    <a:pt x="375351" y="351791"/>
                    <a:pt x="375972" y="366265"/>
                  </a:cubicBezTo>
                  <a:lnTo>
                    <a:pt x="384039" y="366265"/>
                  </a:lnTo>
                  <a:cubicBezTo>
                    <a:pt x="383625" y="351240"/>
                    <a:pt x="382177" y="336559"/>
                    <a:pt x="379626" y="322498"/>
                  </a:cubicBezTo>
                  <a:close/>
                  <a:moveTo>
                    <a:pt x="69" y="7995"/>
                  </a:moveTo>
                  <a:cubicBezTo>
                    <a:pt x="15100" y="8340"/>
                    <a:pt x="30613" y="9236"/>
                    <a:pt x="46678" y="11166"/>
                  </a:cubicBezTo>
                  <a:cubicBezTo>
                    <a:pt x="47091" y="10890"/>
                    <a:pt x="47367" y="8202"/>
                    <a:pt x="47367" y="8202"/>
                  </a:cubicBezTo>
                  <a:lnTo>
                    <a:pt x="47988" y="3308"/>
                  </a:lnTo>
                  <a:cubicBezTo>
                    <a:pt x="31164" y="1034"/>
                    <a:pt x="15169" y="69"/>
                    <a:pt x="0" y="0"/>
                  </a:cubicBezTo>
                  <a:lnTo>
                    <a:pt x="0" y="7995"/>
                  </a:lnTo>
                  <a:close/>
                  <a:moveTo>
                    <a:pt x="148238" y="29500"/>
                  </a:moveTo>
                  <a:cubicBezTo>
                    <a:pt x="147755" y="29707"/>
                    <a:pt x="146031" y="33911"/>
                    <a:pt x="146031" y="33911"/>
                  </a:cubicBezTo>
                  <a:lnTo>
                    <a:pt x="144790" y="37013"/>
                  </a:lnTo>
                  <a:lnTo>
                    <a:pt x="147893" y="38391"/>
                  </a:lnTo>
                  <a:cubicBezTo>
                    <a:pt x="160510" y="44043"/>
                    <a:pt x="176230" y="51142"/>
                    <a:pt x="190227" y="59827"/>
                  </a:cubicBezTo>
                  <a:cubicBezTo>
                    <a:pt x="190709" y="59689"/>
                    <a:pt x="194570" y="53210"/>
                    <a:pt x="194570" y="53210"/>
                  </a:cubicBezTo>
                  <a:cubicBezTo>
                    <a:pt x="180023" y="43767"/>
                    <a:pt x="163613" y="36392"/>
                    <a:pt x="150444" y="30534"/>
                  </a:cubicBezTo>
                  <a:lnTo>
                    <a:pt x="148238" y="29500"/>
                  </a:lnTo>
                  <a:close/>
                  <a:moveTo>
                    <a:pt x="276342" y="116689"/>
                  </a:moveTo>
                  <a:cubicBezTo>
                    <a:pt x="275860" y="116689"/>
                    <a:pt x="273240" y="119240"/>
                    <a:pt x="273240" y="119240"/>
                  </a:cubicBezTo>
                  <a:lnTo>
                    <a:pt x="270206" y="122203"/>
                  </a:lnTo>
                  <a:lnTo>
                    <a:pt x="276618" y="129372"/>
                  </a:lnTo>
                  <a:cubicBezTo>
                    <a:pt x="286478" y="140262"/>
                    <a:pt x="295303" y="150187"/>
                    <a:pt x="302818" y="161146"/>
                  </a:cubicBezTo>
                  <a:cubicBezTo>
                    <a:pt x="303301" y="161215"/>
                    <a:pt x="308058" y="157768"/>
                    <a:pt x="308058" y="157768"/>
                  </a:cubicBezTo>
                  <a:lnTo>
                    <a:pt x="309437" y="156804"/>
                  </a:lnTo>
                  <a:cubicBezTo>
                    <a:pt x="301095" y="144190"/>
                    <a:pt x="290753" y="132680"/>
                    <a:pt x="282341" y="123444"/>
                  </a:cubicBezTo>
                  <a:lnTo>
                    <a:pt x="276342" y="116689"/>
                  </a:lnTo>
                  <a:close/>
                  <a:moveTo>
                    <a:pt x="320676" y="179893"/>
                  </a:moveTo>
                  <a:lnTo>
                    <a:pt x="317366" y="181961"/>
                  </a:lnTo>
                  <a:lnTo>
                    <a:pt x="317573" y="182237"/>
                  </a:lnTo>
                  <a:cubicBezTo>
                    <a:pt x="325985" y="195884"/>
                    <a:pt x="334741" y="210703"/>
                    <a:pt x="341705" y="226555"/>
                  </a:cubicBezTo>
                  <a:cubicBezTo>
                    <a:pt x="342188" y="226693"/>
                    <a:pt x="347635" y="224212"/>
                    <a:pt x="347635" y="224212"/>
                  </a:cubicBezTo>
                  <a:lnTo>
                    <a:pt x="349013" y="223592"/>
                  </a:lnTo>
                  <a:cubicBezTo>
                    <a:pt x="342050" y="206843"/>
                    <a:pt x="333155" y="191748"/>
                    <a:pt x="324537" y="177757"/>
                  </a:cubicBezTo>
                  <a:cubicBezTo>
                    <a:pt x="324054" y="177688"/>
                    <a:pt x="320676" y="179893"/>
                    <a:pt x="320676" y="179893"/>
                  </a:cubicBezTo>
                  <a:close/>
                  <a:moveTo>
                    <a:pt x="216772" y="66512"/>
                  </a:moveTo>
                  <a:cubicBezTo>
                    <a:pt x="216289" y="66581"/>
                    <a:pt x="212014" y="72853"/>
                    <a:pt x="212014" y="72853"/>
                  </a:cubicBezTo>
                  <a:lnTo>
                    <a:pt x="211807" y="73129"/>
                  </a:lnTo>
                  <a:lnTo>
                    <a:pt x="222081" y="80711"/>
                  </a:lnTo>
                  <a:cubicBezTo>
                    <a:pt x="233043" y="88706"/>
                    <a:pt x="242765" y="96081"/>
                    <a:pt x="251590" y="104697"/>
                  </a:cubicBezTo>
                  <a:cubicBezTo>
                    <a:pt x="252073" y="104697"/>
                    <a:pt x="257175" y="99045"/>
                    <a:pt x="257175" y="99045"/>
                  </a:cubicBezTo>
                  <a:cubicBezTo>
                    <a:pt x="248074" y="89740"/>
                    <a:pt x="238007" y="82089"/>
                    <a:pt x="226631" y="73818"/>
                  </a:cubicBezTo>
                  <a:lnTo>
                    <a:pt x="216772" y="66512"/>
                  </a:lnTo>
                  <a:close/>
                </a:path>
              </a:pathLst>
            </a:custGeom>
            <a:solidFill>
              <a:schemeClr val="bg1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</p:grpSp>
      <p:grpSp>
        <p:nvGrpSpPr>
          <p:cNvPr id="502" name="Group 501">
            <a:extLst>
              <a:ext uri="{FF2B5EF4-FFF2-40B4-BE49-F238E27FC236}">
                <a16:creationId xmlns:a16="http://schemas.microsoft.com/office/drawing/2014/main" id="{A956A7CD-2E49-AC81-0F06-850CA778AAF4}"/>
              </a:ext>
            </a:extLst>
          </p:cNvPr>
          <p:cNvGrpSpPr>
            <a:grpSpLocks noChangeAspect="1"/>
          </p:cNvGrpSpPr>
          <p:nvPr/>
        </p:nvGrpSpPr>
        <p:grpSpPr>
          <a:xfrm rot="18136465" flipV="1">
            <a:off x="2549677" y="3158010"/>
            <a:ext cx="510787" cy="512857"/>
            <a:chOff x="2190208" y="366364"/>
            <a:chExt cx="495734" cy="497743"/>
          </a:xfrm>
        </p:grpSpPr>
        <p:grpSp>
          <p:nvGrpSpPr>
            <p:cNvPr id="503" name="Graphic 4">
              <a:extLst>
                <a:ext uri="{FF2B5EF4-FFF2-40B4-BE49-F238E27FC236}">
                  <a16:creationId xmlns:a16="http://schemas.microsoft.com/office/drawing/2014/main" id="{DED4FFEF-5815-DF27-F68F-3E7DAB42188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190208" y="366364"/>
              <a:ext cx="495734" cy="497743"/>
              <a:chOff x="2190208" y="366364"/>
              <a:chExt cx="495734" cy="497743"/>
            </a:xfrm>
          </p:grpSpPr>
          <p:sp>
            <p:nvSpPr>
              <p:cNvPr id="505" name="Freeform 60">
                <a:extLst>
                  <a:ext uri="{FF2B5EF4-FFF2-40B4-BE49-F238E27FC236}">
                    <a16:creationId xmlns:a16="http://schemas.microsoft.com/office/drawing/2014/main" id="{52413F4C-D4F4-B61E-DB00-E332578CE2EB}"/>
                  </a:ext>
                </a:extLst>
              </p:cNvPr>
              <p:cNvSpPr/>
              <p:nvPr/>
            </p:nvSpPr>
            <p:spPr>
              <a:xfrm>
                <a:off x="2190208" y="366364"/>
                <a:ext cx="495734" cy="495568"/>
              </a:xfrm>
              <a:custGeom>
                <a:avLst/>
                <a:gdLst>
                  <a:gd name="connsiteX0" fmla="*/ 0 w 495734"/>
                  <a:gd name="connsiteY0" fmla="*/ 0 h 495568"/>
                  <a:gd name="connsiteX1" fmla="*/ 0 w 495734"/>
                  <a:gd name="connsiteY1" fmla="*/ 233999 h 495568"/>
                  <a:gd name="connsiteX2" fmla="*/ 261656 w 495734"/>
                  <a:gd name="connsiteY2" fmla="*/ 495568 h 495568"/>
                  <a:gd name="connsiteX3" fmla="*/ 495734 w 495734"/>
                  <a:gd name="connsiteY3" fmla="*/ 495568 h 495568"/>
                  <a:gd name="connsiteX4" fmla="*/ 0 w 495734"/>
                  <a:gd name="connsiteY4" fmla="*/ 0 h 4955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95734" h="495568">
                    <a:moveTo>
                      <a:pt x="0" y="0"/>
                    </a:moveTo>
                    <a:lnTo>
                      <a:pt x="0" y="233999"/>
                    </a:lnTo>
                    <a:cubicBezTo>
                      <a:pt x="144239" y="233999"/>
                      <a:pt x="261656" y="351309"/>
                      <a:pt x="261656" y="495568"/>
                    </a:cubicBezTo>
                    <a:lnTo>
                      <a:pt x="495734" y="495568"/>
                    </a:lnTo>
                    <a:cubicBezTo>
                      <a:pt x="495734" y="222351"/>
                      <a:pt x="273378" y="0"/>
                      <a:pt x="0" y="0"/>
                    </a:cubicBezTo>
                    <a:close/>
                  </a:path>
                </a:pathLst>
              </a:custGeom>
              <a:solidFill>
                <a:schemeClr val="accent6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  <p:sp>
            <p:nvSpPr>
              <p:cNvPr id="506" name="Freeform 61">
                <a:extLst>
                  <a:ext uri="{FF2B5EF4-FFF2-40B4-BE49-F238E27FC236}">
                    <a16:creationId xmlns:a16="http://schemas.microsoft.com/office/drawing/2014/main" id="{316E0FD5-F612-C98E-7718-69D6DE12F2DB}"/>
                  </a:ext>
                </a:extLst>
              </p:cNvPr>
              <p:cNvSpPr/>
              <p:nvPr/>
            </p:nvSpPr>
            <p:spPr>
              <a:xfrm>
                <a:off x="2192110" y="381566"/>
                <a:ext cx="482702" cy="482541"/>
              </a:xfrm>
              <a:custGeom>
                <a:avLst/>
                <a:gdLst>
                  <a:gd name="connsiteX0" fmla="*/ 0 w 482702"/>
                  <a:gd name="connsiteY0" fmla="*/ 199606 h 482541"/>
                  <a:gd name="connsiteX1" fmla="*/ 0 w 482702"/>
                  <a:gd name="connsiteY1" fmla="*/ 207877 h 482541"/>
                  <a:gd name="connsiteX2" fmla="*/ 274757 w 482702"/>
                  <a:gd name="connsiteY2" fmla="*/ 482541 h 482541"/>
                  <a:gd name="connsiteX3" fmla="*/ 283030 w 482702"/>
                  <a:gd name="connsiteY3" fmla="*/ 482541 h 482541"/>
                  <a:gd name="connsiteX4" fmla="*/ 0 w 482702"/>
                  <a:gd name="connsiteY4" fmla="*/ 199606 h 482541"/>
                  <a:gd name="connsiteX5" fmla="*/ 0 w 482702"/>
                  <a:gd name="connsiteY5" fmla="*/ 0 h 482541"/>
                  <a:gd name="connsiteX6" fmla="*/ 0 w 482702"/>
                  <a:gd name="connsiteY6" fmla="*/ 8271 h 482541"/>
                  <a:gd name="connsiteX7" fmla="*/ 474429 w 482702"/>
                  <a:gd name="connsiteY7" fmla="*/ 482541 h 482541"/>
                  <a:gd name="connsiteX8" fmla="*/ 482703 w 482702"/>
                  <a:gd name="connsiteY8" fmla="*/ 482541 h 482541"/>
                  <a:gd name="connsiteX9" fmla="*/ 0 w 482702"/>
                  <a:gd name="connsiteY9" fmla="*/ 0 h 4825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82702" h="482541">
                    <a:moveTo>
                      <a:pt x="0" y="199606"/>
                    </a:moveTo>
                    <a:lnTo>
                      <a:pt x="0" y="207877"/>
                    </a:lnTo>
                    <a:cubicBezTo>
                      <a:pt x="151478" y="207877"/>
                      <a:pt x="274757" y="331114"/>
                      <a:pt x="274757" y="482541"/>
                    </a:cubicBezTo>
                    <a:lnTo>
                      <a:pt x="283030" y="482541"/>
                    </a:lnTo>
                    <a:cubicBezTo>
                      <a:pt x="282961" y="326496"/>
                      <a:pt x="156029" y="199606"/>
                      <a:pt x="0" y="199606"/>
                    </a:cubicBezTo>
                    <a:close/>
                    <a:moveTo>
                      <a:pt x="0" y="0"/>
                    </a:moveTo>
                    <a:lnTo>
                      <a:pt x="0" y="8271"/>
                    </a:lnTo>
                    <a:cubicBezTo>
                      <a:pt x="261588" y="8271"/>
                      <a:pt x="474429" y="221041"/>
                      <a:pt x="474429" y="482541"/>
                    </a:cubicBezTo>
                    <a:lnTo>
                      <a:pt x="482703" y="482541"/>
                    </a:lnTo>
                    <a:cubicBezTo>
                      <a:pt x="482634" y="216423"/>
                      <a:pt x="266138" y="0"/>
                      <a:pt x="0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  <p:sp>
          <p:nvSpPr>
            <p:cNvPr id="504" name="Freeform 59">
              <a:extLst>
                <a:ext uri="{FF2B5EF4-FFF2-40B4-BE49-F238E27FC236}">
                  <a16:creationId xmlns:a16="http://schemas.microsoft.com/office/drawing/2014/main" id="{22AE81D4-6CDD-B76A-4D8F-032807B1E55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192041" y="480197"/>
              <a:ext cx="384038" cy="366265"/>
            </a:xfrm>
            <a:custGeom>
              <a:avLst/>
              <a:gdLst>
                <a:gd name="connsiteX0" fmla="*/ 359494 w 384038"/>
                <a:gd name="connsiteY0" fmla="*/ 247302 h 366265"/>
                <a:gd name="connsiteX1" fmla="*/ 351978 w 384038"/>
                <a:gd name="connsiteY1" fmla="*/ 249852 h 366265"/>
                <a:gd name="connsiteX2" fmla="*/ 351633 w 384038"/>
                <a:gd name="connsiteY2" fmla="*/ 249990 h 366265"/>
                <a:gd name="connsiteX3" fmla="*/ 351771 w 384038"/>
                <a:gd name="connsiteY3" fmla="*/ 250334 h 366265"/>
                <a:gd name="connsiteX4" fmla="*/ 366526 w 384038"/>
                <a:gd name="connsiteY4" fmla="*/ 298581 h 366265"/>
                <a:gd name="connsiteX5" fmla="*/ 370525 w 384038"/>
                <a:gd name="connsiteY5" fmla="*/ 298030 h 366265"/>
                <a:gd name="connsiteX6" fmla="*/ 374317 w 384038"/>
                <a:gd name="connsiteY6" fmla="*/ 297134 h 366265"/>
                <a:gd name="connsiteX7" fmla="*/ 359494 w 384038"/>
                <a:gd name="connsiteY7" fmla="*/ 247302 h 366265"/>
                <a:gd name="connsiteX8" fmla="*/ 73360 w 384038"/>
                <a:gd name="connsiteY8" fmla="*/ 6961 h 366265"/>
                <a:gd name="connsiteX9" fmla="*/ 71844 w 384038"/>
                <a:gd name="connsiteY9" fmla="*/ 15095 h 366265"/>
                <a:gd name="connsiteX10" fmla="*/ 72188 w 384038"/>
                <a:gd name="connsiteY10" fmla="*/ 15163 h 366265"/>
                <a:gd name="connsiteX11" fmla="*/ 120934 w 384038"/>
                <a:gd name="connsiteY11" fmla="*/ 28121 h 366265"/>
                <a:gd name="connsiteX12" fmla="*/ 121279 w 384038"/>
                <a:gd name="connsiteY12" fmla="*/ 28259 h 366265"/>
                <a:gd name="connsiteX13" fmla="*/ 123830 w 384038"/>
                <a:gd name="connsiteY13" fmla="*/ 20746 h 366265"/>
                <a:gd name="connsiteX14" fmla="*/ 73705 w 384038"/>
                <a:gd name="connsiteY14" fmla="*/ 7099 h 366265"/>
                <a:gd name="connsiteX15" fmla="*/ 73360 w 384038"/>
                <a:gd name="connsiteY15" fmla="*/ 6961 h 366265"/>
                <a:gd name="connsiteX16" fmla="*/ 379626 w 384038"/>
                <a:gd name="connsiteY16" fmla="*/ 322498 h 366265"/>
                <a:gd name="connsiteX17" fmla="*/ 374869 w 384038"/>
                <a:gd name="connsiteY17" fmla="*/ 322912 h 366265"/>
                <a:gd name="connsiteX18" fmla="*/ 371421 w 384038"/>
                <a:gd name="connsiteY18" fmla="*/ 323463 h 366265"/>
                <a:gd name="connsiteX19" fmla="*/ 371490 w 384038"/>
                <a:gd name="connsiteY19" fmla="*/ 323808 h 366265"/>
                <a:gd name="connsiteX20" fmla="*/ 375972 w 384038"/>
                <a:gd name="connsiteY20" fmla="*/ 366265 h 366265"/>
                <a:gd name="connsiteX21" fmla="*/ 384039 w 384038"/>
                <a:gd name="connsiteY21" fmla="*/ 366265 h 366265"/>
                <a:gd name="connsiteX22" fmla="*/ 379626 w 384038"/>
                <a:gd name="connsiteY22" fmla="*/ 322498 h 366265"/>
                <a:gd name="connsiteX23" fmla="*/ 69 w 384038"/>
                <a:gd name="connsiteY23" fmla="*/ 7995 h 366265"/>
                <a:gd name="connsiteX24" fmla="*/ 46678 w 384038"/>
                <a:gd name="connsiteY24" fmla="*/ 11166 h 366265"/>
                <a:gd name="connsiteX25" fmla="*/ 47367 w 384038"/>
                <a:gd name="connsiteY25" fmla="*/ 8202 h 366265"/>
                <a:gd name="connsiteX26" fmla="*/ 47988 w 384038"/>
                <a:gd name="connsiteY26" fmla="*/ 3308 h 366265"/>
                <a:gd name="connsiteX27" fmla="*/ 0 w 384038"/>
                <a:gd name="connsiteY27" fmla="*/ 0 h 366265"/>
                <a:gd name="connsiteX28" fmla="*/ 0 w 384038"/>
                <a:gd name="connsiteY28" fmla="*/ 7995 h 366265"/>
                <a:gd name="connsiteX29" fmla="*/ 148238 w 384038"/>
                <a:gd name="connsiteY29" fmla="*/ 29500 h 366265"/>
                <a:gd name="connsiteX30" fmla="*/ 146031 w 384038"/>
                <a:gd name="connsiteY30" fmla="*/ 33911 h 366265"/>
                <a:gd name="connsiteX31" fmla="*/ 144790 w 384038"/>
                <a:gd name="connsiteY31" fmla="*/ 37013 h 366265"/>
                <a:gd name="connsiteX32" fmla="*/ 147893 w 384038"/>
                <a:gd name="connsiteY32" fmla="*/ 38391 h 366265"/>
                <a:gd name="connsiteX33" fmla="*/ 190227 w 384038"/>
                <a:gd name="connsiteY33" fmla="*/ 59827 h 366265"/>
                <a:gd name="connsiteX34" fmla="*/ 194570 w 384038"/>
                <a:gd name="connsiteY34" fmla="*/ 53210 h 366265"/>
                <a:gd name="connsiteX35" fmla="*/ 150444 w 384038"/>
                <a:gd name="connsiteY35" fmla="*/ 30534 h 366265"/>
                <a:gd name="connsiteX36" fmla="*/ 148238 w 384038"/>
                <a:gd name="connsiteY36" fmla="*/ 29500 h 366265"/>
                <a:gd name="connsiteX37" fmla="*/ 276342 w 384038"/>
                <a:gd name="connsiteY37" fmla="*/ 116689 h 366265"/>
                <a:gd name="connsiteX38" fmla="*/ 273240 w 384038"/>
                <a:gd name="connsiteY38" fmla="*/ 119240 h 366265"/>
                <a:gd name="connsiteX39" fmla="*/ 270206 w 384038"/>
                <a:gd name="connsiteY39" fmla="*/ 122203 h 366265"/>
                <a:gd name="connsiteX40" fmla="*/ 276618 w 384038"/>
                <a:gd name="connsiteY40" fmla="*/ 129372 h 366265"/>
                <a:gd name="connsiteX41" fmla="*/ 302818 w 384038"/>
                <a:gd name="connsiteY41" fmla="*/ 161146 h 366265"/>
                <a:gd name="connsiteX42" fmla="*/ 308058 w 384038"/>
                <a:gd name="connsiteY42" fmla="*/ 157768 h 366265"/>
                <a:gd name="connsiteX43" fmla="*/ 309437 w 384038"/>
                <a:gd name="connsiteY43" fmla="*/ 156804 h 366265"/>
                <a:gd name="connsiteX44" fmla="*/ 282341 w 384038"/>
                <a:gd name="connsiteY44" fmla="*/ 123444 h 366265"/>
                <a:gd name="connsiteX45" fmla="*/ 276342 w 384038"/>
                <a:gd name="connsiteY45" fmla="*/ 116689 h 366265"/>
                <a:gd name="connsiteX46" fmla="*/ 320676 w 384038"/>
                <a:gd name="connsiteY46" fmla="*/ 179893 h 366265"/>
                <a:gd name="connsiteX47" fmla="*/ 317366 w 384038"/>
                <a:gd name="connsiteY47" fmla="*/ 181961 h 366265"/>
                <a:gd name="connsiteX48" fmla="*/ 317573 w 384038"/>
                <a:gd name="connsiteY48" fmla="*/ 182237 h 366265"/>
                <a:gd name="connsiteX49" fmla="*/ 341705 w 384038"/>
                <a:gd name="connsiteY49" fmla="*/ 226555 h 366265"/>
                <a:gd name="connsiteX50" fmla="*/ 347635 w 384038"/>
                <a:gd name="connsiteY50" fmla="*/ 224212 h 366265"/>
                <a:gd name="connsiteX51" fmla="*/ 349013 w 384038"/>
                <a:gd name="connsiteY51" fmla="*/ 223592 h 366265"/>
                <a:gd name="connsiteX52" fmla="*/ 324537 w 384038"/>
                <a:gd name="connsiteY52" fmla="*/ 177757 h 366265"/>
                <a:gd name="connsiteX53" fmla="*/ 320676 w 384038"/>
                <a:gd name="connsiteY53" fmla="*/ 179893 h 366265"/>
                <a:gd name="connsiteX54" fmla="*/ 216772 w 384038"/>
                <a:gd name="connsiteY54" fmla="*/ 66512 h 366265"/>
                <a:gd name="connsiteX55" fmla="*/ 212014 w 384038"/>
                <a:gd name="connsiteY55" fmla="*/ 72853 h 366265"/>
                <a:gd name="connsiteX56" fmla="*/ 211807 w 384038"/>
                <a:gd name="connsiteY56" fmla="*/ 73129 h 366265"/>
                <a:gd name="connsiteX57" fmla="*/ 222081 w 384038"/>
                <a:gd name="connsiteY57" fmla="*/ 80711 h 366265"/>
                <a:gd name="connsiteX58" fmla="*/ 251590 w 384038"/>
                <a:gd name="connsiteY58" fmla="*/ 104697 h 366265"/>
                <a:gd name="connsiteX59" fmla="*/ 257175 w 384038"/>
                <a:gd name="connsiteY59" fmla="*/ 99045 h 366265"/>
                <a:gd name="connsiteX60" fmla="*/ 226631 w 384038"/>
                <a:gd name="connsiteY60" fmla="*/ 73818 h 366265"/>
                <a:gd name="connsiteX61" fmla="*/ 216772 w 384038"/>
                <a:gd name="connsiteY61" fmla="*/ 66512 h 366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384038" h="366265">
                  <a:moveTo>
                    <a:pt x="359494" y="247302"/>
                  </a:moveTo>
                  <a:cubicBezTo>
                    <a:pt x="359080" y="247095"/>
                    <a:pt x="351978" y="249852"/>
                    <a:pt x="351978" y="249852"/>
                  </a:cubicBezTo>
                  <a:lnTo>
                    <a:pt x="351633" y="249990"/>
                  </a:lnTo>
                  <a:lnTo>
                    <a:pt x="351771" y="250334"/>
                  </a:lnTo>
                  <a:cubicBezTo>
                    <a:pt x="358252" y="267014"/>
                    <a:pt x="363010" y="282729"/>
                    <a:pt x="366526" y="298581"/>
                  </a:cubicBezTo>
                  <a:cubicBezTo>
                    <a:pt x="366940" y="298857"/>
                    <a:pt x="370525" y="298030"/>
                    <a:pt x="370525" y="298030"/>
                  </a:cubicBezTo>
                  <a:lnTo>
                    <a:pt x="374317" y="297134"/>
                  </a:lnTo>
                  <a:cubicBezTo>
                    <a:pt x="371008" y="280523"/>
                    <a:pt x="366112" y="264326"/>
                    <a:pt x="359494" y="247302"/>
                  </a:cubicBezTo>
                  <a:close/>
                  <a:moveTo>
                    <a:pt x="73360" y="6961"/>
                  </a:moveTo>
                  <a:lnTo>
                    <a:pt x="71844" y="15095"/>
                  </a:lnTo>
                  <a:lnTo>
                    <a:pt x="72188" y="15163"/>
                  </a:lnTo>
                  <a:cubicBezTo>
                    <a:pt x="89287" y="18541"/>
                    <a:pt x="105697" y="22883"/>
                    <a:pt x="120934" y="28121"/>
                  </a:cubicBezTo>
                  <a:lnTo>
                    <a:pt x="121279" y="28259"/>
                  </a:lnTo>
                  <a:lnTo>
                    <a:pt x="123830" y="20746"/>
                  </a:lnTo>
                  <a:cubicBezTo>
                    <a:pt x="108041" y="15026"/>
                    <a:pt x="91287" y="10545"/>
                    <a:pt x="73705" y="7099"/>
                  </a:cubicBezTo>
                  <a:lnTo>
                    <a:pt x="73360" y="6961"/>
                  </a:lnTo>
                  <a:close/>
                  <a:moveTo>
                    <a:pt x="379626" y="322498"/>
                  </a:moveTo>
                  <a:cubicBezTo>
                    <a:pt x="379212" y="322223"/>
                    <a:pt x="374869" y="322912"/>
                    <a:pt x="374869" y="322912"/>
                  </a:cubicBezTo>
                  <a:lnTo>
                    <a:pt x="371421" y="323463"/>
                  </a:lnTo>
                  <a:lnTo>
                    <a:pt x="371490" y="323808"/>
                  </a:lnTo>
                  <a:cubicBezTo>
                    <a:pt x="373904" y="337524"/>
                    <a:pt x="375351" y="351791"/>
                    <a:pt x="375972" y="366265"/>
                  </a:cubicBezTo>
                  <a:lnTo>
                    <a:pt x="384039" y="366265"/>
                  </a:lnTo>
                  <a:cubicBezTo>
                    <a:pt x="383625" y="351240"/>
                    <a:pt x="382177" y="336559"/>
                    <a:pt x="379626" y="322498"/>
                  </a:cubicBezTo>
                  <a:close/>
                  <a:moveTo>
                    <a:pt x="69" y="7995"/>
                  </a:moveTo>
                  <a:cubicBezTo>
                    <a:pt x="15100" y="8340"/>
                    <a:pt x="30613" y="9236"/>
                    <a:pt x="46678" y="11166"/>
                  </a:cubicBezTo>
                  <a:cubicBezTo>
                    <a:pt x="47091" y="10890"/>
                    <a:pt x="47367" y="8202"/>
                    <a:pt x="47367" y="8202"/>
                  </a:cubicBezTo>
                  <a:lnTo>
                    <a:pt x="47988" y="3308"/>
                  </a:lnTo>
                  <a:cubicBezTo>
                    <a:pt x="31164" y="1034"/>
                    <a:pt x="15169" y="69"/>
                    <a:pt x="0" y="0"/>
                  </a:cubicBezTo>
                  <a:lnTo>
                    <a:pt x="0" y="7995"/>
                  </a:lnTo>
                  <a:close/>
                  <a:moveTo>
                    <a:pt x="148238" y="29500"/>
                  </a:moveTo>
                  <a:cubicBezTo>
                    <a:pt x="147755" y="29707"/>
                    <a:pt x="146031" y="33911"/>
                    <a:pt x="146031" y="33911"/>
                  </a:cubicBezTo>
                  <a:lnTo>
                    <a:pt x="144790" y="37013"/>
                  </a:lnTo>
                  <a:lnTo>
                    <a:pt x="147893" y="38391"/>
                  </a:lnTo>
                  <a:cubicBezTo>
                    <a:pt x="160510" y="44043"/>
                    <a:pt x="176230" y="51142"/>
                    <a:pt x="190227" y="59827"/>
                  </a:cubicBezTo>
                  <a:cubicBezTo>
                    <a:pt x="190709" y="59689"/>
                    <a:pt x="194570" y="53210"/>
                    <a:pt x="194570" y="53210"/>
                  </a:cubicBezTo>
                  <a:cubicBezTo>
                    <a:pt x="180023" y="43767"/>
                    <a:pt x="163613" y="36392"/>
                    <a:pt x="150444" y="30534"/>
                  </a:cubicBezTo>
                  <a:lnTo>
                    <a:pt x="148238" y="29500"/>
                  </a:lnTo>
                  <a:close/>
                  <a:moveTo>
                    <a:pt x="276342" y="116689"/>
                  </a:moveTo>
                  <a:cubicBezTo>
                    <a:pt x="275860" y="116689"/>
                    <a:pt x="273240" y="119240"/>
                    <a:pt x="273240" y="119240"/>
                  </a:cubicBezTo>
                  <a:lnTo>
                    <a:pt x="270206" y="122203"/>
                  </a:lnTo>
                  <a:lnTo>
                    <a:pt x="276618" y="129372"/>
                  </a:lnTo>
                  <a:cubicBezTo>
                    <a:pt x="286478" y="140262"/>
                    <a:pt x="295303" y="150187"/>
                    <a:pt x="302818" y="161146"/>
                  </a:cubicBezTo>
                  <a:cubicBezTo>
                    <a:pt x="303301" y="161215"/>
                    <a:pt x="308058" y="157768"/>
                    <a:pt x="308058" y="157768"/>
                  </a:cubicBezTo>
                  <a:lnTo>
                    <a:pt x="309437" y="156804"/>
                  </a:lnTo>
                  <a:cubicBezTo>
                    <a:pt x="301095" y="144190"/>
                    <a:pt x="290753" y="132680"/>
                    <a:pt x="282341" y="123444"/>
                  </a:cubicBezTo>
                  <a:lnTo>
                    <a:pt x="276342" y="116689"/>
                  </a:lnTo>
                  <a:close/>
                  <a:moveTo>
                    <a:pt x="320676" y="179893"/>
                  </a:moveTo>
                  <a:lnTo>
                    <a:pt x="317366" y="181961"/>
                  </a:lnTo>
                  <a:lnTo>
                    <a:pt x="317573" y="182237"/>
                  </a:lnTo>
                  <a:cubicBezTo>
                    <a:pt x="325985" y="195884"/>
                    <a:pt x="334741" y="210703"/>
                    <a:pt x="341705" y="226555"/>
                  </a:cubicBezTo>
                  <a:cubicBezTo>
                    <a:pt x="342188" y="226693"/>
                    <a:pt x="347635" y="224212"/>
                    <a:pt x="347635" y="224212"/>
                  </a:cubicBezTo>
                  <a:lnTo>
                    <a:pt x="349013" y="223592"/>
                  </a:lnTo>
                  <a:cubicBezTo>
                    <a:pt x="342050" y="206843"/>
                    <a:pt x="333155" y="191748"/>
                    <a:pt x="324537" y="177757"/>
                  </a:cubicBezTo>
                  <a:cubicBezTo>
                    <a:pt x="324054" y="177688"/>
                    <a:pt x="320676" y="179893"/>
                    <a:pt x="320676" y="179893"/>
                  </a:cubicBezTo>
                  <a:close/>
                  <a:moveTo>
                    <a:pt x="216772" y="66512"/>
                  </a:moveTo>
                  <a:cubicBezTo>
                    <a:pt x="216289" y="66581"/>
                    <a:pt x="212014" y="72853"/>
                    <a:pt x="212014" y="72853"/>
                  </a:cubicBezTo>
                  <a:lnTo>
                    <a:pt x="211807" y="73129"/>
                  </a:lnTo>
                  <a:lnTo>
                    <a:pt x="222081" y="80711"/>
                  </a:lnTo>
                  <a:cubicBezTo>
                    <a:pt x="233043" y="88706"/>
                    <a:pt x="242765" y="96081"/>
                    <a:pt x="251590" y="104697"/>
                  </a:cubicBezTo>
                  <a:cubicBezTo>
                    <a:pt x="252073" y="104697"/>
                    <a:pt x="257175" y="99045"/>
                    <a:pt x="257175" y="99045"/>
                  </a:cubicBezTo>
                  <a:cubicBezTo>
                    <a:pt x="248074" y="89740"/>
                    <a:pt x="238007" y="82089"/>
                    <a:pt x="226631" y="73818"/>
                  </a:cubicBezTo>
                  <a:lnTo>
                    <a:pt x="216772" y="66512"/>
                  </a:lnTo>
                  <a:close/>
                </a:path>
              </a:pathLst>
            </a:custGeom>
            <a:solidFill>
              <a:schemeClr val="bg1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980712FC-70D1-A54C-8974-6A79822ABD31}"/>
              </a:ext>
            </a:extLst>
          </p:cNvPr>
          <p:cNvGrpSpPr>
            <a:grpSpLocks noChangeAspect="1"/>
          </p:cNvGrpSpPr>
          <p:nvPr/>
        </p:nvGrpSpPr>
        <p:grpSpPr>
          <a:xfrm rot="5400000">
            <a:off x="4203668" y="3334090"/>
            <a:ext cx="1208131" cy="438528"/>
            <a:chOff x="2460593" y="1450725"/>
            <a:chExt cx="644661" cy="233999"/>
          </a:xfrm>
        </p:grpSpPr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7A64BD7D-3D03-B14E-8093-77386825E8B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461714" y="1450725"/>
              <a:ext cx="642419" cy="233999"/>
            </a:xfrm>
            <a:custGeom>
              <a:avLst/>
              <a:gdLst>
                <a:gd name="connsiteX0" fmla="*/ 0 w 644661"/>
                <a:gd name="connsiteY0" fmla="*/ 0 h 233999"/>
                <a:gd name="connsiteX1" fmla="*/ 644661 w 644661"/>
                <a:gd name="connsiteY1" fmla="*/ 0 h 233999"/>
                <a:gd name="connsiteX2" fmla="*/ 644661 w 644661"/>
                <a:gd name="connsiteY2" fmla="*/ 233999 h 233999"/>
                <a:gd name="connsiteX3" fmla="*/ 0 w 644661"/>
                <a:gd name="connsiteY3" fmla="*/ 233999 h 233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4661" h="233999">
                  <a:moveTo>
                    <a:pt x="0" y="0"/>
                  </a:moveTo>
                  <a:lnTo>
                    <a:pt x="644661" y="0"/>
                  </a:lnTo>
                  <a:lnTo>
                    <a:pt x="644661" y="233999"/>
                  </a:lnTo>
                  <a:lnTo>
                    <a:pt x="0" y="233999"/>
                  </a:lnTo>
                  <a:close/>
                </a:path>
              </a:pathLst>
            </a:custGeom>
            <a:solidFill>
              <a:schemeClr val="tx2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3EF3F90F-7239-084E-A9CD-44E38FAF76E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474382" y="1563761"/>
              <a:ext cx="613083" cy="7995"/>
            </a:xfrm>
            <a:custGeom>
              <a:avLst/>
              <a:gdLst>
                <a:gd name="connsiteX0" fmla="*/ 559580 w 613083"/>
                <a:gd name="connsiteY0" fmla="*/ 0 h 7995"/>
                <a:gd name="connsiteX1" fmla="*/ 559580 w 613083"/>
                <a:gd name="connsiteY1" fmla="*/ 7995 h 7995"/>
                <a:gd name="connsiteX2" fmla="*/ 613083 w 613083"/>
                <a:gd name="connsiteY2" fmla="*/ 7995 h 7995"/>
                <a:gd name="connsiteX3" fmla="*/ 613083 w 613083"/>
                <a:gd name="connsiteY3" fmla="*/ 0 h 7995"/>
                <a:gd name="connsiteX4" fmla="*/ 559580 w 613083"/>
                <a:gd name="connsiteY4" fmla="*/ 0 h 7995"/>
                <a:gd name="connsiteX5" fmla="*/ 479049 w 613083"/>
                <a:gd name="connsiteY5" fmla="*/ 0 h 7995"/>
                <a:gd name="connsiteX6" fmla="*/ 479049 w 613083"/>
                <a:gd name="connsiteY6" fmla="*/ 7995 h 7995"/>
                <a:gd name="connsiteX7" fmla="*/ 532552 w 613083"/>
                <a:gd name="connsiteY7" fmla="*/ 7995 h 7995"/>
                <a:gd name="connsiteX8" fmla="*/ 532552 w 613083"/>
                <a:gd name="connsiteY8" fmla="*/ 0 h 7995"/>
                <a:gd name="connsiteX9" fmla="*/ 479049 w 613083"/>
                <a:gd name="connsiteY9" fmla="*/ 0 h 7995"/>
                <a:gd name="connsiteX10" fmla="*/ 398449 w 613083"/>
                <a:gd name="connsiteY10" fmla="*/ 0 h 7995"/>
                <a:gd name="connsiteX11" fmla="*/ 398449 w 613083"/>
                <a:gd name="connsiteY11" fmla="*/ 7995 h 7995"/>
                <a:gd name="connsiteX12" fmla="*/ 451952 w 613083"/>
                <a:gd name="connsiteY12" fmla="*/ 7995 h 7995"/>
                <a:gd name="connsiteX13" fmla="*/ 451952 w 613083"/>
                <a:gd name="connsiteY13" fmla="*/ 0 h 7995"/>
                <a:gd name="connsiteX14" fmla="*/ 398449 w 613083"/>
                <a:gd name="connsiteY14" fmla="*/ 0 h 7995"/>
                <a:gd name="connsiteX15" fmla="*/ 317849 w 613083"/>
                <a:gd name="connsiteY15" fmla="*/ 0 h 7995"/>
                <a:gd name="connsiteX16" fmla="*/ 317849 w 613083"/>
                <a:gd name="connsiteY16" fmla="*/ 7995 h 7995"/>
                <a:gd name="connsiteX17" fmla="*/ 371352 w 613083"/>
                <a:gd name="connsiteY17" fmla="*/ 7995 h 7995"/>
                <a:gd name="connsiteX18" fmla="*/ 371352 w 613083"/>
                <a:gd name="connsiteY18" fmla="*/ 0 h 7995"/>
                <a:gd name="connsiteX19" fmla="*/ 317849 w 613083"/>
                <a:gd name="connsiteY19" fmla="*/ 0 h 7995"/>
                <a:gd name="connsiteX20" fmla="*/ 237318 w 613083"/>
                <a:gd name="connsiteY20" fmla="*/ 0 h 7995"/>
                <a:gd name="connsiteX21" fmla="*/ 237318 w 613083"/>
                <a:gd name="connsiteY21" fmla="*/ 7995 h 7995"/>
                <a:gd name="connsiteX22" fmla="*/ 290821 w 613083"/>
                <a:gd name="connsiteY22" fmla="*/ 7995 h 7995"/>
                <a:gd name="connsiteX23" fmla="*/ 290821 w 613083"/>
                <a:gd name="connsiteY23" fmla="*/ 0 h 7995"/>
                <a:gd name="connsiteX24" fmla="*/ 237318 w 613083"/>
                <a:gd name="connsiteY24" fmla="*/ 0 h 7995"/>
                <a:gd name="connsiteX25" fmla="*/ 156718 w 613083"/>
                <a:gd name="connsiteY25" fmla="*/ 0 h 7995"/>
                <a:gd name="connsiteX26" fmla="*/ 156718 w 613083"/>
                <a:gd name="connsiteY26" fmla="*/ 7995 h 7995"/>
                <a:gd name="connsiteX27" fmla="*/ 210222 w 613083"/>
                <a:gd name="connsiteY27" fmla="*/ 7995 h 7995"/>
                <a:gd name="connsiteX28" fmla="*/ 210222 w 613083"/>
                <a:gd name="connsiteY28" fmla="*/ 0 h 7995"/>
                <a:gd name="connsiteX29" fmla="*/ 156718 w 613083"/>
                <a:gd name="connsiteY29" fmla="*/ 0 h 7995"/>
                <a:gd name="connsiteX30" fmla="*/ 76187 w 613083"/>
                <a:gd name="connsiteY30" fmla="*/ 0 h 7995"/>
                <a:gd name="connsiteX31" fmla="*/ 76187 w 613083"/>
                <a:gd name="connsiteY31" fmla="*/ 7995 h 7995"/>
                <a:gd name="connsiteX32" fmla="*/ 129691 w 613083"/>
                <a:gd name="connsiteY32" fmla="*/ 7995 h 7995"/>
                <a:gd name="connsiteX33" fmla="*/ 129691 w 613083"/>
                <a:gd name="connsiteY33" fmla="*/ 0 h 7995"/>
                <a:gd name="connsiteX34" fmla="*/ 76187 w 613083"/>
                <a:gd name="connsiteY34" fmla="*/ 0 h 7995"/>
                <a:gd name="connsiteX35" fmla="*/ 0 w 613083"/>
                <a:gd name="connsiteY35" fmla="*/ 0 h 7995"/>
                <a:gd name="connsiteX36" fmla="*/ 0 w 613083"/>
                <a:gd name="connsiteY36" fmla="*/ 7995 h 7995"/>
                <a:gd name="connsiteX37" fmla="*/ 49091 w 613083"/>
                <a:gd name="connsiteY37" fmla="*/ 7995 h 7995"/>
                <a:gd name="connsiteX38" fmla="*/ 49091 w 613083"/>
                <a:gd name="connsiteY38" fmla="*/ 0 h 7995"/>
                <a:gd name="connsiteX39" fmla="*/ 0 w 613083"/>
                <a:gd name="connsiteY39" fmla="*/ 0 h 7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613083" h="7995">
                  <a:moveTo>
                    <a:pt x="559580" y="0"/>
                  </a:moveTo>
                  <a:cubicBezTo>
                    <a:pt x="559580" y="1792"/>
                    <a:pt x="559580" y="6203"/>
                    <a:pt x="559580" y="7995"/>
                  </a:cubicBezTo>
                  <a:cubicBezTo>
                    <a:pt x="562131" y="7995"/>
                    <a:pt x="610532" y="7995"/>
                    <a:pt x="613083" y="7995"/>
                  </a:cubicBezTo>
                  <a:cubicBezTo>
                    <a:pt x="613083" y="6203"/>
                    <a:pt x="613083" y="1792"/>
                    <a:pt x="613083" y="0"/>
                  </a:cubicBezTo>
                  <a:cubicBezTo>
                    <a:pt x="610532" y="0"/>
                    <a:pt x="562131" y="0"/>
                    <a:pt x="559580" y="0"/>
                  </a:cubicBezTo>
                  <a:close/>
                  <a:moveTo>
                    <a:pt x="479049" y="0"/>
                  </a:moveTo>
                  <a:cubicBezTo>
                    <a:pt x="479049" y="1792"/>
                    <a:pt x="479049" y="6203"/>
                    <a:pt x="479049" y="7995"/>
                  </a:cubicBezTo>
                  <a:cubicBezTo>
                    <a:pt x="481600" y="7995"/>
                    <a:pt x="530001" y="7995"/>
                    <a:pt x="532552" y="7995"/>
                  </a:cubicBezTo>
                  <a:cubicBezTo>
                    <a:pt x="532552" y="6203"/>
                    <a:pt x="532552" y="1792"/>
                    <a:pt x="532552" y="0"/>
                  </a:cubicBezTo>
                  <a:cubicBezTo>
                    <a:pt x="529932" y="0"/>
                    <a:pt x="481600" y="0"/>
                    <a:pt x="479049" y="0"/>
                  </a:cubicBezTo>
                  <a:close/>
                  <a:moveTo>
                    <a:pt x="398449" y="0"/>
                  </a:moveTo>
                  <a:cubicBezTo>
                    <a:pt x="398449" y="1792"/>
                    <a:pt x="398449" y="6203"/>
                    <a:pt x="398449" y="7995"/>
                  </a:cubicBezTo>
                  <a:cubicBezTo>
                    <a:pt x="401000" y="7995"/>
                    <a:pt x="449401" y="7995"/>
                    <a:pt x="451952" y="7995"/>
                  </a:cubicBezTo>
                  <a:cubicBezTo>
                    <a:pt x="451952" y="6203"/>
                    <a:pt x="451952" y="1792"/>
                    <a:pt x="451952" y="0"/>
                  </a:cubicBezTo>
                  <a:cubicBezTo>
                    <a:pt x="449401" y="0"/>
                    <a:pt x="401000" y="0"/>
                    <a:pt x="398449" y="0"/>
                  </a:cubicBezTo>
                  <a:close/>
                  <a:moveTo>
                    <a:pt x="317849" y="0"/>
                  </a:moveTo>
                  <a:cubicBezTo>
                    <a:pt x="317849" y="1792"/>
                    <a:pt x="317849" y="6203"/>
                    <a:pt x="317849" y="7995"/>
                  </a:cubicBezTo>
                  <a:cubicBezTo>
                    <a:pt x="320400" y="7995"/>
                    <a:pt x="368801" y="7995"/>
                    <a:pt x="371352" y="7995"/>
                  </a:cubicBezTo>
                  <a:cubicBezTo>
                    <a:pt x="371352" y="6203"/>
                    <a:pt x="371352" y="1792"/>
                    <a:pt x="371352" y="0"/>
                  </a:cubicBezTo>
                  <a:cubicBezTo>
                    <a:pt x="368801" y="0"/>
                    <a:pt x="320400" y="0"/>
                    <a:pt x="317849" y="0"/>
                  </a:cubicBezTo>
                  <a:close/>
                  <a:moveTo>
                    <a:pt x="237318" y="0"/>
                  </a:moveTo>
                  <a:cubicBezTo>
                    <a:pt x="237318" y="1792"/>
                    <a:pt x="237318" y="6203"/>
                    <a:pt x="237318" y="7995"/>
                  </a:cubicBezTo>
                  <a:cubicBezTo>
                    <a:pt x="239869" y="7995"/>
                    <a:pt x="288270" y="7995"/>
                    <a:pt x="290821" y="7995"/>
                  </a:cubicBezTo>
                  <a:cubicBezTo>
                    <a:pt x="290821" y="6203"/>
                    <a:pt x="290821" y="1792"/>
                    <a:pt x="290821" y="0"/>
                  </a:cubicBezTo>
                  <a:cubicBezTo>
                    <a:pt x="288201" y="0"/>
                    <a:pt x="239869" y="0"/>
                    <a:pt x="237318" y="0"/>
                  </a:cubicBezTo>
                  <a:close/>
                  <a:moveTo>
                    <a:pt x="156718" y="0"/>
                  </a:moveTo>
                  <a:cubicBezTo>
                    <a:pt x="156718" y="1792"/>
                    <a:pt x="156718" y="6203"/>
                    <a:pt x="156718" y="7995"/>
                  </a:cubicBezTo>
                  <a:cubicBezTo>
                    <a:pt x="159269" y="7995"/>
                    <a:pt x="207671" y="7995"/>
                    <a:pt x="210222" y="7995"/>
                  </a:cubicBezTo>
                  <a:cubicBezTo>
                    <a:pt x="210222" y="6203"/>
                    <a:pt x="210222" y="1792"/>
                    <a:pt x="210222" y="0"/>
                  </a:cubicBezTo>
                  <a:cubicBezTo>
                    <a:pt x="207671" y="0"/>
                    <a:pt x="159269" y="0"/>
                    <a:pt x="156718" y="0"/>
                  </a:cubicBezTo>
                  <a:close/>
                  <a:moveTo>
                    <a:pt x="76187" y="0"/>
                  </a:moveTo>
                  <a:cubicBezTo>
                    <a:pt x="76187" y="1792"/>
                    <a:pt x="76187" y="6203"/>
                    <a:pt x="76187" y="7995"/>
                  </a:cubicBezTo>
                  <a:cubicBezTo>
                    <a:pt x="78738" y="7995"/>
                    <a:pt x="127140" y="7995"/>
                    <a:pt x="129691" y="7995"/>
                  </a:cubicBezTo>
                  <a:cubicBezTo>
                    <a:pt x="129691" y="6203"/>
                    <a:pt x="129691" y="1792"/>
                    <a:pt x="129691" y="0"/>
                  </a:cubicBezTo>
                  <a:cubicBezTo>
                    <a:pt x="127071" y="0"/>
                    <a:pt x="78738" y="0"/>
                    <a:pt x="76187" y="0"/>
                  </a:cubicBezTo>
                  <a:close/>
                  <a:moveTo>
                    <a:pt x="0" y="0"/>
                  </a:moveTo>
                  <a:cubicBezTo>
                    <a:pt x="0" y="1792"/>
                    <a:pt x="0" y="6203"/>
                    <a:pt x="0" y="7995"/>
                  </a:cubicBezTo>
                  <a:cubicBezTo>
                    <a:pt x="2551" y="7995"/>
                    <a:pt x="46540" y="7995"/>
                    <a:pt x="49091" y="7995"/>
                  </a:cubicBezTo>
                  <a:cubicBezTo>
                    <a:pt x="49091" y="6203"/>
                    <a:pt x="49091" y="1792"/>
                    <a:pt x="49091" y="0"/>
                  </a:cubicBezTo>
                  <a:cubicBezTo>
                    <a:pt x="46540" y="0"/>
                    <a:pt x="2551" y="0"/>
                    <a:pt x="0" y="0"/>
                  </a:cubicBezTo>
                  <a:close/>
                </a:path>
              </a:pathLst>
            </a:custGeom>
            <a:solidFill>
              <a:srgbClr val="E4E4E4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grpSp>
          <p:nvGrpSpPr>
            <p:cNvPr id="6" name="Graphic 4">
              <a:extLst>
                <a:ext uri="{FF2B5EF4-FFF2-40B4-BE49-F238E27FC236}">
                  <a16:creationId xmlns:a16="http://schemas.microsoft.com/office/drawing/2014/main" id="{50866D62-AD99-5A4D-B493-298F331EF092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460593" y="1463821"/>
              <a:ext cx="644661" cy="207807"/>
              <a:chOff x="2460593" y="1463821"/>
              <a:chExt cx="644661" cy="207807"/>
            </a:xfrm>
            <a:solidFill>
              <a:srgbClr val="E4E4E4"/>
            </a:solidFill>
          </p:grpSpPr>
          <p:sp>
            <p:nvSpPr>
              <p:cNvPr id="7" name="Freeform 6">
                <a:extLst>
                  <a:ext uri="{FF2B5EF4-FFF2-40B4-BE49-F238E27FC236}">
                    <a16:creationId xmlns:a16="http://schemas.microsoft.com/office/drawing/2014/main" id="{45584FF5-5C84-494F-BF52-B6D1D6FE518F}"/>
                  </a:ext>
                </a:extLst>
              </p:cNvPr>
              <p:cNvSpPr/>
              <p:nvPr/>
            </p:nvSpPr>
            <p:spPr>
              <a:xfrm>
                <a:off x="2460593" y="1663357"/>
                <a:ext cx="644661" cy="8270"/>
              </a:xfrm>
              <a:custGeom>
                <a:avLst/>
                <a:gdLst>
                  <a:gd name="connsiteX0" fmla="*/ 0 w 644661"/>
                  <a:gd name="connsiteY0" fmla="*/ 0 h 8270"/>
                  <a:gd name="connsiteX1" fmla="*/ 644661 w 644661"/>
                  <a:gd name="connsiteY1" fmla="*/ 0 h 8270"/>
                  <a:gd name="connsiteX2" fmla="*/ 644661 w 644661"/>
                  <a:gd name="connsiteY2" fmla="*/ 8271 h 8270"/>
                  <a:gd name="connsiteX3" fmla="*/ 0 w 644661"/>
                  <a:gd name="connsiteY3" fmla="*/ 8271 h 8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4661" h="8270">
                    <a:moveTo>
                      <a:pt x="0" y="0"/>
                    </a:moveTo>
                    <a:lnTo>
                      <a:pt x="644661" y="0"/>
                    </a:lnTo>
                    <a:lnTo>
                      <a:pt x="644661" y="8271"/>
                    </a:lnTo>
                    <a:lnTo>
                      <a:pt x="0" y="8271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  <p:sp>
            <p:nvSpPr>
              <p:cNvPr id="8" name="Freeform 7">
                <a:extLst>
                  <a:ext uri="{FF2B5EF4-FFF2-40B4-BE49-F238E27FC236}">
                    <a16:creationId xmlns:a16="http://schemas.microsoft.com/office/drawing/2014/main" id="{A808ACA8-51FD-A34B-BA29-9055A92B16EE}"/>
                  </a:ext>
                </a:extLst>
              </p:cNvPr>
              <p:cNvSpPr/>
              <p:nvPr/>
            </p:nvSpPr>
            <p:spPr>
              <a:xfrm>
                <a:off x="2460593" y="1463821"/>
                <a:ext cx="644661" cy="8270"/>
              </a:xfrm>
              <a:custGeom>
                <a:avLst/>
                <a:gdLst>
                  <a:gd name="connsiteX0" fmla="*/ 0 w 644661"/>
                  <a:gd name="connsiteY0" fmla="*/ 0 h 8270"/>
                  <a:gd name="connsiteX1" fmla="*/ 644661 w 644661"/>
                  <a:gd name="connsiteY1" fmla="*/ 0 h 8270"/>
                  <a:gd name="connsiteX2" fmla="*/ 644661 w 644661"/>
                  <a:gd name="connsiteY2" fmla="*/ 8271 h 8270"/>
                  <a:gd name="connsiteX3" fmla="*/ 0 w 644661"/>
                  <a:gd name="connsiteY3" fmla="*/ 8271 h 8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4661" h="8270">
                    <a:moveTo>
                      <a:pt x="0" y="0"/>
                    </a:moveTo>
                    <a:lnTo>
                      <a:pt x="644661" y="0"/>
                    </a:lnTo>
                    <a:lnTo>
                      <a:pt x="644661" y="8271"/>
                    </a:lnTo>
                    <a:lnTo>
                      <a:pt x="0" y="8271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A20D0BBB-0D6A-4C42-823A-B49D2C32AE1A}"/>
              </a:ext>
            </a:extLst>
          </p:cNvPr>
          <p:cNvGrpSpPr>
            <a:grpSpLocks noChangeAspect="1"/>
          </p:cNvGrpSpPr>
          <p:nvPr/>
        </p:nvGrpSpPr>
        <p:grpSpPr>
          <a:xfrm>
            <a:off x="-56223" y="3334755"/>
            <a:ext cx="1938444" cy="438528"/>
            <a:chOff x="515508" y="1450725"/>
            <a:chExt cx="1362269" cy="233999"/>
          </a:xfrm>
        </p:grpSpPr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4E74AEDA-ABDE-3F4A-82F6-85B8F72544D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15508" y="1450725"/>
              <a:ext cx="1362269" cy="233999"/>
            </a:xfrm>
            <a:custGeom>
              <a:avLst/>
              <a:gdLst>
                <a:gd name="connsiteX0" fmla="*/ 0 w 1362269"/>
                <a:gd name="connsiteY0" fmla="*/ 0 h 233999"/>
                <a:gd name="connsiteX1" fmla="*/ 1362269 w 1362269"/>
                <a:gd name="connsiteY1" fmla="*/ 0 h 233999"/>
                <a:gd name="connsiteX2" fmla="*/ 1362269 w 1362269"/>
                <a:gd name="connsiteY2" fmla="*/ 233999 h 233999"/>
                <a:gd name="connsiteX3" fmla="*/ 0 w 1362269"/>
                <a:gd name="connsiteY3" fmla="*/ 233999 h 233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2269" h="233999">
                  <a:moveTo>
                    <a:pt x="0" y="0"/>
                  </a:moveTo>
                  <a:lnTo>
                    <a:pt x="1362269" y="0"/>
                  </a:lnTo>
                  <a:lnTo>
                    <a:pt x="1362269" y="233999"/>
                  </a:lnTo>
                  <a:lnTo>
                    <a:pt x="0" y="233999"/>
                  </a:lnTo>
                  <a:close/>
                </a:path>
              </a:pathLst>
            </a:custGeom>
            <a:solidFill>
              <a:schemeClr val="tx2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0A7D1AE8-12FB-C848-B61C-22A3BB53818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53801" y="1563761"/>
              <a:ext cx="613152" cy="7995"/>
            </a:xfrm>
            <a:custGeom>
              <a:avLst/>
              <a:gdLst>
                <a:gd name="connsiteX0" fmla="*/ 559649 w 613152"/>
                <a:gd name="connsiteY0" fmla="*/ 0 h 7995"/>
                <a:gd name="connsiteX1" fmla="*/ 559649 w 613152"/>
                <a:gd name="connsiteY1" fmla="*/ 7995 h 7995"/>
                <a:gd name="connsiteX2" fmla="*/ 613152 w 613152"/>
                <a:gd name="connsiteY2" fmla="*/ 7995 h 7995"/>
                <a:gd name="connsiteX3" fmla="*/ 613152 w 613152"/>
                <a:gd name="connsiteY3" fmla="*/ 0 h 7995"/>
                <a:gd name="connsiteX4" fmla="*/ 559649 w 613152"/>
                <a:gd name="connsiteY4" fmla="*/ 0 h 7995"/>
                <a:gd name="connsiteX5" fmla="*/ 479049 w 613152"/>
                <a:gd name="connsiteY5" fmla="*/ 0 h 7995"/>
                <a:gd name="connsiteX6" fmla="*/ 479049 w 613152"/>
                <a:gd name="connsiteY6" fmla="*/ 7995 h 7995"/>
                <a:gd name="connsiteX7" fmla="*/ 532552 w 613152"/>
                <a:gd name="connsiteY7" fmla="*/ 7995 h 7995"/>
                <a:gd name="connsiteX8" fmla="*/ 532552 w 613152"/>
                <a:gd name="connsiteY8" fmla="*/ 0 h 7995"/>
                <a:gd name="connsiteX9" fmla="*/ 479049 w 613152"/>
                <a:gd name="connsiteY9" fmla="*/ 0 h 7995"/>
                <a:gd name="connsiteX10" fmla="*/ 398449 w 613152"/>
                <a:gd name="connsiteY10" fmla="*/ 0 h 7995"/>
                <a:gd name="connsiteX11" fmla="*/ 398449 w 613152"/>
                <a:gd name="connsiteY11" fmla="*/ 7995 h 7995"/>
                <a:gd name="connsiteX12" fmla="*/ 451952 w 613152"/>
                <a:gd name="connsiteY12" fmla="*/ 7995 h 7995"/>
                <a:gd name="connsiteX13" fmla="*/ 451952 w 613152"/>
                <a:gd name="connsiteY13" fmla="*/ 0 h 7995"/>
                <a:gd name="connsiteX14" fmla="*/ 398449 w 613152"/>
                <a:gd name="connsiteY14" fmla="*/ 0 h 7995"/>
                <a:gd name="connsiteX15" fmla="*/ 317918 w 613152"/>
                <a:gd name="connsiteY15" fmla="*/ 0 h 7995"/>
                <a:gd name="connsiteX16" fmla="*/ 317918 w 613152"/>
                <a:gd name="connsiteY16" fmla="*/ 7995 h 7995"/>
                <a:gd name="connsiteX17" fmla="*/ 371421 w 613152"/>
                <a:gd name="connsiteY17" fmla="*/ 7995 h 7995"/>
                <a:gd name="connsiteX18" fmla="*/ 371421 w 613152"/>
                <a:gd name="connsiteY18" fmla="*/ 0 h 7995"/>
                <a:gd name="connsiteX19" fmla="*/ 317918 w 613152"/>
                <a:gd name="connsiteY19" fmla="*/ 0 h 7995"/>
                <a:gd name="connsiteX20" fmla="*/ 237318 w 613152"/>
                <a:gd name="connsiteY20" fmla="*/ 0 h 7995"/>
                <a:gd name="connsiteX21" fmla="*/ 237318 w 613152"/>
                <a:gd name="connsiteY21" fmla="*/ 7995 h 7995"/>
                <a:gd name="connsiteX22" fmla="*/ 290822 w 613152"/>
                <a:gd name="connsiteY22" fmla="*/ 7995 h 7995"/>
                <a:gd name="connsiteX23" fmla="*/ 290822 w 613152"/>
                <a:gd name="connsiteY23" fmla="*/ 0 h 7995"/>
                <a:gd name="connsiteX24" fmla="*/ 237318 w 613152"/>
                <a:gd name="connsiteY24" fmla="*/ 0 h 7995"/>
                <a:gd name="connsiteX25" fmla="*/ 156787 w 613152"/>
                <a:gd name="connsiteY25" fmla="*/ 0 h 7995"/>
                <a:gd name="connsiteX26" fmla="*/ 156787 w 613152"/>
                <a:gd name="connsiteY26" fmla="*/ 7995 h 7995"/>
                <a:gd name="connsiteX27" fmla="*/ 210291 w 613152"/>
                <a:gd name="connsiteY27" fmla="*/ 7995 h 7995"/>
                <a:gd name="connsiteX28" fmla="*/ 210291 w 613152"/>
                <a:gd name="connsiteY28" fmla="*/ 0 h 7995"/>
                <a:gd name="connsiteX29" fmla="*/ 156787 w 613152"/>
                <a:gd name="connsiteY29" fmla="*/ 0 h 7995"/>
                <a:gd name="connsiteX30" fmla="*/ 76187 w 613152"/>
                <a:gd name="connsiteY30" fmla="*/ 0 h 7995"/>
                <a:gd name="connsiteX31" fmla="*/ 76187 w 613152"/>
                <a:gd name="connsiteY31" fmla="*/ 7995 h 7995"/>
                <a:gd name="connsiteX32" fmla="*/ 129691 w 613152"/>
                <a:gd name="connsiteY32" fmla="*/ 7995 h 7995"/>
                <a:gd name="connsiteX33" fmla="*/ 129691 w 613152"/>
                <a:gd name="connsiteY33" fmla="*/ 0 h 7995"/>
                <a:gd name="connsiteX34" fmla="*/ 76187 w 613152"/>
                <a:gd name="connsiteY34" fmla="*/ 0 h 7995"/>
                <a:gd name="connsiteX35" fmla="*/ 0 w 613152"/>
                <a:gd name="connsiteY35" fmla="*/ 0 h 7995"/>
                <a:gd name="connsiteX36" fmla="*/ 0 w 613152"/>
                <a:gd name="connsiteY36" fmla="*/ 7995 h 7995"/>
                <a:gd name="connsiteX37" fmla="*/ 49091 w 613152"/>
                <a:gd name="connsiteY37" fmla="*/ 7995 h 7995"/>
                <a:gd name="connsiteX38" fmla="*/ 49091 w 613152"/>
                <a:gd name="connsiteY38" fmla="*/ 0 h 7995"/>
                <a:gd name="connsiteX39" fmla="*/ 0 w 613152"/>
                <a:gd name="connsiteY39" fmla="*/ 0 h 7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613152" h="7995">
                  <a:moveTo>
                    <a:pt x="559649" y="0"/>
                  </a:moveTo>
                  <a:cubicBezTo>
                    <a:pt x="559649" y="1792"/>
                    <a:pt x="559649" y="6203"/>
                    <a:pt x="559649" y="7995"/>
                  </a:cubicBezTo>
                  <a:cubicBezTo>
                    <a:pt x="562200" y="7995"/>
                    <a:pt x="610601" y="7995"/>
                    <a:pt x="613152" y="7995"/>
                  </a:cubicBezTo>
                  <a:cubicBezTo>
                    <a:pt x="613152" y="6203"/>
                    <a:pt x="613152" y="1792"/>
                    <a:pt x="613152" y="0"/>
                  </a:cubicBezTo>
                  <a:cubicBezTo>
                    <a:pt x="610532" y="0"/>
                    <a:pt x="562200" y="0"/>
                    <a:pt x="559649" y="0"/>
                  </a:cubicBezTo>
                  <a:close/>
                  <a:moveTo>
                    <a:pt x="479049" y="0"/>
                  </a:moveTo>
                  <a:cubicBezTo>
                    <a:pt x="479049" y="1792"/>
                    <a:pt x="479049" y="6203"/>
                    <a:pt x="479049" y="7995"/>
                  </a:cubicBezTo>
                  <a:cubicBezTo>
                    <a:pt x="481600" y="7995"/>
                    <a:pt x="530001" y="7995"/>
                    <a:pt x="532552" y="7995"/>
                  </a:cubicBezTo>
                  <a:cubicBezTo>
                    <a:pt x="532552" y="6203"/>
                    <a:pt x="532552" y="1792"/>
                    <a:pt x="532552" y="0"/>
                  </a:cubicBezTo>
                  <a:cubicBezTo>
                    <a:pt x="530001" y="0"/>
                    <a:pt x="481600" y="0"/>
                    <a:pt x="479049" y="0"/>
                  </a:cubicBezTo>
                  <a:close/>
                  <a:moveTo>
                    <a:pt x="398449" y="0"/>
                  </a:moveTo>
                  <a:cubicBezTo>
                    <a:pt x="398449" y="1792"/>
                    <a:pt x="398449" y="6203"/>
                    <a:pt x="398449" y="7995"/>
                  </a:cubicBezTo>
                  <a:cubicBezTo>
                    <a:pt x="401000" y="7995"/>
                    <a:pt x="449401" y="7995"/>
                    <a:pt x="451952" y="7995"/>
                  </a:cubicBezTo>
                  <a:cubicBezTo>
                    <a:pt x="451952" y="6203"/>
                    <a:pt x="451952" y="1792"/>
                    <a:pt x="451952" y="0"/>
                  </a:cubicBezTo>
                  <a:cubicBezTo>
                    <a:pt x="449401" y="0"/>
                    <a:pt x="401069" y="0"/>
                    <a:pt x="398449" y="0"/>
                  </a:cubicBezTo>
                  <a:close/>
                  <a:moveTo>
                    <a:pt x="317918" y="0"/>
                  </a:moveTo>
                  <a:cubicBezTo>
                    <a:pt x="317918" y="1792"/>
                    <a:pt x="317918" y="6203"/>
                    <a:pt x="317918" y="7995"/>
                  </a:cubicBezTo>
                  <a:cubicBezTo>
                    <a:pt x="320469" y="7995"/>
                    <a:pt x="368870" y="7995"/>
                    <a:pt x="371421" y="7995"/>
                  </a:cubicBezTo>
                  <a:cubicBezTo>
                    <a:pt x="371421" y="6203"/>
                    <a:pt x="371421" y="1792"/>
                    <a:pt x="371421" y="0"/>
                  </a:cubicBezTo>
                  <a:cubicBezTo>
                    <a:pt x="368801" y="0"/>
                    <a:pt x="320469" y="0"/>
                    <a:pt x="317918" y="0"/>
                  </a:cubicBezTo>
                  <a:close/>
                  <a:moveTo>
                    <a:pt x="237318" y="0"/>
                  </a:moveTo>
                  <a:cubicBezTo>
                    <a:pt x="237318" y="1792"/>
                    <a:pt x="237318" y="6203"/>
                    <a:pt x="237318" y="7995"/>
                  </a:cubicBezTo>
                  <a:cubicBezTo>
                    <a:pt x="239869" y="7995"/>
                    <a:pt x="288270" y="7995"/>
                    <a:pt x="290822" y="7995"/>
                  </a:cubicBezTo>
                  <a:cubicBezTo>
                    <a:pt x="290822" y="6203"/>
                    <a:pt x="290822" y="1792"/>
                    <a:pt x="290822" y="0"/>
                  </a:cubicBezTo>
                  <a:cubicBezTo>
                    <a:pt x="288270" y="0"/>
                    <a:pt x="239869" y="0"/>
                    <a:pt x="237318" y="0"/>
                  </a:cubicBezTo>
                  <a:close/>
                  <a:moveTo>
                    <a:pt x="156787" y="0"/>
                  </a:moveTo>
                  <a:cubicBezTo>
                    <a:pt x="156787" y="1792"/>
                    <a:pt x="156787" y="6203"/>
                    <a:pt x="156787" y="7995"/>
                  </a:cubicBezTo>
                  <a:cubicBezTo>
                    <a:pt x="159338" y="7995"/>
                    <a:pt x="207740" y="7995"/>
                    <a:pt x="210291" y="7995"/>
                  </a:cubicBezTo>
                  <a:cubicBezTo>
                    <a:pt x="210291" y="6203"/>
                    <a:pt x="210291" y="1792"/>
                    <a:pt x="210291" y="0"/>
                  </a:cubicBezTo>
                  <a:cubicBezTo>
                    <a:pt x="207671" y="0"/>
                    <a:pt x="159338" y="0"/>
                    <a:pt x="156787" y="0"/>
                  </a:cubicBezTo>
                  <a:close/>
                  <a:moveTo>
                    <a:pt x="76187" y="0"/>
                  </a:moveTo>
                  <a:cubicBezTo>
                    <a:pt x="76187" y="1792"/>
                    <a:pt x="76187" y="6203"/>
                    <a:pt x="76187" y="7995"/>
                  </a:cubicBezTo>
                  <a:cubicBezTo>
                    <a:pt x="78738" y="7995"/>
                    <a:pt x="127140" y="7995"/>
                    <a:pt x="129691" y="7995"/>
                  </a:cubicBezTo>
                  <a:cubicBezTo>
                    <a:pt x="129691" y="6203"/>
                    <a:pt x="129691" y="1792"/>
                    <a:pt x="129691" y="0"/>
                  </a:cubicBezTo>
                  <a:cubicBezTo>
                    <a:pt x="127071" y="0"/>
                    <a:pt x="78738" y="0"/>
                    <a:pt x="76187" y="0"/>
                  </a:cubicBezTo>
                  <a:close/>
                  <a:moveTo>
                    <a:pt x="0" y="0"/>
                  </a:moveTo>
                  <a:cubicBezTo>
                    <a:pt x="0" y="1792"/>
                    <a:pt x="0" y="6203"/>
                    <a:pt x="0" y="7995"/>
                  </a:cubicBezTo>
                  <a:cubicBezTo>
                    <a:pt x="2551" y="7995"/>
                    <a:pt x="46540" y="7995"/>
                    <a:pt x="49091" y="7995"/>
                  </a:cubicBezTo>
                  <a:cubicBezTo>
                    <a:pt x="49091" y="6203"/>
                    <a:pt x="49091" y="1792"/>
                    <a:pt x="49091" y="0"/>
                  </a:cubicBezTo>
                  <a:cubicBezTo>
                    <a:pt x="46540" y="0"/>
                    <a:pt x="2551" y="0"/>
                    <a:pt x="0" y="0"/>
                  </a:cubicBezTo>
                  <a:close/>
                </a:path>
              </a:pathLst>
            </a:custGeom>
            <a:solidFill>
              <a:srgbClr val="E4E4E4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EB8F2FD5-BC5D-DB40-BDB1-E24DFCEA368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13207" y="1563761"/>
              <a:ext cx="613083" cy="7995"/>
            </a:xfrm>
            <a:custGeom>
              <a:avLst/>
              <a:gdLst>
                <a:gd name="connsiteX0" fmla="*/ 559580 w 613083"/>
                <a:gd name="connsiteY0" fmla="*/ 0 h 7995"/>
                <a:gd name="connsiteX1" fmla="*/ 559580 w 613083"/>
                <a:gd name="connsiteY1" fmla="*/ 7995 h 7995"/>
                <a:gd name="connsiteX2" fmla="*/ 613083 w 613083"/>
                <a:gd name="connsiteY2" fmla="*/ 7995 h 7995"/>
                <a:gd name="connsiteX3" fmla="*/ 613083 w 613083"/>
                <a:gd name="connsiteY3" fmla="*/ 0 h 7995"/>
                <a:gd name="connsiteX4" fmla="*/ 559580 w 613083"/>
                <a:gd name="connsiteY4" fmla="*/ 0 h 7995"/>
                <a:gd name="connsiteX5" fmla="*/ 478980 w 613083"/>
                <a:gd name="connsiteY5" fmla="*/ 0 h 7995"/>
                <a:gd name="connsiteX6" fmla="*/ 478980 w 613083"/>
                <a:gd name="connsiteY6" fmla="*/ 7995 h 7995"/>
                <a:gd name="connsiteX7" fmla="*/ 532483 w 613083"/>
                <a:gd name="connsiteY7" fmla="*/ 7995 h 7995"/>
                <a:gd name="connsiteX8" fmla="*/ 532483 w 613083"/>
                <a:gd name="connsiteY8" fmla="*/ 0 h 7995"/>
                <a:gd name="connsiteX9" fmla="*/ 478980 w 613083"/>
                <a:gd name="connsiteY9" fmla="*/ 0 h 7995"/>
                <a:gd name="connsiteX10" fmla="*/ 398449 w 613083"/>
                <a:gd name="connsiteY10" fmla="*/ 0 h 7995"/>
                <a:gd name="connsiteX11" fmla="*/ 398449 w 613083"/>
                <a:gd name="connsiteY11" fmla="*/ 7995 h 7995"/>
                <a:gd name="connsiteX12" fmla="*/ 451952 w 613083"/>
                <a:gd name="connsiteY12" fmla="*/ 7995 h 7995"/>
                <a:gd name="connsiteX13" fmla="*/ 451952 w 613083"/>
                <a:gd name="connsiteY13" fmla="*/ 0 h 7995"/>
                <a:gd name="connsiteX14" fmla="*/ 398449 w 613083"/>
                <a:gd name="connsiteY14" fmla="*/ 0 h 7995"/>
                <a:gd name="connsiteX15" fmla="*/ 317849 w 613083"/>
                <a:gd name="connsiteY15" fmla="*/ 0 h 7995"/>
                <a:gd name="connsiteX16" fmla="*/ 317849 w 613083"/>
                <a:gd name="connsiteY16" fmla="*/ 7995 h 7995"/>
                <a:gd name="connsiteX17" fmla="*/ 371352 w 613083"/>
                <a:gd name="connsiteY17" fmla="*/ 7995 h 7995"/>
                <a:gd name="connsiteX18" fmla="*/ 371352 w 613083"/>
                <a:gd name="connsiteY18" fmla="*/ 0 h 7995"/>
                <a:gd name="connsiteX19" fmla="*/ 317849 w 613083"/>
                <a:gd name="connsiteY19" fmla="*/ 0 h 7995"/>
                <a:gd name="connsiteX20" fmla="*/ 237249 w 613083"/>
                <a:gd name="connsiteY20" fmla="*/ 0 h 7995"/>
                <a:gd name="connsiteX21" fmla="*/ 237249 w 613083"/>
                <a:gd name="connsiteY21" fmla="*/ 7995 h 7995"/>
                <a:gd name="connsiteX22" fmla="*/ 290753 w 613083"/>
                <a:gd name="connsiteY22" fmla="*/ 7995 h 7995"/>
                <a:gd name="connsiteX23" fmla="*/ 290753 w 613083"/>
                <a:gd name="connsiteY23" fmla="*/ 0 h 7995"/>
                <a:gd name="connsiteX24" fmla="*/ 237249 w 613083"/>
                <a:gd name="connsiteY24" fmla="*/ 0 h 7995"/>
                <a:gd name="connsiteX25" fmla="*/ 156718 w 613083"/>
                <a:gd name="connsiteY25" fmla="*/ 0 h 7995"/>
                <a:gd name="connsiteX26" fmla="*/ 156718 w 613083"/>
                <a:gd name="connsiteY26" fmla="*/ 7995 h 7995"/>
                <a:gd name="connsiteX27" fmla="*/ 210222 w 613083"/>
                <a:gd name="connsiteY27" fmla="*/ 7995 h 7995"/>
                <a:gd name="connsiteX28" fmla="*/ 210222 w 613083"/>
                <a:gd name="connsiteY28" fmla="*/ 0 h 7995"/>
                <a:gd name="connsiteX29" fmla="*/ 156718 w 613083"/>
                <a:gd name="connsiteY29" fmla="*/ 0 h 7995"/>
                <a:gd name="connsiteX30" fmla="*/ 76118 w 613083"/>
                <a:gd name="connsiteY30" fmla="*/ 0 h 7995"/>
                <a:gd name="connsiteX31" fmla="*/ 76118 w 613083"/>
                <a:gd name="connsiteY31" fmla="*/ 7995 h 7995"/>
                <a:gd name="connsiteX32" fmla="*/ 129622 w 613083"/>
                <a:gd name="connsiteY32" fmla="*/ 7995 h 7995"/>
                <a:gd name="connsiteX33" fmla="*/ 129622 w 613083"/>
                <a:gd name="connsiteY33" fmla="*/ 0 h 7995"/>
                <a:gd name="connsiteX34" fmla="*/ 76118 w 613083"/>
                <a:gd name="connsiteY34" fmla="*/ 0 h 7995"/>
                <a:gd name="connsiteX35" fmla="*/ 0 w 613083"/>
                <a:gd name="connsiteY35" fmla="*/ 0 h 7995"/>
                <a:gd name="connsiteX36" fmla="*/ 0 w 613083"/>
                <a:gd name="connsiteY36" fmla="*/ 7995 h 7995"/>
                <a:gd name="connsiteX37" fmla="*/ 49091 w 613083"/>
                <a:gd name="connsiteY37" fmla="*/ 7995 h 7995"/>
                <a:gd name="connsiteX38" fmla="*/ 49091 w 613083"/>
                <a:gd name="connsiteY38" fmla="*/ 0 h 7995"/>
                <a:gd name="connsiteX39" fmla="*/ 0 w 613083"/>
                <a:gd name="connsiteY39" fmla="*/ 0 h 7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613083" h="7995">
                  <a:moveTo>
                    <a:pt x="559580" y="0"/>
                  </a:moveTo>
                  <a:cubicBezTo>
                    <a:pt x="559580" y="1792"/>
                    <a:pt x="559580" y="6203"/>
                    <a:pt x="559580" y="7995"/>
                  </a:cubicBezTo>
                  <a:cubicBezTo>
                    <a:pt x="562131" y="7995"/>
                    <a:pt x="610532" y="7995"/>
                    <a:pt x="613083" y="7995"/>
                  </a:cubicBezTo>
                  <a:cubicBezTo>
                    <a:pt x="613083" y="6203"/>
                    <a:pt x="613083" y="1792"/>
                    <a:pt x="613083" y="0"/>
                  </a:cubicBezTo>
                  <a:cubicBezTo>
                    <a:pt x="610532" y="0"/>
                    <a:pt x="562131" y="0"/>
                    <a:pt x="559580" y="0"/>
                  </a:cubicBezTo>
                  <a:close/>
                  <a:moveTo>
                    <a:pt x="478980" y="0"/>
                  </a:moveTo>
                  <a:cubicBezTo>
                    <a:pt x="478980" y="1792"/>
                    <a:pt x="478980" y="6203"/>
                    <a:pt x="478980" y="7995"/>
                  </a:cubicBezTo>
                  <a:cubicBezTo>
                    <a:pt x="481531" y="7995"/>
                    <a:pt x="529932" y="7995"/>
                    <a:pt x="532483" y="7995"/>
                  </a:cubicBezTo>
                  <a:cubicBezTo>
                    <a:pt x="532483" y="6203"/>
                    <a:pt x="532483" y="1792"/>
                    <a:pt x="532483" y="0"/>
                  </a:cubicBezTo>
                  <a:cubicBezTo>
                    <a:pt x="529932" y="0"/>
                    <a:pt x="481531" y="0"/>
                    <a:pt x="478980" y="0"/>
                  </a:cubicBezTo>
                  <a:close/>
                  <a:moveTo>
                    <a:pt x="398449" y="0"/>
                  </a:moveTo>
                  <a:cubicBezTo>
                    <a:pt x="398449" y="1792"/>
                    <a:pt x="398449" y="6203"/>
                    <a:pt x="398449" y="7995"/>
                  </a:cubicBezTo>
                  <a:cubicBezTo>
                    <a:pt x="401000" y="7995"/>
                    <a:pt x="449401" y="7995"/>
                    <a:pt x="451952" y="7995"/>
                  </a:cubicBezTo>
                  <a:cubicBezTo>
                    <a:pt x="451952" y="6203"/>
                    <a:pt x="451952" y="1792"/>
                    <a:pt x="451952" y="0"/>
                  </a:cubicBezTo>
                  <a:cubicBezTo>
                    <a:pt x="449332" y="0"/>
                    <a:pt x="401000" y="0"/>
                    <a:pt x="398449" y="0"/>
                  </a:cubicBezTo>
                  <a:close/>
                  <a:moveTo>
                    <a:pt x="317849" y="0"/>
                  </a:moveTo>
                  <a:cubicBezTo>
                    <a:pt x="317849" y="1792"/>
                    <a:pt x="317849" y="6203"/>
                    <a:pt x="317849" y="7995"/>
                  </a:cubicBezTo>
                  <a:cubicBezTo>
                    <a:pt x="320400" y="7995"/>
                    <a:pt x="368801" y="7995"/>
                    <a:pt x="371352" y="7995"/>
                  </a:cubicBezTo>
                  <a:cubicBezTo>
                    <a:pt x="371352" y="6203"/>
                    <a:pt x="371352" y="1792"/>
                    <a:pt x="371352" y="0"/>
                  </a:cubicBezTo>
                  <a:cubicBezTo>
                    <a:pt x="368801" y="0"/>
                    <a:pt x="320400" y="0"/>
                    <a:pt x="317849" y="0"/>
                  </a:cubicBezTo>
                  <a:close/>
                  <a:moveTo>
                    <a:pt x="237249" y="0"/>
                  </a:moveTo>
                  <a:cubicBezTo>
                    <a:pt x="237249" y="1792"/>
                    <a:pt x="237249" y="6203"/>
                    <a:pt x="237249" y="7995"/>
                  </a:cubicBezTo>
                  <a:cubicBezTo>
                    <a:pt x="239800" y="7995"/>
                    <a:pt x="288201" y="7995"/>
                    <a:pt x="290753" y="7995"/>
                  </a:cubicBezTo>
                  <a:cubicBezTo>
                    <a:pt x="290753" y="6203"/>
                    <a:pt x="290753" y="1792"/>
                    <a:pt x="290753" y="0"/>
                  </a:cubicBezTo>
                  <a:cubicBezTo>
                    <a:pt x="288201" y="0"/>
                    <a:pt x="239869" y="0"/>
                    <a:pt x="237249" y="0"/>
                  </a:cubicBezTo>
                  <a:close/>
                  <a:moveTo>
                    <a:pt x="156718" y="0"/>
                  </a:moveTo>
                  <a:cubicBezTo>
                    <a:pt x="156718" y="1792"/>
                    <a:pt x="156718" y="6203"/>
                    <a:pt x="156718" y="7995"/>
                  </a:cubicBezTo>
                  <a:cubicBezTo>
                    <a:pt x="159269" y="7995"/>
                    <a:pt x="207671" y="7995"/>
                    <a:pt x="210222" y="7995"/>
                  </a:cubicBezTo>
                  <a:cubicBezTo>
                    <a:pt x="210222" y="6203"/>
                    <a:pt x="210222" y="1792"/>
                    <a:pt x="210222" y="0"/>
                  </a:cubicBezTo>
                  <a:cubicBezTo>
                    <a:pt x="207602" y="0"/>
                    <a:pt x="159269" y="0"/>
                    <a:pt x="156718" y="0"/>
                  </a:cubicBezTo>
                  <a:close/>
                  <a:moveTo>
                    <a:pt x="76118" y="0"/>
                  </a:moveTo>
                  <a:cubicBezTo>
                    <a:pt x="76118" y="1792"/>
                    <a:pt x="76118" y="6203"/>
                    <a:pt x="76118" y="7995"/>
                  </a:cubicBezTo>
                  <a:cubicBezTo>
                    <a:pt x="78669" y="7995"/>
                    <a:pt x="127071" y="7995"/>
                    <a:pt x="129622" y="7995"/>
                  </a:cubicBezTo>
                  <a:cubicBezTo>
                    <a:pt x="129622" y="6203"/>
                    <a:pt x="129622" y="1792"/>
                    <a:pt x="129622" y="0"/>
                  </a:cubicBezTo>
                  <a:cubicBezTo>
                    <a:pt x="127071" y="0"/>
                    <a:pt x="78669" y="0"/>
                    <a:pt x="76118" y="0"/>
                  </a:cubicBezTo>
                  <a:close/>
                  <a:moveTo>
                    <a:pt x="0" y="0"/>
                  </a:moveTo>
                  <a:cubicBezTo>
                    <a:pt x="0" y="1792"/>
                    <a:pt x="0" y="6203"/>
                    <a:pt x="0" y="7995"/>
                  </a:cubicBezTo>
                  <a:cubicBezTo>
                    <a:pt x="2551" y="7995"/>
                    <a:pt x="46540" y="7995"/>
                    <a:pt x="49091" y="7995"/>
                  </a:cubicBezTo>
                  <a:cubicBezTo>
                    <a:pt x="49091" y="6203"/>
                    <a:pt x="49091" y="1792"/>
                    <a:pt x="49091" y="0"/>
                  </a:cubicBezTo>
                  <a:cubicBezTo>
                    <a:pt x="46540" y="0"/>
                    <a:pt x="2551" y="0"/>
                    <a:pt x="0" y="0"/>
                  </a:cubicBezTo>
                  <a:close/>
                </a:path>
              </a:pathLst>
            </a:custGeom>
            <a:solidFill>
              <a:srgbClr val="E4E4E4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97315053-746F-C14A-9DD9-29272D9E28C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28264" y="1563761"/>
              <a:ext cx="53503" cy="7995"/>
            </a:xfrm>
            <a:custGeom>
              <a:avLst/>
              <a:gdLst>
                <a:gd name="connsiteX0" fmla="*/ 0 w 53503"/>
                <a:gd name="connsiteY0" fmla="*/ 0 h 7995"/>
                <a:gd name="connsiteX1" fmla="*/ 0 w 53503"/>
                <a:gd name="connsiteY1" fmla="*/ 7995 h 7995"/>
                <a:gd name="connsiteX2" fmla="*/ 53503 w 53503"/>
                <a:gd name="connsiteY2" fmla="*/ 7995 h 7995"/>
                <a:gd name="connsiteX3" fmla="*/ 53503 w 53503"/>
                <a:gd name="connsiteY3" fmla="*/ 0 h 7995"/>
                <a:gd name="connsiteX4" fmla="*/ 0 w 53503"/>
                <a:gd name="connsiteY4" fmla="*/ 0 h 7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503" h="7995">
                  <a:moveTo>
                    <a:pt x="0" y="0"/>
                  </a:moveTo>
                  <a:cubicBezTo>
                    <a:pt x="0" y="1792"/>
                    <a:pt x="0" y="6203"/>
                    <a:pt x="0" y="7995"/>
                  </a:cubicBezTo>
                  <a:cubicBezTo>
                    <a:pt x="2551" y="7995"/>
                    <a:pt x="50952" y="7995"/>
                    <a:pt x="53503" y="7995"/>
                  </a:cubicBezTo>
                  <a:cubicBezTo>
                    <a:pt x="53503" y="6203"/>
                    <a:pt x="53503" y="1792"/>
                    <a:pt x="53503" y="0"/>
                  </a:cubicBezTo>
                  <a:cubicBezTo>
                    <a:pt x="50952" y="0"/>
                    <a:pt x="2551" y="0"/>
                    <a:pt x="0" y="0"/>
                  </a:cubicBezTo>
                  <a:close/>
                </a:path>
              </a:pathLst>
            </a:custGeom>
            <a:solidFill>
              <a:srgbClr val="E4E4E4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grpSp>
          <p:nvGrpSpPr>
            <p:cNvPr id="14" name="Graphic 4">
              <a:extLst>
                <a:ext uri="{FF2B5EF4-FFF2-40B4-BE49-F238E27FC236}">
                  <a16:creationId xmlns:a16="http://schemas.microsoft.com/office/drawing/2014/main" id="{E40EF2E6-3BE2-D940-98DE-CF3003ED072E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15508" y="1463821"/>
              <a:ext cx="1362269" cy="207807"/>
              <a:chOff x="515508" y="1463821"/>
              <a:chExt cx="1362269" cy="207807"/>
            </a:xfrm>
            <a:solidFill>
              <a:srgbClr val="E4E4E4"/>
            </a:solidFill>
          </p:grpSpPr>
          <p:sp>
            <p:nvSpPr>
              <p:cNvPr id="15" name="Freeform 14">
                <a:extLst>
                  <a:ext uri="{FF2B5EF4-FFF2-40B4-BE49-F238E27FC236}">
                    <a16:creationId xmlns:a16="http://schemas.microsoft.com/office/drawing/2014/main" id="{79EFD608-52CD-6540-8E53-744DDB92535F}"/>
                  </a:ext>
                </a:extLst>
              </p:cNvPr>
              <p:cNvSpPr/>
              <p:nvPr/>
            </p:nvSpPr>
            <p:spPr>
              <a:xfrm>
                <a:off x="515508" y="1663357"/>
                <a:ext cx="1362269" cy="8270"/>
              </a:xfrm>
              <a:custGeom>
                <a:avLst/>
                <a:gdLst>
                  <a:gd name="connsiteX0" fmla="*/ 0 w 1362269"/>
                  <a:gd name="connsiteY0" fmla="*/ 0 h 8270"/>
                  <a:gd name="connsiteX1" fmla="*/ 1362269 w 1362269"/>
                  <a:gd name="connsiteY1" fmla="*/ 0 h 8270"/>
                  <a:gd name="connsiteX2" fmla="*/ 1362269 w 1362269"/>
                  <a:gd name="connsiteY2" fmla="*/ 8271 h 8270"/>
                  <a:gd name="connsiteX3" fmla="*/ 0 w 1362269"/>
                  <a:gd name="connsiteY3" fmla="*/ 8271 h 8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62269" h="8270">
                    <a:moveTo>
                      <a:pt x="0" y="0"/>
                    </a:moveTo>
                    <a:lnTo>
                      <a:pt x="1362269" y="0"/>
                    </a:lnTo>
                    <a:lnTo>
                      <a:pt x="1362269" y="8271"/>
                    </a:lnTo>
                    <a:lnTo>
                      <a:pt x="0" y="8271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  <p:sp>
            <p:nvSpPr>
              <p:cNvPr id="16" name="Freeform 15">
                <a:extLst>
                  <a:ext uri="{FF2B5EF4-FFF2-40B4-BE49-F238E27FC236}">
                    <a16:creationId xmlns:a16="http://schemas.microsoft.com/office/drawing/2014/main" id="{A9CC4F0F-CE62-A04E-9A07-4B7F67A0E18F}"/>
                  </a:ext>
                </a:extLst>
              </p:cNvPr>
              <p:cNvSpPr/>
              <p:nvPr/>
            </p:nvSpPr>
            <p:spPr>
              <a:xfrm>
                <a:off x="515508" y="1463821"/>
                <a:ext cx="1362269" cy="8270"/>
              </a:xfrm>
              <a:custGeom>
                <a:avLst/>
                <a:gdLst>
                  <a:gd name="connsiteX0" fmla="*/ 0 w 1362269"/>
                  <a:gd name="connsiteY0" fmla="*/ 0 h 8270"/>
                  <a:gd name="connsiteX1" fmla="*/ 1362269 w 1362269"/>
                  <a:gd name="connsiteY1" fmla="*/ 0 h 8270"/>
                  <a:gd name="connsiteX2" fmla="*/ 1362269 w 1362269"/>
                  <a:gd name="connsiteY2" fmla="*/ 8271 h 8270"/>
                  <a:gd name="connsiteX3" fmla="*/ 0 w 1362269"/>
                  <a:gd name="connsiteY3" fmla="*/ 8271 h 8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62269" h="8270">
                    <a:moveTo>
                      <a:pt x="0" y="0"/>
                    </a:moveTo>
                    <a:lnTo>
                      <a:pt x="1362269" y="0"/>
                    </a:lnTo>
                    <a:lnTo>
                      <a:pt x="1362269" y="8271"/>
                    </a:lnTo>
                    <a:lnTo>
                      <a:pt x="0" y="8271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43EC5D79-1F0E-634A-A202-A49E423D8716}"/>
              </a:ext>
            </a:extLst>
          </p:cNvPr>
          <p:cNvGrpSpPr>
            <a:grpSpLocks noChangeAspect="1"/>
          </p:cNvGrpSpPr>
          <p:nvPr/>
        </p:nvGrpSpPr>
        <p:grpSpPr>
          <a:xfrm flipV="1">
            <a:off x="1876913" y="2843425"/>
            <a:ext cx="929163" cy="928850"/>
            <a:chOff x="2192041" y="368471"/>
            <a:chExt cx="495803" cy="495636"/>
          </a:xfrm>
        </p:grpSpPr>
        <p:grpSp>
          <p:nvGrpSpPr>
            <p:cNvPr id="59" name="Graphic 4">
              <a:extLst>
                <a:ext uri="{FF2B5EF4-FFF2-40B4-BE49-F238E27FC236}">
                  <a16:creationId xmlns:a16="http://schemas.microsoft.com/office/drawing/2014/main" id="{C6A59AB9-E26F-C44A-82F5-D91A8115133B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192110" y="368471"/>
              <a:ext cx="495734" cy="495636"/>
              <a:chOff x="2192110" y="368471"/>
              <a:chExt cx="495734" cy="495636"/>
            </a:xfrm>
          </p:grpSpPr>
          <p:sp>
            <p:nvSpPr>
              <p:cNvPr id="61" name="Freeform 60">
                <a:extLst>
                  <a:ext uri="{FF2B5EF4-FFF2-40B4-BE49-F238E27FC236}">
                    <a16:creationId xmlns:a16="http://schemas.microsoft.com/office/drawing/2014/main" id="{A4B8F677-2EB1-C44E-A149-A276B1F3653A}"/>
                  </a:ext>
                </a:extLst>
              </p:cNvPr>
              <p:cNvSpPr/>
              <p:nvPr/>
            </p:nvSpPr>
            <p:spPr>
              <a:xfrm>
                <a:off x="2192110" y="368471"/>
                <a:ext cx="495734" cy="495568"/>
              </a:xfrm>
              <a:custGeom>
                <a:avLst/>
                <a:gdLst>
                  <a:gd name="connsiteX0" fmla="*/ 0 w 495734"/>
                  <a:gd name="connsiteY0" fmla="*/ 0 h 495568"/>
                  <a:gd name="connsiteX1" fmla="*/ 0 w 495734"/>
                  <a:gd name="connsiteY1" fmla="*/ 233999 h 495568"/>
                  <a:gd name="connsiteX2" fmla="*/ 261656 w 495734"/>
                  <a:gd name="connsiteY2" fmla="*/ 495568 h 495568"/>
                  <a:gd name="connsiteX3" fmla="*/ 495734 w 495734"/>
                  <a:gd name="connsiteY3" fmla="*/ 495568 h 495568"/>
                  <a:gd name="connsiteX4" fmla="*/ 0 w 495734"/>
                  <a:gd name="connsiteY4" fmla="*/ 0 h 4955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95734" h="495568">
                    <a:moveTo>
                      <a:pt x="0" y="0"/>
                    </a:moveTo>
                    <a:lnTo>
                      <a:pt x="0" y="233999"/>
                    </a:lnTo>
                    <a:cubicBezTo>
                      <a:pt x="144239" y="233999"/>
                      <a:pt x="261656" y="351309"/>
                      <a:pt x="261656" y="495568"/>
                    </a:cubicBezTo>
                    <a:lnTo>
                      <a:pt x="495734" y="495568"/>
                    </a:lnTo>
                    <a:cubicBezTo>
                      <a:pt x="495734" y="222351"/>
                      <a:pt x="273378" y="0"/>
                      <a:pt x="0" y="0"/>
                    </a:cubicBezTo>
                    <a:close/>
                  </a:path>
                </a:pathLst>
              </a:custGeom>
              <a:solidFill>
                <a:schemeClr val="tx2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  <p:sp>
            <p:nvSpPr>
              <p:cNvPr id="62" name="Freeform 61">
                <a:extLst>
                  <a:ext uri="{FF2B5EF4-FFF2-40B4-BE49-F238E27FC236}">
                    <a16:creationId xmlns:a16="http://schemas.microsoft.com/office/drawing/2014/main" id="{0620089B-34A6-8D43-A53B-DE7B8BEB77BF}"/>
                  </a:ext>
                </a:extLst>
              </p:cNvPr>
              <p:cNvSpPr/>
              <p:nvPr/>
            </p:nvSpPr>
            <p:spPr>
              <a:xfrm>
                <a:off x="2192110" y="381566"/>
                <a:ext cx="482702" cy="482541"/>
              </a:xfrm>
              <a:custGeom>
                <a:avLst/>
                <a:gdLst>
                  <a:gd name="connsiteX0" fmla="*/ 0 w 482702"/>
                  <a:gd name="connsiteY0" fmla="*/ 199606 h 482541"/>
                  <a:gd name="connsiteX1" fmla="*/ 0 w 482702"/>
                  <a:gd name="connsiteY1" fmla="*/ 207877 h 482541"/>
                  <a:gd name="connsiteX2" fmla="*/ 274757 w 482702"/>
                  <a:gd name="connsiteY2" fmla="*/ 482541 h 482541"/>
                  <a:gd name="connsiteX3" fmla="*/ 283030 w 482702"/>
                  <a:gd name="connsiteY3" fmla="*/ 482541 h 482541"/>
                  <a:gd name="connsiteX4" fmla="*/ 0 w 482702"/>
                  <a:gd name="connsiteY4" fmla="*/ 199606 h 482541"/>
                  <a:gd name="connsiteX5" fmla="*/ 0 w 482702"/>
                  <a:gd name="connsiteY5" fmla="*/ 0 h 482541"/>
                  <a:gd name="connsiteX6" fmla="*/ 0 w 482702"/>
                  <a:gd name="connsiteY6" fmla="*/ 8271 h 482541"/>
                  <a:gd name="connsiteX7" fmla="*/ 474429 w 482702"/>
                  <a:gd name="connsiteY7" fmla="*/ 482541 h 482541"/>
                  <a:gd name="connsiteX8" fmla="*/ 482703 w 482702"/>
                  <a:gd name="connsiteY8" fmla="*/ 482541 h 482541"/>
                  <a:gd name="connsiteX9" fmla="*/ 0 w 482702"/>
                  <a:gd name="connsiteY9" fmla="*/ 0 h 4825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82702" h="482541">
                    <a:moveTo>
                      <a:pt x="0" y="199606"/>
                    </a:moveTo>
                    <a:lnTo>
                      <a:pt x="0" y="207877"/>
                    </a:lnTo>
                    <a:cubicBezTo>
                      <a:pt x="151478" y="207877"/>
                      <a:pt x="274757" y="331114"/>
                      <a:pt x="274757" y="482541"/>
                    </a:cubicBezTo>
                    <a:lnTo>
                      <a:pt x="283030" y="482541"/>
                    </a:lnTo>
                    <a:cubicBezTo>
                      <a:pt x="282961" y="326496"/>
                      <a:pt x="156029" y="199606"/>
                      <a:pt x="0" y="199606"/>
                    </a:cubicBezTo>
                    <a:close/>
                    <a:moveTo>
                      <a:pt x="0" y="0"/>
                    </a:moveTo>
                    <a:lnTo>
                      <a:pt x="0" y="8271"/>
                    </a:lnTo>
                    <a:cubicBezTo>
                      <a:pt x="261588" y="8271"/>
                      <a:pt x="474429" y="221041"/>
                      <a:pt x="474429" y="482541"/>
                    </a:cubicBezTo>
                    <a:lnTo>
                      <a:pt x="482703" y="482541"/>
                    </a:lnTo>
                    <a:cubicBezTo>
                      <a:pt x="482634" y="216423"/>
                      <a:pt x="266138" y="0"/>
                      <a:pt x="0" y="0"/>
                    </a:cubicBez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  <p:sp>
          <p:nvSpPr>
            <p:cNvPr id="60" name="Freeform 59">
              <a:extLst>
                <a:ext uri="{FF2B5EF4-FFF2-40B4-BE49-F238E27FC236}">
                  <a16:creationId xmlns:a16="http://schemas.microsoft.com/office/drawing/2014/main" id="{1BB19E91-E61A-9B41-8F95-BBB6CA73E4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192041" y="480197"/>
              <a:ext cx="384038" cy="366265"/>
            </a:xfrm>
            <a:custGeom>
              <a:avLst/>
              <a:gdLst>
                <a:gd name="connsiteX0" fmla="*/ 359494 w 384038"/>
                <a:gd name="connsiteY0" fmla="*/ 247302 h 366265"/>
                <a:gd name="connsiteX1" fmla="*/ 351978 w 384038"/>
                <a:gd name="connsiteY1" fmla="*/ 249852 h 366265"/>
                <a:gd name="connsiteX2" fmla="*/ 351633 w 384038"/>
                <a:gd name="connsiteY2" fmla="*/ 249990 h 366265"/>
                <a:gd name="connsiteX3" fmla="*/ 351771 w 384038"/>
                <a:gd name="connsiteY3" fmla="*/ 250334 h 366265"/>
                <a:gd name="connsiteX4" fmla="*/ 366526 w 384038"/>
                <a:gd name="connsiteY4" fmla="*/ 298581 h 366265"/>
                <a:gd name="connsiteX5" fmla="*/ 370525 w 384038"/>
                <a:gd name="connsiteY5" fmla="*/ 298030 h 366265"/>
                <a:gd name="connsiteX6" fmla="*/ 374317 w 384038"/>
                <a:gd name="connsiteY6" fmla="*/ 297134 h 366265"/>
                <a:gd name="connsiteX7" fmla="*/ 359494 w 384038"/>
                <a:gd name="connsiteY7" fmla="*/ 247302 h 366265"/>
                <a:gd name="connsiteX8" fmla="*/ 73360 w 384038"/>
                <a:gd name="connsiteY8" fmla="*/ 6961 h 366265"/>
                <a:gd name="connsiteX9" fmla="*/ 71844 w 384038"/>
                <a:gd name="connsiteY9" fmla="*/ 15095 h 366265"/>
                <a:gd name="connsiteX10" fmla="*/ 72188 w 384038"/>
                <a:gd name="connsiteY10" fmla="*/ 15163 h 366265"/>
                <a:gd name="connsiteX11" fmla="*/ 120934 w 384038"/>
                <a:gd name="connsiteY11" fmla="*/ 28121 h 366265"/>
                <a:gd name="connsiteX12" fmla="*/ 121279 w 384038"/>
                <a:gd name="connsiteY12" fmla="*/ 28259 h 366265"/>
                <a:gd name="connsiteX13" fmla="*/ 123830 w 384038"/>
                <a:gd name="connsiteY13" fmla="*/ 20746 h 366265"/>
                <a:gd name="connsiteX14" fmla="*/ 73705 w 384038"/>
                <a:gd name="connsiteY14" fmla="*/ 7099 h 366265"/>
                <a:gd name="connsiteX15" fmla="*/ 73360 w 384038"/>
                <a:gd name="connsiteY15" fmla="*/ 6961 h 366265"/>
                <a:gd name="connsiteX16" fmla="*/ 379626 w 384038"/>
                <a:gd name="connsiteY16" fmla="*/ 322498 h 366265"/>
                <a:gd name="connsiteX17" fmla="*/ 374869 w 384038"/>
                <a:gd name="connsiteY17" fmla="*/ 322912 h 366265"/>
                <a:gd name="connsiteX18" fmla="*/ 371421 w 384038"/>
                <a:gd name="connsiteY18" fmla="*/ 323463 h 366265"/>
                <a:gd name="connsiteX19" fmla="*/ 371490 w 384038"/>
                <a:gd name="connsiteY19" fmla="*/ 323808 h 366265"/>
                <a:gd name="connsiteX20" fmla="*/ 375972 w 384038"/>
                <a:gd name="connsiteY20" fmla="*/ 366265 h 366265"/>
                <a:gd name="connsiteX21" fmla="*/ 384039 w 384038"/>
                <a:gd name="connsiteY21" fmla="*/ 366265 h 366265"/>
                <a:gd name="connsiteX22" fmla="*/ 379626 w 384038"/>
                <a:gd name="connsiteY22" fmla="*/ 322498 h 366265"/>
                <a:gd name="connsiteX23" fmla="*/ 69 w 384038"/>
                <a:gd name="connsiteY23" fmla="*/ 7995 h 366265"/>
                <a:gd name="connsiteX24" fmla="*/ 46678 w 384038"/>
                <a:gd name="connsiteY24" fmla="*/ 11166 h 366265"/>
                <a:gd name="connsiteX25" fmla="*/ 47367 w 384038"/>
                <a:gd name="connsiteY25" fmla="*/ 8202 h 366265"/>
                <a:gd name="connsiteX26" fmla="*/ 47988 w 384038"/>
                <a:gd name="connsiteY26" fmla="*/ 3308 h 366265"/>
                <a:gd name="connsiteX27" fmla="*/ 0 w 384038"/>
                <a:gd name="connsiteY27" fmla="*/ 0 h 366265"/>
                <a:gd name="connsiteX28" fmla="*/ 0 w 384038"/>
                <a:gd name="connsiteY28" fmla="*/ 7995 h 366265"/>
                <a:gd name="connsiteX29" fmla="*/ 148238 w 384038"/>
                <a:gd name="connsiteY29" fmla="*/ 29500 h 366265"/>
                <a:gd name="connsiteX30" fmla="*/ 146031 w 384038"/>
                <a:gd name="connsiteY30" fmla="*/ 33911 h 366265"/>
                <a:gd name="connsiteX31" fmla="*/ 144790 w 384038"/>
                <a:gd name="connsiteY31" fmla="*/ 37013 h 366265"/>
                <a:gd name="connsiteX32" fmla="*/ 147893 w 384038"/>
                <a:gd name="connsiteY32" fmla="*/ 38391 h 366265"/>
                <a:gd name="connsiteX33" fmla="*/ 190227 w 384038"/>
                <a:gd name="connsiteY33" fmla="*/ 59827 h 366265"/>
                <a:gd name="connsiteX34" fmla="*/ 194570 w 384038"/>
                <a:gd name="connsiteY34" fmla="*/ 53210 h 366265"/>
                <a:gd name="connsiteX35" fmla="*/ 150444 w 384038"/>
                <a:gd name="connsiteY35" fmla="*/ 30534 h 366265"/>
                <a:gd name="connsiteX36" fmla="*/ 148238 w 384038"/>
                <a:gd name="connsiteY36" fmla="*/ 29500 h 366265"/>
                <a:gd name="connsiteX37" fmla="*/ 276342 w 384038"/>
                <a:gd name="connsiteY37" fmla="*/ 116689 h 366265"/>
                <a:gd name="connsiteX38" fmla="*/ 273240 w 384038"/>
                <a:gd name="connsiteY38" fmla="*/ 119240 h 366265"/>
                <a:gd name="connsiteX39" fmla="*/ 270206 w 384038"/>
                <a:gd name="connsiteY39" fmla="*/ 122203 h 366265"/>
                <a:gd name="connsiteX40" fmla="*/ 276618 w 384038"/>
                <a:gd name="connsiteY40" fmla="*/ 129372 h 366265"/>
                <a:gd name="connsiteX41" fmla="*/ 302818 w 384038"/>
                <a:gd name="connsiteY41" fmla="*/ 161146 h 366265"/>
                <a:gd name="connsiteX42" fmla="*/ 308058 w 384038"/>
                <a:gd name="connsiteY42" fmla="*/ 157768 h 366265"/>
                <a:gd name="connsiteX43" fmla="*/ 309437 w 384038"/>
                <a:gd name="connsiteY43" fmla="*/ 156804 h 366265"/>
                <a:gd name="connsiteX44" fmla="*/ 282341 w 384038"/>
                <a:gd name="connsiteY44" fmla="*/ 123444 h 366265"/>
                <a:gd name="connsiteX45" fmla="*/ 276342 w 384038"/>
                <a:gd name="connsiteY45" fmla="*/ 116689 h 366265"/>
                <a:gd name="connsiteX46" fmla="*/ 320676 w 384038"/>
                <a:gd name="connsiteY46" fmla="*/ 179893 h 366265"/>
                <a:gd name="connsiteX47" fmla="*/ 317366 w 384038"/>
                <a:gd name="connsiteY47" fmla="*/ 181961 h 366265"/>
                <a:gd name="connsiteX48" fmla="*/ 317573 w 384038"/>
                <a:gd name="connsiteY48" fmla="*/ 182237 h 366265"/>
                <a:gd name="connsiteX49" fmla="*/ 341705 w 384038"/>
                <a:gd name="connsiteY49" fmla="*/ 226555 h 366265"/>
                <a:gd name="connsiteX50" fmla="*/ 347635 w 384038"/>
                <a:gd name="connsiteY50" fmla="*/ 224212 h 366265"/>
                <a:gd name="connsiteX51" fmla="*/ 349013 w 384038"/>
                <a:gd name="connsiteY51" fmla="*/ 223592 h 366265"/>
                <a:gd name="connsiteX52" fmla="*/ 324537 w 384038"/>
                <a:gd name="connsiteY52" fmla="*/ 177757 h 366265"/>
                <a:gd name="connsiteX53" fmla="*/ 320676 w 384038"/>
                <a:gd name="connsiteY53" fmla="*/ 179893 h 366265"/>
                <a:gd name="connsiteX54" fmla="*/ 216772 w 384038"/>
                <a:gd name="connsiteY54" fmla="*/ 66512 h 366265"/>
                <a:gd name="connsiteX55" fmla="*/ 212014 w 384038"/>
                <a:gd name="connsiteY55" fmla="*/ 72853 h 366265"/>
                <a:gd name="connsiteX56" fmla="*/ 211807 w 384038"/>
                <a:gd name="connsiteY56" fmla="*/ 73129 h 366265"/>
                <a:gd name="connsiteX57" fmla="*/ 222081 w 384038"/>
                <a:gd name="connsiteY57" fmla="*/ 80711 h 366265"/>
                <a:gd name="connsiteX58" fmla="*/ 251590 w 384038"/>
                <a:gd name="connsiteY58" fmla="*/ 104697 h 366265"/>
                <a:gd name="connsiteX59" fmla="*/ 257175 w 384038"/>
                <a:gd name="connsiteY59" fmla="*/ 99045 h 366265"/>
                <a:gd name="connsiteX60" fmla="*/ 226631 w 384038"/>
                <a:gd name="connsiteY60" fmla="*/ 73818 h 366265"/>
                <a:gd name="connsiteX61" fmla="*/ 216772 w 384038"/>
                <a:gd name="connsiteY61" fmla="*/ 66512 h 366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384038" h="366265">
                  <a:moveTo>
                    <a:pt x="359494" y="247302"/>
                  </a:moveTo>
                  <a:cubicBezTo>
                    <a:pt x="359080" y="247095"/>
                    <a:pt x="351978" y="249852"/>
                    <a:pt x="351978" y="249852"/>
                  </a:cubicBezTo>
                  <a:lnTo>
                    <a:pt x="351633" y="249990"/>
                  </a:lnTo>
                  <a:lnTo>
                    <a:pt x="351771" y="250334"/>
                  </a:lnTo>
                  <a:cubicBezTo>
                    <a:pt x="358252" y="267014"/>
                    <a:pt x="363010" y="282729"/>
                    <a:pt x="366526" y="298581"/>
                  </a:cubicBezTo>
                  <a:cubicBezTo>
                    <a:pt x="366940" y="298857"/>
                    <a:pt x="370525" y="298030"/>
                    <a:pt x="370525" y="298030"/>
                  </a:cubicBezTo>
                  <a:lnTo>
                    <a:pt x="374317" y="297134"/>
                  </a:lnTo>
                  <a:cubicBezTo>
                    <a:pt x="371008" y="280523"/>
                    <a:pt x="366112" y="264326"/>
                    <a:pt x="359494" y="247302"/>
                  </a:cubicBezTo>
                  <a:close/>
                  <a:moveTo>
                    <a:pt x="73360" y="6961"/>
                  </a:moveTo>
                  <a:lnTo>
                    <a:pt x="71844" y="15095"/>
                  </a:lnTo>
                  <a:lnTo>
                    <a:pt x="72188" y="15163"/>
                  </a:lnTo>
                  <a:cubicBezTo>
                    <a:pt x="89287" y="18541"/>
                    <a:pt x="105697" y="22883"/>
                    <a:pt x="120934" y="28121"/>
                  </a:cubicBezTo>
                  <a:lnTo>
                    <a:pt x="121279" y="28259"/>
                  </a:lnTo>
                  <a:lnTo>
                    <a:pt x="123830" y="20746"/>
                  </a:lnTo>
                  <a:cubicBezTo>
                    <a:pt x="108041" y="15026"/>
                    <a:pt x="91287" y="10545"/>
                    <a:pt x="73705" y="7099"/>
                  </a:cubicBezTo>
                  <a:lnTo>
                    <a:pt x="73360" y="6961"/>
                  </a:lnTo>
                  <a:close/>
                  <a:moveTo>
                    <a:pt x="379626" y="322498"/>
                  </a:moveTo>
                  <a:cubicBezTo>
                    <a:pt x="379212" y="322223"/>
                    <a:pt x="374869" y="322912"/>
                    <a:pt x="374869" y="322912"/>
                  </a:cubicBezTo>
                  <a:lnTo>
                    <a:pt x="371421" y="323463"/>
                  </a:lnTo>
                  <a:lnTo>
                    <a:pt x="371490" y="323808"/>
                  </a:lnTo>
                  <a:cubicBezTo>
                    <a:pt x="373904" y="337524"/>
                    <a:pt x="375351" y="351791"/>
                    <a:pt x="375972" y="366265"/>
                  </a:cubicBezTo>
                  <a:lnTo>
                    <a:pt x="384039" y="366265"/>
                  </a:lnTo>
                  <a:cubicBezTo>
                    <a:pt x="383625" y="351240"/>
                    <a:pt x="382177" y="336559"/>
                    <a:pt x="379626" y="322498"/>
                  </a:cubicBezTo>
                  <a:close/>
                  <a:moveTo>
                    <a:pt x="69" y="7995"/>
                  </a:moveTo>
                  <a:cubicBezTo>
                    <a:pt x="15100" y="8340"/>
                    <a:pt x="30613" y="9236"/>
                    <a:pt x="46678" y="11166"/>
                  </a:cubicBezTo>
                  <a:cubicBezTo>
                    <a:pt x="47091" y="10890"/>
                    <a:pt x="47367" y="8202"/>
                    <a:pt x="47367" y="8202"/>
                  </a:cubicBezTo>
                  <a:lnTo>
                    <a:pt x="47988" y="3308"/>
                  </a:lnTo>
                  <a:cubicBezTo>
                    <a:pt x="31164" y="1034"/>
                    <a:pt x="15169" y="69"/>
                    <a:pt x="0" y="0"/>
                  </a:cubicBezTo>
                  <a:lnTo>
                    <a:pt x="0" y="7995"/>
                  </a:lnTo>
                  <a:close/>
                  <a:moveTo>
                    <a:pt x="148238" y="29500"/>
                  </a:moveTo>
                  <a:cubicBezTo>
                    <a:pt x="147755" y="29707"/>
                    <a:pt x="146031" y="33911"/>
                    <a:pt x="146031" y="33911"/>
                  </a:cubicBezTo>
                  <a:lnTo>
                    <a:pt x="144790" y="37013"/>
                  </a:lnTo>
                  <a:lnTo>
                    <a:pt x="147893" y="38391"/>
                  </a:lnTo>
                  <a:cubicBezTo>
                    <a:pt x="160510" y="44043"/>
                    <a:pt x="176230" y="51142"/>
                    <a:pt x="190227" y="59827"/>
                  </a:cubicBezTo>
                  <a:cubicBezTo>
                    <a:pt x="190709" y="59689"/>
                    <a:pt x="194570" y="53210"/>
                    <a:pt x="194570" y="53210"/>
                  </a:cubicBezTo>
                  <a:cubicBezTo>
                    <a:pt x="180023" y="43767"/>
                    <a:pt x="163613" y="36392"/>
                    <a:pt x="150444" y="30534"/>
                  </a:cubicBezTo>
                  <a:lnTo>
                    <a:pt x="148238" y="29500"/>
                  </a:lnTo>
                  <a:close/>
                  <a:moveTo>
                    <a:pt x="276342" y="116689"/>
                  </a:moveTo>
                  <a:cubicBezTo>
                    <a:pt x="275860" y="116689"/>
                    <a:pt x="273240" y="119240"/>
                    <a:pt x="273240" y="119240"/>
                  </a:cubicBezTo>
                  <a:lnTo>
                    <a:pt x="270206" y="122203"/>
                  </a:lnTo>
                  <a:lnTo>
                    <a:pt x="276618" y="129372"/>
                  </a:lnTo>
                  <a:cubicBezTo>
                    <a:pt x="286478" y="140262"/>
                    <a:pt x="295303" y="150187"/>
                    <a:pt x="302818" y="161146"/>
                  </a:cubicBezTo>
                  <a:cubicBezTo>
                    <a:pt x="303301" y="161215"/>
                    <a:pt x="308058" y="157768"/>
                    <a:pt x="308058" y="157768"/>
                  </a:cubicBezTo>
                  <a:lnTo>
                    <a:pt x="309437" y="156804"/>
                  </a:lnTo>
                  <a:cubicBezTo>
                    <a:pt x="301095" y="144190"/>
                    <a:pt x="290753" y="132680"/>
                    <a:pt x="282341" y="123444"/>
                  </a:cubicBezTo>
                  <a:lnTo>
                    <a:pt x="276342" y="116689"/>
                  </a:lnTo>
                  <a:close/>
                  <a:moveTo>
                    <a:pt x="320676" y="179893"/>
                  </a:moveTo>
                  <a:lnTo>
                    <a:pt x="317366" y="181961"/>
                  </a:lnTo>
                  <a:lnTo>
                    <a:pt x="317573" y="182237"/>
                  </a:lnTo>
                  <a:cubicBezTo>
                    <a:pt x="325985" y="195884"/>
                    <a:pt x="334741" y="210703"/>
                    <a:pt x="341705" y="226555"/>
                  </a:cubicBezTo>
                  <a:cubicBezTo>
                    <a:pt x="342188" y="226693"/>
                    <a:pt x="347635" y="224212"/>
                    <a:pt x="347635" y="224212"/>
                  </a:cubicBezTo>
                  <a:lnTo>
                    <a:pt x="349013" y="223592"/>
                  </a:lnTo>
                  <a:cubicBezTo>
                    <a:pt x="342050" y="206843"/>
                    <a:pt x="333155" y="191748"/>
                    <a:pt x="324537" y="177757"/>
                  </a:cubicBezTo>
                  <a:cubicBezTo>
                    <a:pt x="324054" y="177688"/>
                    <a:pt x="320676" y="179893"/>
                    <a:pt x="320676" y="179893"/>
                  </a:cubicBezTo>
                  <a:close/>
                  <a:moveTo>
                    <a:pt x="216772" y="66512"/>
                  </a:moveTo>
                  <a:cubicBezTo>
                    <a:pt x="216289" y="66581"/>
                    <a:pt x="212014" y="72853"/>
                    <a:pt x="212014" y="72853"/>
                  </a:cubicBezTo>
                  <a:lnTo>
                    <a:pt x="211807" y="73129"/>
                  </a:lnTo>
                  <a:lnTo>
                    <a:pt x="222081" y="80711"/>
                  </a:lnTo>
                  <a:cubicBezTo>
                    <a:pt x="233043" y="88706"/>
                    <a:pt x="242765" y="96081"/>
                    <a:pt x="251590" y="104697"/>
                  </a:cubicBezTo>
                  <a:cubicBezTo>
                    <a:pt x="252073" y="104697"/>
                    <a:pt x="257175" y="99045"/>
                    <a:pt x="257175" y="99045"/>
                  </a:cubicBezTo>
                  <a:cubicBezTo>
                    <a:pt x="248074" y="89740"/>
                    <a:pt x="238007" y="82089"/>
                    <a:pt x="226631" y="73818"/>
                  </a:cubicBezTo>
                  <a:lnTo>
                    <a:pt x="216772" y="66512"/>
                  </a:lnTo>
                  <a:close/>
                </a:path>
              </a:pathLst>
            </a:custGeom>
            <a:solidFill>
              <a:srgbClr val="E4E4E4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</p:grpSp>
      <p:grpSp>
        <p:nvGrpSpPr>
          <p:cNvPr id="90" name="Group 89">
            <a:extLst>
              <a:ext uri="{FF2B5EF4-FFF2-40B4-BE49-F238E27FC236}">
                <a16:creationId xmlns:a16="http://schemas.microsoft.com/office/drawing/2014/main" id="{CBE21954-83B5-B642-B1C2-1393E4F5ADFF}"/>
              </a:ext>
            </a:extLst>
          </p:cNvPr>
          <p:cNvGrpSpPr/>
          <p:nvPr/>
        </p:nvGrpSpPr>
        <p:grpSpPr>
          <a:xfrm>
            <a:off x="2368456" y="1914641"/>
            <a:ext cx="1855331" cy="929163"/>
            <a:chOff x="3251818" y="1389545"/>
            <a:chExt cx="2062588" cy="1032959"/>
          </a:xfrm>
        </p:grpSpPr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1426A17A-5658-4E4D-9A97-A79257A0F765}"/>
                </a:ext>
              </a:extLst>
            </p:cNvPr>
            <p:cNvGrpSpPr>
              <a:grpSpLocks noChangeAspect="1"/>
            </p:cNvGrpSpPr>
            <p:nvPr/>
          </p:nvGrpSpPr>
          <p:grpSpPr>
            <a:xfrm rot="16200000">
              <a:off x="3251644" y="1389719"/>
              <a:ext cx="1032959" cy="1032611"/>
              <a:chOff x="2877933" y="261637"/>
              <a:chExt cx="495803" cy="495636"/>
            </a:xfrm>
          </p:grpSpPr>
          <p:grpSp>
            <p:nvGrpSpPr>
              <p:cNvPr id="69" name="Graphic 4">
                <a:extLst>
                  <a:ext uri="{FF2B5EF4-FFF2-40B4-BE49-F238E27FC236}">
                    <a16:creationId xmlns:a16="http://schemas.microsoft.com/office/drawing/2014/main" id="{E7372187-6A33-8F4B-8D55-3CCC8377FFF9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2878002" y="261637"/>
                <a:ext cx="495734" cy="495636"/>
                <a:chOff x="2878002" y="261637"/>
                <a:chExt cx="495734" cy="495636"/>
              </a:xfrm>
            </p:grpSpPr>
            <p:sp>
              <p:nvSpPr>
                <p:cNvPr id="71" name="Freeform 70">
                  <a:extLst>
                    <a:ext uri="{FF2B5EF4-FFF2-40B4-BE49-F238E27FC236}">
                      <a16:creationId xmlns:a16="http://schemas.microsoft.com/office/drawing/2014/main" id="{483DD9F9-5DCE-0D45-A0B8-8F776F56E7A7}"/>
                    </a:ext>
                  </a:extLst>
                </p:cNvPr>
                <p:cNvSpPr/>
                <p:nvPr/>
              </p:nvSpPr>
              <p:spPr>
                <a:xfrm>
                  <a:off x="2878002" y="261637"/>
                  <a:ext cx="495734" cy="495568"/>
                </a:xfrm>
                <a:custGeom>
                  <a:avLst/>
                  <a:gdLst>
                    <a:gd name="connsiteX0" fmla="*/ 0 w 495734"/>
                    <a:gd name="connsiteY0" fmla="*/ 0 h 495568"/>
                    <a:gd name="connsiteX1" fmla="*/ 0 w 495734"/>
                    <a:gd name="connsiteY1" fmla="*/ 233999 h 495568"/>
                    <a:gd name="connsiteX2" fmla="*/ 261657 w 495734"/>
                    <a:gd name="connsiteY2" fmla="*/ 495568 h 495568"/>
                    <a:gd name="connsiteX3" fmla="*/ 495734 w 495734"/>
                    <a:gd name="connsiteY3" fmla="*/ 495568 h 495568"/>
                    <a:gd name="connsiteX4" fmla="*/ 0 w 495734"/>
                    <a:gd name="connsiteY4" fmla="*/ 0 h 4955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95734" h="495568">
                      <a:moveTo>
                        <a:pt x="0" y="0"/>
                      </a:moveTo>
                      <a:lnTo>
                        <a:pt x="0" y="233999"/>
                      </a:lnTo>
                      <a:cubicBezTo>
                        <a:pt x="144239" y="233999"/>
                        <a:pt x="261657" y="351309"/>
                        <a:pt x="261657" y="495568"/>
                      </a:cubicBezTo>
                      <a:lnTo>
                        <a:pt x="495734" y="495568"/>
                      </a:lnTo>
                      <a:cubicBezTo>
                        <a:pt x="495734" y="222351"/>
                        <a:pt x="273309" y="0"/>
                        <a:pt x="0" y="0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 w="68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 dirty="0"/>
                </a:p>
              </p:txBody>
            </p:sp>
            <p:sp>
              <p:nvSpPr>
                <p:cNvPr id="72" name="Freeform 71">
                  <a:extLst>
                    <a:ext uri="{FF2B5EF4-FFF2-40B4-BE49-F238E27FC236}">
                      <a16:creationId xmlns:a16="http://schemas.microsoft.com/office/drawing/2014/main" id="{4FAE7C4D-62B8-9A4B-8D38-97FA32141303}"/>
                    </a:ext>
                  </a:extLst>
                </p:cNvPr>
                <p:cNvSpPr/>
                <p:nvPr/>
              </p:nvSpPr>
              <p:spPr>
                <a:xfrm>
                  <a:off x="2878002" y="274733"/>
                  <a:ext cx="482703" cy="482541"/>
                </a:xfrm>
                <a:custGeom>
                  <a:avLst/>
                  <a:gdLst>
                    <a:gd name="connsiteX0" fmla="*/ 0 w 482703"/>
                    <a:gd name="connsiteY0" fmla="*/ 199606 h 482541"/>
                    <a:gd name="connsiteX1" fmla="*/ 0 w 482703"/>
                    <a:gd name="connsiteY1" fmla="*/ 207877 h 482541"/>
                    <a:gd name="connsiteX2" fmla="*/ 274757 w 482703"/>
                    <a:gd name="connsiteY2" fmla="*/ 482541 h 482541"/>
                    <a:gd name="connsiteX3" fmla="*/ 283031 w 482703"/>
                    <a:gd name="connsiteY3" fmla="*/ 482541 h 482541"/>
                    <a:gd name="connsiteX4" fmla="*/ 0 w 482703"/>
                    <a:gd name="connsiteY4" fmla="*/ 199606 h 482541"/>
                    <a:gd name="connsiteX5" fmla="*/ 0 w 482703"/>
                    <a:gd name="connsiteY5" fmla="*/ 0 h 482541"/>
                    <a:gd name="connsiteX6" fmla="*/ 0 w 482703"/>
                    <a:gd name="connsiteY6" fmla="*/ 8271 h 482541"/>
                    <a:gd name="connsiteX7" fmla="*/ 474429 w 482703"/>
                    <a:gd name="connsiteY7" fmla="*/ 482541 h 482541"/>
                    <a:gd name="connsiteX8" fmla="*/ 482703 w 482703"/>
                    <a:gd name="connsiteY8" fmla="*/ 482541 h 482541"/>
                    <a:gd name="connsiteX9" fmla="*/ 0 w 482703"/>
                    <a:gd name="connsiteY9" fmla="*/ 0 h 4825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482703" h="482541">
                      <a:moveTo>
                        <a:pt x="0" y="199606"/>
                      </a:moveTo>
                      <a:lnTo>
                        <a:pt x="0" y="207877"/>
                      </a:lnTo>
                      <a:cubicBezTo>
                        <a:pt x="151478" y="207877"/>
                        <a:pt x="274757" y="331114"/>
                        <a:pt x="274757" y="482541"/>
                      </a:cubicBezTo>
                      <a:lnTo>
                        <a:pt x="283031" y="482541"/>
                      </a:lnTo>
                      <a:cubicBezTo>
                        <a:pt x="282962" y="326496"/>
                        <a:pt x="156029" y="199606"/>
                        <a:pt x="0" y="199606"/>
                      </a:cubicBezTo>
                      <a:close/>
                      <a:moveTo>
                        <a:pt x="0" y="0"/>
                      </a:moveTo>
                      <a:lnTo>
                        <a:pt x="0" y="8271"/>
                      </a:lnTo>
                      <a:cubicBezTo>
                        <a:pt x="261588" y="8271"/>
                        <a:pt x="474429" y="221041"/>
                        <a:pt x="474429" y="482541"/>
                      </a:cubicBezTo>
                      <a:lnTo>
                        <a:pt x="482703" y="482541"/>
                      </a:lnTo>
                      <a:cubicBezTo>
                        <a:pt x="482634" y="216492"/>
                        <a:pt x="266138" y="0"/>
                        <a:pt x="0" y="0"/>
                      </a:cubicBezTo>
                      <a:close/>
                    </a:path>
                  </a:pathLst>
                </a:custGeom>
                <a:solidFill>
                  <a:srgbClr val="E4E4E4"/>
                </a:solidFill>
                <a:ln w="68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 dirty="0"/>
                </a:p>
              </p:txBody>
            </p:sp>
          </p:grpSp>
          <p:sp>
            <p:nvSpPr>
              <p:cNvPr id="70" name="Freeform 69">
                <a:extLst>
                  <a:ext uri="{FF2B5EF4-FFF2-40B4-BE49-F238E27FC236}">
                    <a16:creationId xmlns:a16="http://schemas.microsoft.com/office/drawing/2014/main" id="{D117A003-7713-CC47-AD44-9630ACA9C83D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877933" y="373295"/>
                <a:ext cx="384038" cy="366334"/>
              </a:xfrm>
              <a:custGeom>
                <a:avLst/>
                <a:gdLst>
                  <a:gd name="connsiteX0" fmla="*/ 359493 w 384038"/>
                  <a:gd name="connsiteY0" fmla="*/ 247371 h 366334"/>
                  <a:gd name="connsiteX1" fmla="*/ 351978 w 384038"/>
                  <a:gd name="connsiteY1" fmla="*/ 249921 h 366334"/>
                  <a:gd name="connsiteX2" fmla="*/ 351633 w 384038"/>
                  <a:gd name="connsiteY2" fmla="*/ 250059 h 366334"/>
                  <a:gd name="connsiteX3" fmla="*/ 351771 w 384038"/>
                  <a:gd name="connsiteY3" fmla="*/ 250403 h 366334"/>
                  <a:gd name="connsiteX4" fmla="*/ 366526 w 384038"/>
                  <a:gd name="connsiteY4" fmla="*/ 298650 h 366334"/>
                  <a:gd name="connsiteX5" fmla="*/ 370525 w 384038"/>
                  <a:gd name="connsiteY5" fmla="*/ 298099 h 366334"/>
                  <a:gd name="connsiteX6" fmla="*/ 374317 w 384038"/>
                  <a:gd name="connsiteY6" fmla="*/ 297203 h 366334"/>
                  <a:gd name="connsiteX7" fmla="*/ 359493 w 384038"/>
                  <a:gd name="connsiteY7" fmla="*/ 247371 h 366334"/>
                  <a:gd name="connsiteX8" fmla="*/ 73360 w 384038"/>
                  <a:gd name="connsiteY8" fmla="*/ 7030 h 366334"/>
                  <a:gd name="connsiteX9" fmla="*/ 71843 w 384038"/>
                  <a:gd name="connsiteY9" fmla="*/ 15163 h 366334"/>
                  <a:gd name="connsiteX10" fmla="*/ 72188 w 384038"/>
                  <a:gd name="connsiteY10" fmla="*/ 15232 h 366334"/>
                  <a:gd name="connsiteX11" fmla="*/ 120934 w 384038"/>
                  <a:gd name="connsiteY11" fmla="*/ 28190 h 366334"/>
                  <a:gd name="connsiteX12" fmla="*/ 121279 w 384038"/>
                  <a:gd name="connsiteY12" fmla="*/ 28328 h 366334"/>
                  <a:gd name="connsiteX13" fmla="*/ 123830 w 384038"/>
                  <a:gd name="connsiteY13" fmla="*/ 20815 h 366334"/>
                  <a:gd name="connsiteX14" fmla="*/ 73705 w 384038"/>
                  <a:gd name="connsiteY14" fmla="*/ 7168 h 366334"/>
                  <a:gd name="connsiteX15" fmla="*/ 73360 w 384038"/>
                  <a:gd name="connsiteY15" fmla="*/ 7030 h 366334"/>
                  <a:gd name="connsiteX16" fmla="*/ 379626 w 384038"/>
                  <a:gd name="connsiteY16" fmla="*/ 322567 h 366334"/>
                  <a:gd name="connsiteX17" fmla="*/ 374869 w 384038"/>
                  <a:gd name="connsiteY17" fmla="*/ 322981 h 366334"/>
                  <a:gd name="connsiteX18" fmla="*/ 371421 w 384038"/>
                  <a:gd name="connsiteY18" fmla="*/ 323532 h 366334"/>
                  <a:gd name="connsiteX19" fmla="*/ 371490 w 384038"/>
                  <a:gd name="connsiteY19" fmla="*/ 323877 h 366334"/>
                  <a:gd name="connsiteX20" fmla="*/ 375972 w 384038"/>
                  <a:gd name="connsiteY20" fmla="*/ 366334 h 366334"/>
                  <a:gd name="connsiteX21" fmla="*/ 384039 w 384038"/>
                  <a:gd name="connsiteY21" fmla="*/ 366334 h 366334"/>
                  <a:gd name="connsiteX22" fmla="*/ 379626 w 384038"/>
                  <a:gd name="connsiteY22" fmla="*/ 322567 h 366334"/>
                  <a:gd name="connsiteX23" fmla="*/ 69 w 384038"/>
                  <a:gd name="connsiteY23" fmla="*/ 8064 h 366334"/>
                  <a:gd name="connsiteX24" fmla="*/ 46678 w 384038"/>
                  <a:gd name="connsiteY24" fmla="*/ 11166 h 366334"/>
                  <a:gd name="connsiteX25" fmla="*/ 47367 w 384038"/>
                  <a:gd name="connsiteY25" fmla="*/ 8202 h 366334"/>
                  <a:gd name="connsiteX26" fmla="*/ 47988 w 384038"/>
                  <a:gd name="connsiteY26" fmla="*/ 3308 h 366334"/>
                  <a:gd name="connsiteX27" fmla="*/ 0 w 384038"/>
                  <a:gd name="connsiteY27" fmla="*/ 0 h 366334"/>
                  <a:gd name="connsiteX28" fmla="*/ 0 w 384038"/>
                  <a:gd name="connsiteY28" fmla="*/ 8064 h 366334"/>
                  <a:gd name="connsiteX29" fmla="*/ 148238 w 384038"/>
                  <a:gd name="connsiteY29" fmla="*/ 29569 h 366334"/>
                  <a:gd name="connsiteX30" fmla="*/ 146031 w 384038"/>
                  <a:gd name="connsiteY30" fmla="*/ 33980 h 366334"/>
                  <a:gd name="connsiteX31" fmla="*/ 144790 w 384038"/>
                  <a:gd name="connsiteY31" fmla="*/ 37081 h 366334"/>
                  <a:gd name="connsiteX32" fmla="*/ 147893 w 384038"/>
                  <a:gd name="connsiteY32" fmla="*/ 38460 h 366334"/>
                  <a:gd name="connsiteX33" fmla="*/ 190227 w 384038"/>
                  <a:gd name="connsiteY33" fmla="*/ 59895 h 366334"/>
                  <a:gd name="connsiteX34" fmla="*/ 194570 w 384038"/>
                  <a:gd name="connsiteY34" fmla="*/ 53279 h 366334"/>
                  <a:gd name="connsiteX35" fmla="*/ 150444 w 384038"/>
                  <a:gd name="connsiteY35" fmla="*/ 30603 h 366334"/>
                  <a:gd name="connsiteX36" fmla="*/ 148238 w 384038"/>
                  <a:gd name="connsiteY36" fmla="*/ 29569 h 366334"/>
                  <a:gd name="connsiteX37" fmla="*/ 276342 w 384038"/>
                  <a:gd name="connsiteY37" fmla="*/ 116758 h 366334"/>
                  <a:gd name="connsiteX38" fmla="*/ 273240 w 384038"/>
                  <a:gd name="connsiteY38" fmla="*/ 119309 h 366334"/>
                  <a:gd name="connsiteX39" fmla="*/ 270206 w 384038"/>
                  <a:gd name="connsiteY39" fmla="*/ 122272 h 366334"/>
                  <a:gd name="connsiteX40" fmla="*/ 276618 w 384038"/>
                  <a:gd name="connsiteY40" fmla="*/ 129440 h 366334"/>
                  <a:gd name="connsiteX41" fmla="*/ 302818 w 384038"/>
                  <a:gd name="connsiteY41" fmla="*/ 161215 h 366334"/>
                  <a:gd name="connsiteX42" fmla="*/ 308058 w 384038"/>
                  <a:gd name="connsiteY42" fmla="*/ 157837 h 366334"/>
                  <a:gd name="connsiteX43" fmla="*/ 309437 w 384038"/>
                  <a:gd name="connsiteY43" fmla="*/ 156872 h 366334"/>
                  <a:gd name="connsiteX44" fmla="*/ 282341 w 384038"/>
                  <a:gd name="connsiteY44" fmla="*/ 123513 h 366334"/>
                  <a:gd name="connsiteX45" fmla="*/ 276342 w 384038"/>
                  <a:gd name="connsiteY45" fmla="*/ 116758 h 366334"/>
                  <a:gd name="connsiteX46" fmla="*/ 320676 w 384038"/>
                  <a:gd name="connsiteY46" fmla="*/ 179962 h 366334"/>
                  <a:gd name="connsiteX47" fmla="*/ 317366 w 384038"/>
                  <a:gd name="connsiteY47" fmla="*/ 182030 h 366334"/>
                  <a:gd name="connsiteX48" fmla="*/ 317573 w 384038"/>
                  <a:gd name="connsiteY48" fmla="*/ 182306 h 366334"/>
                  <a:gd name="connsiteX49" fmla="*/ 341705 w 384038"/>
                  <a:gd name="connsiteY49" fmla="*/ 226624 h 366334"/>
                  <a:gd name="connsiteX50" fmla="*/ 347634 w 384038"/>
                  <a:gd name="connsiteY50" fmla="*/ 224281 h 366334"/>
                  <a:gd name="connsiteX51" fmla="*/ 349013 w 384038"/>
                  <a:gd name="connsiteY51" fmla="*/ 223660 h 366334"/>
                  <a:gd name="connsiteX52" fmla="*/ 324537 w 384038"/>
                  <a:gd name="connsiteY52" fmla="*/ 177826 h 366334"/>
                  <a:gd name="connsiteX53" fmla="*/ 320676 w 384038"/>
                  <a:gd name="connsiteY53" fmla="*/ 179962 h 366334"/>
                  <a:gd name="connsiteX54" fmla="*/ 216772 w 384038"/>
                  <a:gd name="connsiteY54" fmla="*/ 66581 h 366334"/>
                  <a:gd name="connsiteX55" fmla="*/ 212014 w 384038"/>
                  <a:gd name="connsiteY55" fmla="*/ 72922 h 366334"/>
                  <a:gd name="connsiteX56" fmla="*/ 211807 w 384038"/>
                  <a:gd name="connsiteY56" fmla="*/ 73198 h 366334"/>
                  <a:gd name="connsiteX57" fmla="*/ 222081 w 384038"/>
                  <a:gd name="connsiteY57" fmla="*/ 80780 h 366334"/>
                  <a:gd name="connsiteX58" fmla="*/ 251590 w 384038"/>
                  <a:gd name="connsiteY58" fmla="*/ 104765 h 366334"/>
                  <a:gd name="connsiteX59" fmla="*/ 257175 w 384038"/>
                  <a:gd name="connsiteY59" fmla="*/ 99114 h 366334"/>
                  <a:gd name="connsiteX60" fmla="*/ 226631 w 384038"/>
                  <a:gd name="connsiteY60" fmla="*/ 73887 h 366334"/>
                  <a:gd name="connsiteX61" fmla="*/ 216772 w 384038"/>
                  <a:gd name="connsiteY61" fmla="*/ 66581 h 3663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</a:cxnLst>
                <a:rect l="l" t="t" r="r" b="b"/>
                <a:pathLst>
                  <a:path w="384038" h="366334">
                    <a:moveTo>
                      <a:pt x="359493" y="247371"/>
                    </a:moveTo>
                    <a:cubicBezTo>
                      <a:pt x="359080" y="247164"/>
                      <a:pt x="351978" y="249921"/>
                      <a:pt x="351978" y="249921"/>
                    </a:cubicBezTo>
                    <a:lnTo>
                      <a:pt x="351633" y="250059"/>
                    </a:lnTo>
                    <a:lnTo>
                      <a:pt x="351771" y="250403"/>
                    </a:lnTo>
                    <a:cubicBezTo>
                      <a:pt x="358252" y="267083"/>
                      <a:pt x="363010" y="282798"/>
                      <a:pt x="366526" y="298650"/>
                    </a:cubicBezTo>
                    <a:cubicBezTo>
                      <a:pt x="366940" y="298926"/>
                      <a:pt x="370525" y="298099"/>
                      <a:pt x="370525" y="298099"/>
                    </a:cubicBezTo>
                    <a:lnTo>
                      <a:pt x="374317" y="297203"/>
                    </a:lnTo>
                    <a:cubicBezTo>
                      <a:pt x="371008" y="280592"/>
                      <a:pt x="366043" y="264464"/>
                      <a:pt x="359493" y="247371"/>
                    </a:cubicBezTo>
                    <a:close/>
                    <a:moveTo>
                      <a:pt x="73360" y="7030"/>
                    </a:moveTo>
                    <a:lnTo>
                      <a:pt x="71843" y="15163"/>
                    </a:lnTo>
                    <a:lnTo>
                      <a:pt x="72188" y="15232"/>
                    </a:lnTo>
                    <a:cubicBezTo>
                      <a:pt x="89287" y="18610"/>
                      <a:pt x="105697" y="22952"/>
                      <a:pt x="120934" y="28190"/>
                    </a:cubicBezTo>
                    <a:lnTo>
                      <a:pt x="121279" y="28328"/>
                    </a:lnTo>
                    <a:lnTo>
                      <a:pt x="123830" y="20815"/>
                    </a:lnTo>
                    <a:cubicBezTo>
                      <a:pt x="108041" y="15094"/>
                      <a:pt x="91287" y="10614"/>
                      <a:pt x="73705" y="7168"/>
                    </a:cubicBezTo>
                    <a:lnTo>
                      <a:pt x="73360" y="7030"/>
                    </a:lnTo>
                    <a:close/>
                    <a:moveTo>
                      <a:pt x="379626" y="322567"/>
                    </a:moveTo>
                    <a:cubicBezTo>
                      <a:pt x="379212" y="322292"/>
                      <a:pt x="374869" y="322981"/>
                      <a:pt x="374869" y="322981"/>
                    </a:cubicBezTo>
                    <a:lnTo>
                      <a:pt x="371421" y="323532"/>
                    </a:lnTo>
                    <a:lnTo>
                      <a:pt x="371490" y="323877"/>
                    </a:lnTo>
                    <a:cubicBezTo>
                      <a:pt x="373903" y="337593"/>
                      <a:pt x="375351" y="351860"/>
                      <a:pt x="375972" y="366334"/>
                    </a:cubicBezTo>
                    <a:lnTo>
                      <a:pt x="384039" y="366334"/>
                    </a:lnTo>
                    <a:cubicBezTo>
                      <a:pt x="383625" y="351309"/>
                      <a:pt x="382108" y="336628"/>
                      <a:pt x="379626" y="322567"/>
                    </a:cubicBezTo>
                    <a:close/>
                    <a:moveTo>
                      <a:pt x="69" y="8064"/>
                    </a:moveTo>
                    <a:cubicBezTo>
                      <a:pt x="15100" y="8409"/>
                      <a:pt x="30613" y="9305"/>
                      <a:pt x="46678" y="11166"/>
                    </a:cubicBezTo>
                    <a:cubicBezTo>
                      <a:pt x="47091" y="10890"/>
                      <a:pt x="47367" y="8202"/>
                      <a:pt x="47367" y="8202"/>
                    </a:cubicBezTo>
                    <a:lnTo>
                      <a:pt x="47988" y="3308"/>
                    </a:lnTo>
                    <a:cubicBezTo>
                      <a:pt x="31164" y="1034"/>
                      <a:pt x="15168" y="69"/>
                      <a:pt x="0" y="0"/>
                    </a:cubicBezTo>
                    <a:lnTo>
                      <a:pt x="0" y="8064"/>
                    </a:lnTo>
                    <a:close/>
                    <a:moveTo>
                      <a:pt x="148238" y="29569"/>
                    </a:moveTo>
                    <a:cubicBezTo>
                      <a:pt x="147755" y="29775"/>
                      <a:pt x="146031" y="33980"/>
                      <a:pt x="146031" y="33980"/>
                    </a:cubicBezTo>
                    <a:lnTo>
                      <a:pt x="144790" y="37081"/>
                    </a:lnTo>
                    <a:lnTo>
                      <a:pt x="147893" y="38460"/>
                    </a:lnTo>
                    <a:cubicBezTo>
                      <a:pt x="160510" y="44112"/>
                      <a:pt x="176230" y="51211"/>
                      <a:pt x="190227" y="59895"/>
                    </a:cubicBezTo>
                    <a:cubicBezTo>
                      <a:pt x="190709" y="59758"/>
                      <a:pt x="194570" y="53279"/>
                      <a:pt x="194570" y="53279"/>
                    </a:cubicBezTo>
                    <a:cubicBezTo>
                      <a:pt x="180022" y="43836"/>
                      <a:pt x="163613" y="36461"/>
                      <a:pt x="150444" y="30603"/>
                    </a:cubicBezTo>
                    <a:lnTo>
                      <a:pt x="148238" y="29569"/>
                    </a:lnTo>
                    <a:close/>
                    <a:moveTo>
                      <a:pt x="276342" y="116758"/>
                    </a:moveTo>
                    <a:cubicBezTo>
                      <a:pt x="275860" y="116758"/>
                      <a:pt x="273240" y="119309"/>
                      <a:pt x="273240" y="119309"/>
                    </a:cubicBezTo>
                    <a:lnTo>
                      <a:pt x="270206" y="122272"/>
                    </a:lnTo>
                    <a:lnTo>
                      <a:pt x="276618" y="129440"/>
                    </a:lnTo>
                    <a:cubicBezTo>
                      <a:pt x="286478" y="140331"/>
                      <a:pt x="295303" y="150256"/>
                      <a:pt x="302818" y="161215"/>
                    </a:cubicBezTo>
                    <a:cubicBezTo>
                      <a:pt x="303301" y="161284"/>
                      <a:pt x="308058" y="157837"/>
                      <a:pt x="308058" y="157837"/>
                    </a:cubicBezTo>
                    <a:lnTo>
                      <a:pt x="309437" y="156872"/>
                    </a:lnTo>
                    <a:cubicBezTo>
                      <a:pt x="301095" y="144259"/>
                      <a:pt x="290752" y="132749"/>
                      <a:pt x="282341" y="123513"/>
                    </a:cubicBezTo>
                    <a:lnTo>
                      <a:pt x="276342" y="116758"/>
                    </a:lnTo>
                    <a:close/>
                    <a:moveTo>
                      <a:pt x="320676" y="179962"/>
                    </a:moveTo>
                    <a:lnTo>
                      <a:pt x="317366" y="182030"/>
                    </a:lnTo>
                    <a:lnTo>
                      <a:pt x="317573" y="182306"/>
                    </a:lnTo>
                    <a:cubicBezTo>
                      <a:pt x="325985" y="195953"/>
                      <a:pt x="334741" y="210771"/>
                      <a:pt x="341705" y="226624"/>
                    </a:cubicBezTo>
                    <a:cubicBezTo>
                      <a:pt x="342188" y="226762"/>
                      <a:pt x="347634" y="224281"/>
                      <a:pt x="347634" y="224281"/>
                    </a:cubicBezTo>
                    <a:lnTo>
                      <a:pt x="349013" y="223660"/>
                    </a:lnTo>
                    <a:cubicBezTo>
                      <a:pt x="342050" y="206912"/>
                      <a:pt x="333155" y="191817"/>
                      <a:pt x="324537" y="177826"/>
                    </a:cubicBezTo>
                    <a:cubicBezTo>
                      <a:pt x="324054" y="177757"/>
                      <a:pt x="320676" y="179962"/>
                      <a:pt x="320676" y="179962"/>
                    </a:cubicBezTo>
                    <a:close/>
                    <a:moveTo>
                      <a:pt x="216772" y="66581"/>
                    </a:moveTo>
                    <a:cubicBezTo>
                      <a:pt x="216289" y="66650"/>
                      <a:pt x="212014" y="72922"/>
                      <a:pt x="212014" y="72922"/>
                    </a:cubicBezTo>
                    <a:lnTo>
                      <a:pt x="211807" y="73198"/>
                    </a:lnTo>
                    <a:lnTo>
                      <a:pt x="222081" y="80780"/>
                    </a:lnTo>
                    <a:cubicBezTo>
                      <a:pt x="233043" y="88775"/>
                      <a:pt x="242765" y="96150"/>
                      <a:pt x="251590" y="104765"/>
                    </a:cubicBezTo>
                    <a:cubicBezTo>
                      <a:pt x="252073" y="104765"/>
                      <a:pt x="257175" y="99114"/>
                      <a:pt x="257175" y="99114"/>
                    </a:cubicBezTo>
                    <a:cubicBezTo>
                      <a:pt x="248074" y="89809"/>
                      <a:pt x="238007" y="82158"/>
                      <a:pt x="226631" y="73887"/>
                    </a:cubicBezTo>
                    <a:lnTo>
                      <a:pt x="216772" y="66581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37C42ED5-AC82-B34D-9BC8-135ABD53818F}"/>
                </a:ext>
              </a:extLst>
            </p:cNvPr>
            <p:cNvGrpSpPr>
              <a:grpSpLocks noChangeAspect="1"/>
            </p:cNvGrpSpPr>
            <p:nvPr/>
          </p:nvGrpSpPr>
          <p:grpSpPr>
            <a:xfrm rot="16200000">
              <a:off x="4281620" y="1389718"/>
              <a:ext cx="1032959" cy="1032613"/>
              <a:chOff x="2877933" y="791668"/>
              <a:chExt cx="495803" cy="495637"/>
            </a:xfrm>
          </p:grpSpPr>
          <p:grpSp>
            <p:nvGrpSpPr>
              <p:cNvPr id="74" name="Graphic 4">
                <a:extLst>
                  <a:ext uri="{FF2B5EF4-FFF2-40B4-BE49-F238E27FC236}">
                    <a16:creationId xmlns:a16="http://schemas.microsoft.com/office/drawing/2014/main" id="{BA2DCDF5-A9F6-E442-AE9B-F2AA97D3A2AE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2877933" y="791737"/>
                <a:ext cx="495803" cy="495568"/>
                <a:chOff x="2877933" y="791737"/>
                <a:chExt cx="495803" cy="495568"/>
              </a:xfrm>
            </p:grpSpPr>
            <p:sp>
              <p:nvSpPr>
                <p:cNvPr id="76" name="Freeform 75">
                  <a:extLst>
                    <a:ext uri="{FF2B5EF4-FFF2-40B4-BE49-F238E27FC236}">
                      <a16:creationId xmlns:a16="http://schemas.microsoft.com/office/drawing/2014/main" id="{BDEFD2D2-A190-204B-B0DA-14A22BC14264}"/>
                    </a:ext>
                  </a:extLst>
                </p:cNvPr>
                <p:cNvSpPr/>
                <p:nvPr/>
              </p:nvSpPr>
              <p:spPr>
                <a:xfrm>
                  <a:off x="2878002" y="791737"/>
                  <a:ext cx="495734" cy="495568"/>
                </a:xfrm>
                <a:custGeom>
                  <a:avLst/>
                  <a:gdLst>
                    <a:gd name="connsiteX0" fmla="*/ 495734 w 495734"/>
                    <a:gd name="connsiteY0" fmla="*/ 0 h 495568"/>
                    <a:gd name="connsiteX1" fmla="*/ 261657 w 495734"/>
                    <a:gd name="connsiteY1" fmla="*/ 0 h 495568"/>
                    <a:gd name="connsiteX2" fmla="*/ 0 w 495734"/>
                    <a:gd name="connsiteY2" fmla="*/ 261569 h 495568"/>
                    <a:gd name="connsiteX3" fmla="*/ 0 w 495734"/>
                    <a:gd name="connsiteY3" fmla="*/ 495568 h 495568"/>
                    <a:gd name="connsiteX4" fmla="*/ 495734 w 495734"/>
                    <a:gd name="connsiteY4" fmla="*/ 0 h 4955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95734" h="495568">
                      <a:moveTo>
                        <a:pt x="495734" y="0"/>
                      </a:moveTo>
                      <a:lnTo>
                        <a:pt x="261657" y="0"/>
                      </a:lnTo>
                      <a:cubicBezTo>
                        <a:pt x="261657" y="144190"/>
                        <a:pt x="144308" y="261569"/>
                        <a:pt x="0" y="261569"/>
                      </a:cubicBezTo>
                      <a:lnTo>
                        <a:pt x="0" y="495568"/>
                      </a:lnTo>
                      <a:cubicBezTo>
                        <a:pt x="273309" y="495568"/>
                        <a:pt x="495734" y="273217"/>
                        <a:pt x="495734" y="0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 w="68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 dirty="0"/>
                </a:p>
              </p:txBody>
            </p:sp>
            <p:sp>
              <p:nvSpPr>
                <p:cNvPr id="77" name="Freeform 76">
                  <a:extLst>
                    <a:ext uri="{FF2B5EF4-FFF2-40B4-BE49-F238E27FC236}">
                      <a16:creationId xmlns:a16="http://schemas.microsoft.com/office/drawing/2014/main" id="{6145525C-7739-2E4E-94DB-102710917D01}"/>
                    </a:ext>
                  </a:extLst>
                </p:cNvPr>
                <p:cNvSpPr/>
                <p:nvPr/>
              </p:nvSpPr>
              <p:spPr>
                <a:xfrm>
                  <a:off x="2877933" y="791737"/>
                  <a:ext cx="482702" cy="482541"/>
                </a:xfrm>
                <a:custGeom>
                  <a:avLst/>
                  <a:gdLst>
                    <a:gd name="connsiteX0" fmla="*/ 283030 w 482702"/>
                    <a:gd name="connsiteY0" fmla="*/ 0 h 482541"/>
                    <a:gd name="connsiteX1" fmla="*/ 274757 w 482702"/>
                    <a:gd name="connsiteY1" fmla="*/ 0 h 482541"/>
                    <a:gd name="connsiteX2" fmla="*/ 0 w 482702"/>
                    <a:gd name="connsiteY2" fmla="*/ 274665 h 482541"/>
                    <a:gd name="connsiteX3" fmla="*/ 0 w 482702"/>
                    <a:gd name="connsiteY3" fmla="*/ 282936 h 482541"/>
                    <a:gd name="connsiteX4" fmla="*/ 283030 w 482702"/>
                    <a:gd name="connsiteY4" fmla="*/ 0 h 482541"/>
                    <a:gd name="connsiteX5" fmla="*/ 482703 w 482702"/>
                    <a:gd name="connsiteY5" fmla="*/ 0 h 482541"/>
                    <a:gd name="connsiteX6" fmla="*/ 474429 w 482702"/>
                    <a:gd name="connsiteY6" fmla="*/ 0 h 482541"/>
                    <a:gd name="connsiteX7" fmla="*/ 0 w 482702"/>
                    <a:gd name="connsiteY7" fmla="*/ 474270 h 482541"/>
                    <a:gd name="connsiteX8" fmla="*/ 0 w 482702"/>
                    <a:gd name="connsiteY8" fmla="*/ 482541 h 482541"/>
                    <a:gd name="connsiteX9" fmla="*/ 482703 w 482702"/>
                    <a:gd name="connsiteY9" fmla="*/ 0 h 4825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482702" h="482541">
                      <a:moveTo>
                        <a:pt x="283030" y="0"/>
                      </a:moveTo>
                      <a:lnTo>
                        <a:pt x="274757" y="0"/>
                      </a:lnTo>
                      <a:cubicBezTo>
                        <a:pt x="274757" y="151427"/>
                        <a:pt x="151478" y="274665"/>
                        <a:pt x="0" y="274665"/>
                      </a:cubicBezTo>
                      <a:lnTo>
                        <a:pt x="0" y="282936"/>
                      </a:lnTo>
                      <a:cubicBezTo>
                        <a:pt x="156098" y="282867"/>
                        <a:pt x="283030" y="155976"/>
                        <a:pt x="283030" y="0"/>
                      </a:cubicBezTo>
                      <a:close/>
                      <a:moveTo>
                        <a:pt x="482703" y="0"/>
                      </a:moveTo>
                      <a:lnTo>
                        <a:pt x="474429" y="0"/>
                      </a:lnTo>
                      <a:cubicBezTo>
                        <a:pt x="474429" y="261500"/>
                        <a:pt x="261588" y="474270"/>
                        <a:pt x="0" y="474270"/>
                      </a:cubicBezTo>
                      <a:lnTo>
                        <a:pt x="0" y="482541"/>
                      </a:lnTo>
                      <a:cubicBezTo>
                        <a:pt x="266207" y="482472"/>
                        <a:pt x="482703" y="266049"/>
                        <a:pt x="482703" y="0"/>
                      </a:cubicBezTo>
                      <a:close/>
                    </a:path>
                  </a:pathLst>
                </a:custGeom>
                <a:solidFill>
                  <a:srgbClr val="E4E4E4"/>
                </a:solidFill>
                <a:ln w="68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 dirty="0"/>
                </a:p>
              </p:txBody>
            </p:sp>
          </p:grpSp>
          <p:sp>
            <p:nvSpPr>
              <p:cNvPr id="75" name="Freeform 74">
                <a:extLst>
                  <a:ext uri="{FF2B5EF4-FFF2-40B4-BE49-F238E27FC236}">
                    <a16:creationId xmlns:a16="http://schemas.microsoft.com/office/drawing/2014/main" id="{BA5B8532-3A85-A349-AC08-BC44B408AED8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895584" y="791668"/>
                <a:ext cx="366388" cy="383910"/>
              </a:xfrm>
              <a:custGeom>
                <a:avLst/>
                <a:gdLst>
                  <a:gd name="connsiteX0" fmla="*/ 119004 w 366388"/>
                  <a:gd name="connsiteY0" fmla="*/ 359304 h 383910"/>
                  <a:gd name="connsiteX1" fmla="*/ 116453 w 366388"/>
                  <a:gd name="connsiteY1" fmla="*/ 351791 h 383910"/>
                  <a:gd name="connsiteX2" fmla="*/ 116315 w 366388"/>
                  <a:gd name="connsiteY2" fmla="*/ 351447 h 383910"/>
                  <a:gd name="connsiteX3" fmla="*/ 115970 w 366388"/>
                  <a:gd name="connsiteY3" fmla="*/ 351584 h 383910"/>
                  <a:gd name="connsiteX4" fmla="*/ 67707 w 366388"/>
                  <a:gd name="connsiteY4" fmla="*/ 366334 h 383910"/>
                  <a:gd name="connsiteX5" fmla="*/ 68258 w 366388"/>
                  <a:gd name="connsiteY5" fmla="*/ 370332 h 383910"/>
                  <a:gd name="connsiteX6" fmla="*/ 69155 w 366388"/>
                  <a:gd name="connsiteY6" fmla="*/ 374123 h 383910"/>
                  <a:gd name="connsiteX7" fmla="*/ 119004 w 366388"/>
                  <a:gd name="connsiteY7" fmla="*/ 359304 h 383910"/>
                  <a:gd name="connsiteX8" fmla="*/ 359425 w 366388"/>
                  <a:gd name="connsiteY8" fmla="*/ 73336 h 383910"/>
                  <a:gd name="connsiteX9" fmla="*/ 351289 w 366388"/>
                  <a:gd name="connsiteY9" fmla="*/ 71819 h 383910"/>
                  <a:gd name="connsiteX10" fmla="*/ 351220 w 366388"/>
                  <a:gd name="connsiteY10" fmla="*/ 72164 h 383910"/>
                  <a:gd name="connsiteX11" fmla="*/ 338258 w 366388"/>
                  <a:gd name="connsiteY11" fmla="*/ 120894 h 383910"/>
                  <a:gd name="connsiteX12" fmla="*/ 338119 w 366388"/>
                  <a:gd name="connsiteY12" fmla="*/ 121238 h 383910"/>
                  <a:gd name="connsiteX13" fmla="*/ 345635 w 366388"/>
                  <a:gd name="connsiteY13" fmla="*/ 123789 h 383910"/>
                  <a:gd name="connsiteX14" fmla="*/ 359286 w 366388"/>
                  <a:gd name="connsiteY14" fmla="*/ 73680 h 383910"/>
                  <a:gd name="connsiteX15" fmla="*/ 359425 w 366388"/>
                  <a:gd name="connsiteY15" fmla="*/ 73336 h 383910"/>
                  <a:gd name="connsiteX16" fmla="*/ 43782 w 366388"/>
                  <a:gd name="connsiteY16" fmla="*/ 379499 h 383910"/>
                  <a:gd name="connsiteX17" fmla="*/ 43368 w 366388"/>
                  <a:gd name="connsiteY17" fmla="*/ 374743 h 383910"/>
                  <a:gd name="connsiteX18" fmla="*/ 42816 w 366388"/>
                  <a:gd name="connsiteY18" fmla="*/ 371297 h 383910"/>
                  <a:gd name="connsiteX19" fmla="*/ 42472 w 366388"/>
                  <a:gd name="connsiteY19" fmla="*/ 371366 h 383910"/>
                  <a:gd name="connsiteX20" fmla="*/ 0 w 366388"/>
                  <a:gd name="connsiteY20" fmla="*/ 375846 h 383910"/>
                  <a:gd name="connsiteX21" fmla="*/ 0 w 366388"/>
                  <a:gd name="connsiteY21" fmla="*/ 383910 h 383910"/>
                  <a:gd name="connsiteX22" fmla="*/ 43782 w 366388"/>
                  <a:gd name="connsiteY22" fmla="*/ 379499 h 383910"/>
                  <a:gd name="connsiteX23" fmla="*/ 358390 w 366388"/>
                  <a:gd name="connsiteY23" fmla="*/ 69 h 383910"/>
                  <a:gd name="connsiteX24" fmla="*/ 355219 w 366388"/>
                  <a:gd name="connsiteY24" fmla="*/ 46662 h 383910"/>
                  <a:gd name="connsiteX25" fmla="*/ 358183 w 366388"/>
                  <a:gd name="connsiteY25" fmla="*/ 47351 h 383910"/>
                  <a:gd name="connsiteX26" fmla="*/ 363079 w 366388"/>
                  <a:gd name="connsiteY26" fmla="*/ 47972 h 383910"/>
                  <a:gd name="connsiteX27" fmla="*/ 366388 w 366388"/>
                  <a:gd name="connsiteY27" fmla="*/ 0 h 383910"/>
                  <a:gd name="connsiteX28" fmla="*/ 358390 w 366388"/>
                  <a:gd name="connsiteY28" fmla="*/ 0 h 383910"/>
                  <a:gd name="connsiteX29" fmla="*/ 336878 w 366388"/>
                  <a:gd name="connsiteY29" fmla="*/ 148188 h 383910"/>
                  <a:gd name="connsiteX30" fmla="*/ 332466 w 366388"/>
                  <a:gd name="connsiteY30" fmla="*/ 145982 h 383910"/>
                  <a:gd name="connsiteX31" fmla="*/ 329363 w 366388"/>
                  <a:gd name="connsiteY31" fmla="*/ 144673 h 383910"/>
                  <a:gd name="connsiteX32" fmla="*/ 327984 w 366388"/>
                  <a:gd name="connsiteY32" fmla="*/ 147774 h 383910"/>
                  <a:gd name="connsiteX33" fmla="*/ 306542 w 366388"/>
                  <a:gd name="connsiteY33" fmla="*/ 190094 h 383910"/>
                  <a:gd name="connsiteX34" fmla="*/ 313160 w 366388"/>
                  <a:gd name="connsiteY34" fmla="*/ 194436 h 383910"/>
                  <a:gd name="connsiteX35" fmla="*/ 335844 w 366388"/>
                  <a:gd name="connsiteY35" fmla="*/ 150325 h 383910"/>
                  <a:gd name="connsiteX36" fmla="*/ 336878 w 366388"/>
                  <a:gd name="connsiteY36" fmla="*/ 148188 h 383910"/>
                  <a:gd name="connsiteX37" fmla="*/ 249660 w 366388"/>
                  <a:gd name="connsiteY37" fmla="*/ 276250 h 383910"/>
                  <a:gd name="connsiteX38" fmla="*/ 247109 w 366388"/>
                  <a:gd name="connsiteY38" fmla="*/ 273148 h 383910"/>
                  <a:gd name="connsiteX39" fmla="*/ 244144 w 366388"/>
                  <a:gd name="connsiteY39" fmla="*/ 270116 h 383910"/>
                  <a:gd name="connsiteX40" fmla="*/ 236973 w 366388"/>
                  <a:gd name="connsiteY40" fmla="*/ 276526 h 383910"/>
                  <a:gd name="connsiteX41" fmla="*/ 205188 w 366388"/>
                  <a:gd name="connsiteY41" fmla="*/ 302717 h 383910"/>
                  <a:gd name="connsiteX42" fmla="*/ 208567 w 366388"/>
                  <a:gd name="connsiteY42" fmla="*/ 307955 h 383910"/>
                  <a:gd name="connsiteX43" fmla="*/ 209532 w 366388"/>
                  <a:gd name="connsiteY43" fmla="*/ 309334 h 383910"/>
                  <a:gd name="connsiteX44" fmla="*/ 242903 w 366388"/>
                  <a:gd name="connsiteY44" fmla="*/ 282246 h 383910"/>
                  <a:gd name="connsiteX45" fmla="*/ 249660 w 366388"/>
                  <a:gd name="connsiteY45" fmla="*/ 276250 h 383910"/>
                  <a:gd name="connsiteX46" fmla="*/ 186504 w 366388"/>
                  <a:gd name="connsiteY46" fmla="*/ 320568 h 383910"/>
                  <a:gd name="connsiteX47" fmla="*/ 184435 w 366388"/>
                  <a:gd name="connsiteY47" fmla="*/ 317260 h 383910"/>
                  <a:gd name="connsiteX48" fmla="*/ 184159 w 366388"/>
                  <a:gd name="connsiteY48" fmla="*/ 317467 h 383910"/>
                  <a:gd name="connsiteX49" fmla="*/ 139826 w 366388"/>
                  <a:gd name="connsiteY49" fmla="*/ 341590 h 383910"/>
                  <a:gd name="connsiteX50" fmla="*/ 142170 w 366388"/>
                  <a:gd name="connsiteY50" fmla="*/ 347518 h 383910"/>
                  <a:gd name="connsiteX51" fmla="*/ 142791 w 366388"/>
                  <a:gd name="connsiteY51" fmla="*/ 348896 h 383910"/>
                  <a:gd name="connsiteX52" fmla="*/ 188641 w 366388"/>
                  <a:gd name="connsiteY52" fmla="*/ 324428 h 383910"/>
                  <a:gd name="connsiteX53" fmla="*/ 186504 w 366388"/>
                  <a:gd name="connsiteY53" fmla="*/ 320568 h 383910"/>
                  <a:gd name="connsiteX54" fmla="*/ 299854 w 366388"/>
                  <a:gd name="connsiteY54" fmla="*/ 216630 h 383910"/>
                  <a:gd name="connsiteX55" fmla="*/ 293511 w 366388"/>
                  <a:gd name="connsiteY55" fmla="*/ 211874 h 383910"/>
                  <a:gd name="connsiteX56" fmla="*/ 293235 w 366388"/>
                  <a:gd name="connsiteY56" fmla="*/ 211668 h 383910"/>
                  <a:gd name="connsiteX57" fmla="*/ 285650 w 366388"/>
                  <a:gd name="connsiteY57" fmla="*/ 221937 h 383910"/>
                  <a:gd name="connsiteX58" fmla="*/ 261656 w 366388"/>
                  <a:gd name="connsiteY58" fmla="*/ 251437 h 383910"/>
                  <a:gd name="connsiteX59" fmla="*/ 267310 w 366388"/>
                  <a:gd name="connsiteY59" fmla="*/ 257020 h 383910"/>
                  <a:gd name="connsiteX60" fmla="*/ 292545 w 366388"/>
                  <a:gd name="connsiteY60" fmla="*/ 226486 h 383910"/>
                  <a:gd name="connsiteX61" fmla="*/ 299854 w 366388"/>
                  <a:gd name="connsiteY61" fmla="*/ 216630 h 3839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</a:cxnLst>
                <a:rect l="l" t="t" r="r" b="b"/>
                <a:pathLst>
                  <a:path w="366388" h="383910">
                    <a:moveTo>
                      <a:pt x="119004" y="359304"/>
                    </a:moveTo>
                    <a:cubicBezTo>
                      <a:pt x="119210" y="358890"/>
                      <a:pt x="116453" y="351791"/>
                      <a:pt x="116453" y="351791"/>
                    </a:cubicBezTo>
                    <a:lnTo>
                      <a:pt x="116315" y="351447"/>
                    </a:lnTo>
                    <a:lnTo>
                      <a:pt x="115970" y="351584"/>
                    </a:lnTo>
                    <a:cubicBezTo>
                      <a:pt x="99285" y="358063"/>
                      <a:pt x="83565" y="362819"/>
                      <a:pt x="67707" y="366334"/>
                    </a:cubicBezTo>
                    <a:cubicBezTo>
                      <a:pt x="67431" y="366748"/>
                      <a:pt x="68258" y="370332"/>
                      <a:pt x="68258" y="370332"/>
                    </a:cubicBezTo>
                    <a:lnTo>
                      <a:pt x="69155" y="374123"/>
                    </a:lnTo>
                    <a:cubicBezTo>
                      <a:pt x="85771" y="370883"/>
                      <a:pt x="101974" y="365921"/>
                      <a:pt x="119004" y="359304"/>
                    </a:cubicBezTo>
                    <a:close/>
                    <a:moveTo>
                      <a:pt x="359425" y="73336"/>
                    </a:moveTo>
                    <a:lnTo>
                      <a:pt x="351289" y="71819"/>
                    </a:lnTo>
                    <a:lnTo>
                      <a:pt x="351220" y="72164"/>
                    </a:lnTo>
                    <a:cubicBezTo>
                      <a:pt x="347841" y="89257"/>
                      <a:pt x="343498" y="105661"/>
                      <a:pt x="338258" y="120894"/>
                    </a:cubicBezTo>
                    <a:lnTo>
                      <a:pt x="338119" y="121238"/>
                    </a:lnTo>
                    <a:lnTo>
                      <a:pt x="345635" y="123789"/>
                    </a:lnTo>
                    <a:cubicBezTo>
                      <a:pt x="351358" y="108005"/>
                      <a:pt x="355839" y="91256"/>
                      <a:pt x="359286" y="73680"/>
                    </a:cubicBezTo>
                    <a:lnTo>
                      <a:pt x="359425" y="73336"/>
                    </a:lnTo>
                    <a:close/>
                    <a:moveTo>
                      <a:pt x="43782" y="379499"/>
                    </a:moveTo>
                    <a:cubicBezTo>
                      <a:pt x="44057" y="379085"/>
                      <a:pt x="43368" y="374743"/>
                      <a:pt x="43368" y="374743"/>
                    </a:cubicBezTo>
                    <a:lnTo>
                      <a:pt x="42816" y="371297"/>
                    </a:lnTo>
                    <a:lnTo>
                      <a:pt x="42472" y="371366"/>
                    </a:lnTo>
                    <a:cubicBezTo>
                      <a:pt x="28751" y="373778"/>
                      <a:pt x="14479" y="375226"/>
                      <a:pt x="0" y="375846"/>
                    </a:cubicBezTo>
                    <a:lnTo>
                      <a:pt x="0" y="383910"/>
                    </a:lnTo>
                    <a:cubicBezTo>
                      <a:pt x="15031" y="383497"/>
                      <a:pt x="29716" y="381980"/>
                      <a:pt x="43782" y="379499"/>
                    </a:cubicBezTo>
                    <a:close/>
                    <a:moveTo>
                      <a:pt x="358390" y="69"/>
                    </a:moveTo>
                    <a:cubicBezTo>
                      <a:pt x="358045" y="15026"/>
                      <a:pt x="357149" y="30603"/>
                      <a:pt x="355219" y="46662"/>
                    </a:cubicBezTo>
                    <a:cubicBezTo>
                      <a:pt x="355494" y="47007"/>
                      <a:pt x="358183" y="47351"/>
                      <a:pt x="358183" y="47351"/>
                    </a:cubicBezTo>
                    <a:lnTo>
                      <a:pt x="363079" y="47972"/>
                    </a:lnTo>
                    <a:cubicBezTo>
                      <a:pt x="365354" y="31154"/>
                      <a:pt x="366319" y="15163"/>
                      <a:pt x="366388" y="0"/>
                    </a:cubicBezTo>
                    <a:lnTo>
                      <a:pt x="358390" y="0"/>
                    </a:lnTo>
                    <a:close/>
                    <a:moveTo>
                      <a:pt x="336878" y="148188"/>
                    </a:moveTo>
                    <a:cubicBezTo>
                      <a:pt x="336672" y="147705"/>
                      <a:pt x="332466" y="145982"/>
                      <a:pt x="332466" y="145982"/>
                    </a:cubicBezTo>
                    <a:lnTo>
                      <a:pt x="329363" y="144673"/>
                    </a:lnTo>
                    <a:lnTo>
                      <a:pt x="327984" y="147774"/>
                    </a:lnTo>
                    <a:cubicBezTo>
                      <a:pt x="322331" y="160388"/>
                      <a:pt x="315229" y="176102"/>
                      <a:pt x="306542" y="190094"/>
                    </a:cubicBezTo>
                    <a:cubicBezTo>
                      <a:pt x="306679" y="190577"/>
                      <a:pt x="313160" y="194436"/>
                      <a:pt x="313160" y="194436"/>
                    </a:cubicBezTo>
                    <a:cubicBezTo>
                      <a:pt x="322606" y="179893"/>
                      <a:pt x="329984" y="163489"/>
                      <a:pt x="335844" y="150325"/>
                    </a:cubicBezTo>
                    <a:lnTo>
                      <a:pt x="336878" y="148188"/>
                    </a:lnTo>
                    <a:close/>
                    <a:moveTo>
                      <a:pt x="249660" y="276250"/>
                    </a:moveTo>
                    <a:cubicBezTo>
                      <a:pt x="249660" y="275767"/>
                      <a:pt x="247109" y="273148"/>
                      <a:pt x="247109" y="273148"/>
                    </a:cubicBezTo>
                    <a:lnTo>
                      <a:pt x="244144" y="270116"/>
                    </a:lnTo>
                    <a:lnTo>
                      <a:pt x="236973" y="276526"/>
                    </a:lnTo>
                    <a:cubicBezTo>
                      <a:pt x="226079" y="286382"/>
                      <a:pt x="216151" y="295204"/>
                      <a:pt x="205188" y="302717"/>
                    </a:cubicBezTo>
                    <a:cubicBezTo>
                      <a:pt x="205119" y="303199"/>
                      <a:pt x="208567" y="307955"/>
                      <a:pt x="208567" y="307955"/>
                    </a:cubicBezTo>
                    <a:lnTo>
                      <a:pt x="209532" y="309334"/>
                    </a:lnTo>
                    <a:cubicBezTo>
                      <a:pt x="222150" y="300994"/>
                      <a:pt x="233664" y="290655"/>
                      <a:pt x="242903" y="282246"/>
                    </a:cubicBezTo>
                    <a:lnTo>
                      <a:pt x="249660" y="276250"/>
                    </a:lnTo>
                    <a:close/>
                    <a:moveTo>
                      <a:pt x="186504" y="320568"/>
                    </a:moveTo>
                    <a:lnTo>
                      <a:pt x="184435" y="317260"/>
                    </a:lnTo>
                    <a:lnTo>
                      <a:pt x="184159" y="317467"/>
                    </a:lnTo>
                    <a:cubicBezTo>
                      <a:pt x="170508" y="325876"/>
                      <a:pt x="155684" y="334629"/>
                      <a:pt x="139826" y="341590"/>
                    </a:cubicBezTo>
                    <a:cubicBezTo>
                      <a:pt x="139688" y="342073"/>
                      <a:pt x="142170" y="347518"/>
                      <a:pt x="142170" y="347518"/>
                    </a:cubicBezTo>
                    <a:lnTo>
                      <a:pt x="142791" y="348896"/>
                    </a:lnTo>
                    <a:cubicBezTo>
                      <a:pt x="159545" y="341935"/>
                      <a:pt x="174644" y="333044"/>
                      <a:pt x="188641" y="324428"/>
                    </a:cubicBezTo>
                    <a:cubicBezTo>
                      <a:pt x="188641" y="323946"/>
                      <a:pt x="186504" y="320568"/>
                      <a:pt x="186504" y="320568"/>
                    </a:cubicBezTo>
                    <a:close/>
                    <a:moveTo>
                      <a:pt x="299854" y="216630"/>
                    </a:moveTo>
                    <a:cubicBezTo>
                      <a:pt x="299785" y="216148"/>
                      <a:pt x="293511" y="211874"/>
                      <a:pt x="293511" y="211874"/>
                    </a:cubicBezTo>
                    <a:lnTo>
                      <a:pt x="293235" y="211668"/>
                    </a:lnTo>
                    <a:lnTo>
                      <a:pt x="285650" y="221937"/>
                    </a:lnTo>
                    <a:cubicBezTo>
                      <a:pt x="277652" y="232896"/>
                      <a:pt x="270275" y="242615"/>
                      <a:pt x="261656" y="251437"/>
                    </a:cubicBezTo>
                    <a:cubicBezTo>
                      <a:pt x="261656" y="251920"/>
                      <a:pt x="267310" y="257020"/>
                      <a:pt x="267310" y="257020"/>
                    </a:cubicBezTo>
                    <a:cubicBezTo>
                      <a:pt x="276618" y="247922"/>
                      <a:pt x="284271" y="237859"/>
                      <a:pt x="292545" y="226486"/>
                    </a:cubicBezTo>
                    <a:lnTo>
                      <a:pt x="299854" y="216630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</p:grpSp>
      <p:grpSp>
        <p:nvGrpSpPr>
          <p:cNvPr id="83" name="Group 82">
            <a:extLst>
              <a:ext uri="{FF2B5EF4-FFF2-40B4-BE49-F238E27FC236}">
                <a16:creationId xmlns:a16="http://schemas.microsoft.com/office/drawing/2014/main" id="{D3B3A52F-13C6-D84F-8806-8A1F8B131466}"/>
              </a:ext>
            </a:extLst>
          </p:cNvPr>
          <p:cNvGrpSpPr>
            <a:grpSpLocks noChangeAspect="1"/>
          </p:cNvGrpSpPr>
          <p:nvPr/>
        </p:nvGrpSpPr>
        <p:grpSpPr>
          <a:xfrm rot="16200000" flipH="1">
            <a:off x="3039675" y="2972147"/>
            <a:ext cx="1318821" cy="1051980"/>
            <a:chOff x="8000766" y="1072056"/>
            <a:chExt cx="971645" cy="775049"/>
          </a:xfrm>
        </p:grpSpPr>
        <p:sp>
          <p:nvSpPr>
            <p:cNvPr id="84" name="Freeform 83">
              <a:extLst>
                <a:ext uri="{FF2B5EF4-FFF2-40B4-BE49-F238E27FC236}">
                  <a16:creationId xmlns:a16="http://schemas.microsoft.com/office/drawing/2014/main" id="{FA35A602-AC58-6C4A-A676-F9F196E5EB1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000766" y="1072056"/>
              <a:ext cx="971550" cy="775049"/>
            </a:xfrm>
            <a:custGeom>
              <a:avLst/>
              <a:gdLst>
                <a:gd name="connsiteX0" fmla="*/ 266986 w 971550"/>
                <a:gd name="connsiteY0" fmla="*/ 360140 h 775049"/>
                <a:gd name="connsiteX1" fmla="*/ 0 w 971550"/>
                <a:gd name="connsiteY1" fmla="*/ 451675 h 775049"/>
                <a:gd name="connsiteX2" fmla="*/ 0 w 971550"/>
                <a:gd name="connsiteY2" fmla="*/ 775049 h 775049"/>
                <a:gd name="connsiteX3" fmla="*/ 475774 w 971550"/>
                <a:gd name="connsiteY3" fmla="*/ 607790 h 775049"/>
                <a:gd name="connsiteX4" fmla="*/ 704564 w 971550"/>
                <a:gd name="connsiteY4" fmla="*/ 414909 h 775049"/>
                <a:gd name="connsiteX5" fmla="*/ 971550 w 971550"/>
                <a:gd name="connsiteY5" fmla="*/ 323374 h 775049"/>
                <a:gd name="connsiteX6" fmla="*/ 971550 w 971550"/>
                <a:gd name="connsiteY6" fmla="*/ 0 h 775049"/>
                <a:gd name="connsiteX7" fmla="*/ 495776 w 971550"/>
                <a:gd name="connsiteY7" fmla="*/ 167259 h 775049"/>
                <a:gd name="connsiteX8" fmla="*/ 266986 w 971550"/>
                <a:gd name="connsiteY8" fmla="*/ 360140 h 775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71550" h="775049">
                  <a:moveTo>
                    <a:pt x="266986" y="360140"/>
                  </a:moveTo>
                  <a:cubicBezTo>
                    <a:pt x="194596" y="421195"/>
                    <a:pt x="97346" y="451675"/>
                    <a:pt x="0" y="451675"/>
                  </a:cubicBezTo>
                  <a:lnTo>
                    <a:pt x="0" y="775049"/>
                  </a:lnTo>
                  <a:cubicBezTo>
                    <a:pt x="178879" y="775049"/>
                    <a:pt x="347758" y="715613"/>
                    <a:pt x="475774" y="607790"/>
                  </a:cubicBezTo>
                  <a:lnTo>
                    <a:pt x="704564" y="414909"/>
                  </a:lnTo>
                  <a:cubicBezTo>
                    <a:pt x="776954" y="353854"/>
                    <a:pt x="874205" y="323374"/>
                    <a:pt x="971550" y="323374"/>
                  </a:cubicBezTo>
                  <a:lnTo>
                    <a:pt x="971550" y="0"/>
                  </a:lnTo>
                  <a:cubicBezTo>
                    <a:pt x="792671" y="0"/>
                    <a:pt x="623792" y="59436"/>
                    <a:pt x="495776" y="167259"/>
                  </a:cubicBezTo>
                  <a:lnTo>
                    <a:pt x="266986" y="360140"/>
                  </a:lnTo>
                  <a:close/>
                </a:path>
              </a:pathLst>
            </a:custGeom>
            <a:solidFill>
              <a:schemeClr val="tx2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85" name="Freeform 84">
              <a:extLst>
                <a:ext uri="{FF2B5EF4-FFF2-40B4-BE49-F238E27FC236}">
                  <a16:creationId xmlns:a16="http://schemas.microsoft.com/office/drawing/2014/main" id="{E4130595-E46B-CB44-878F-444D9F30AA7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000766" y="1229218"/>
              <a:ext cx="928497" cy="460343"/>
            </a:xfrm>
            <a:custGeom>
              <a:avLst/>
              <a:gdLst>
                <a:gd name="connsiteX0" fmla="*/ 922592 w 928497"/>
                <a:gd name="connsiteY0" fmla="*/ 476 h 460343"/>
                <a:gd name="connsiteX1" fmla="*/ 853916 w 928497"/>
                <a:gd name="connsiteY1" fmla="*/ 9716 h 460343"/>
                <a:gd name="connsiteX2" fmla="*/ 856012 w 928497"/>
                <a:gd name="connsiteY2" fmla="*/ 20574 h 460343"/>
                <a:gd name="connsiteX3" fmla="*/ 922877 w 928497"/>
                <a:gd name="connsiteY3" fmla="*/ 11525 h 460343"/>
                <a:gd name="connsiteX4" fmla="*/ 928497 w 928497"/>
                <a:gd name="connsiteY4" fmla="*/ 11049 h 460343"/>
                <a:gd name="connsiteX5" fmla="*/ 927735 w 928497"/>
                <a:gd name="connsiteY5" fmla="*/ 0 h 460343"/>
                <a:gd name="connsiteX6" fmla="*/ 922592 w 928497"/>
                <a:gd name="connsiteY6" fmla="*/ 476 h 460343"/>
                <a:gd name="connsiteX7" fmla="*/ 808958 w 928497"/>
                <a:gd name="connsiteY7" fmla="*/ 19907 h 460343"/>
                <a:gd name="connsiteX8" fmla="*/ 746188 w 928497"/>
                <a:gd name="connsiteY8" fmla="*/ 40862 h 460343"/>
                <a:gd name="connsiteX9" fmla="*/ 750284 w 928497"/>
                <a:gd name="connsiteY9" fmla="*/ 51149 h 460343"/>
                <a:gd name="connsiteX10" fmla="*/ 810863 w 928497"/>
                <a:gd name="connsiteY10" fmla="*/ 30861 h 460343"/>
                <a:gd name="connsiteX11" fmla="*/ 819626 w 928497"/>
                <a:gd name="connsiteY11" fmla="*/ 28289 h 460343"/>
                <a:gd name="connsiteX12" fmla="*/ 816959 w 928497"/>
                <a:gd name="connsiteY12" fmla="*/ 17621 h 460343"/>
                <a:gd name="connsiteX13" fmla="*/ 808958 w 928497"/>
                <a:gd name="connsiteY13" fmla="*/ 19907 h 460343"/>
                <a:gd name="connsiteX14" fmla="*/ 646462 w 928497"/>
                <a:gd name="connsiteY14" fmla="*/ 92107 h 460343"/>
                <a:gd name="connsiteX15" fmla="*/ 652558 w 928497"/>
                <a:gd name="connsiteY15" fmla="*/ 101346 h 460343"/>
                <a:gd name="connsiteX16" fmla="*/ 716280 w 928497"/>
                <a:gd name="connsiteY16" fmla="*/ 65723 h 460343"/>
                <a:gd name="connsiteX17" fmla="*/ 711613 w 928497"/>
                <a:gd name="connsiteY17" fmla="*/ 55721 h 460343"/>
                <a:gd name="connsiteX18" fmla="*/ 646462 w 928497"/>
                <a:gd name="connsiteY18" fmla="*/ 92107 h 460343"/>
                <a:gd name="connsiteX19" fmla="*/ 572262 w 928497"/>
                <a:gd name="connsiteY19" fmla="*/ 149162 h 460343"/>
                <a:gd name="connsiteX20" fmla="*/ 558260 w 928497"/>
                <a:gd name="connsiteY20" fmla="*/ 160973 h 460343"/>
                <a:gd name="connsiteX21" fmla="*/ 565404 w 928497"/>
                <a:gd name="connsiteY21" fmla="*/ 169450 h 460343"/>
                <a:gd name="connsiteX22" fmla="*/ 579120 w 928497"/>
                <a:gd name="connsiteY22" fmla="*/ 157829 h 460343"/>
                <a:gd name="connsiteX23" fmla="*/ 622363 w 928497"/>
                <a:gd name="connsiteY23" fmla="*/ 122873 h 460343"/>
                <a:gd name="connsiteX24" fmla="*/ 615696 w 928497"/>
                <a:gd name="connsiteY24" fmla="*/ 114110 h 460343"/>
                <a:gd name="connsiteX25" fmla="*/ 572262 w 928497"/>
                <a:gd name="connsiteY25" fmla="*/ 149162 h 460343"/>
                <a:gd name="connsiteX26" fmla="*/ 473202 w 928497"/>
                <a:gd name="connsiteY26" fmla="*/ 232791 h 460343"/>
                <a:gd name="connsiteX27" fmla="*/ 480346 w 928497"/>
                <a:gd name="connsiteY27" fmla="*/ 241268 h 460343"/>
                <a:gd name="connsiteX28" fmla="*/ 536829 w 928497"/>
                <a:gd name="connsiteY28" fmla="*/ 193643 h 460343"/>
                <a:gd name="connsiteX29" fmla="*/ 529685 w 928497"/>
                <a:gd name="connsiteY29" fmla="*/ 185166 h 460343"/>
                <a:gd name="connsiteX30" fmla="*/ 473202 w 928497"/>
                <a:gd name="connsiteY30" fmla="*/ 232791 h 460343"/>
                <a:gd name="connsiteX31" fmla="*/ 388144 w 928497"/>
                <a:gd name="connsiteY31" fmla="*/ 304514 h 460343"/>
                <a:gd name="connsiteX32" fmla="*/ 395288 w 928497"/>
                <a:gd name="connsiteY32" fmla="*/ 312992 h 460343"/>
                <a:gd name="connsiteX33" fmla="*/ 451771 w 928497"/>
                <a:gd name="connsiteY33" fmla="*/ 265367 h 460343"/>
                <a:gd name="connsiteX34" fmla="*/ 444627 w 928497"/>
                <a:gd name="connsiteY34" fmla="*/ 256889 h 460343"/>
                <a:gd name="connsiteX35" fmla="*/ 388144 w 928497"/>
                <a:gd name="connsiteY35" fmla="*/ 304514 h 460343"/>
                <a:gd name="connsiteX36" fmla="*/ 299180 w 928497"/>
                <a:gd name="connsiteY36" fmla="*/ 369570 h 460343"/>
                <a:gd name="connsiteX37" fmla="*/ 304800 w 928497"/>
                <a:gd name="connsiteY37" fmla="*/ 379095 h 460343"/>
                <a:gd name="connsiteX38" fmla="*/ 366236 w 928497"/>
                <a:gd name="connsiteY38" fmla="*/ 336614 h 460343"/>
                <a:gd name="connsiteX39" fmla="*/ 359283 w 928497"/>
                <a:gd name="connsiteY39" fmla="*/ 328041 h 460343"/>
                <a:gd name="connsiteX40" fmla="*/ 299180 w 928497"/>
                <a:gd name="connsiteY40" fmla="*/ 369570 h 460343"/>
                <a:gd name="connsiteX41" fmla="*/ 208026 w 928497"/>
                <a:gd name="connsiteY41" fmla="*/ 412814 h 460343"/>
                <a:gd name="connsiteX42" fmla="*/ 199454 w 928497"/>
                <a:gd name="connsiteY42" fmla="*/ 416147 h 460343"/>
                <a:gd name="connsiteX43" fmla="*/ 203073 w 928497"/>
                <a:gd name="connsiteY43" fmla="*/ 426625 h 460343"/>
                <a:gd name="connsiteX44" fmla="*/ 210884 w 928497"/>
                <a:gd name="connsiteY44" fmla="*/ 423577 h 460343"/>
                <a:gd name="connsiteX45" fmla="*/ 271653 w 928497"/>
                <a:gd name="connsiteY45" fmla="*/ 397193 h 460343"/>
                <a:gd name="connsiteX46" fmla="*/ 266700 w 928497"/>
                <a:gd name="connsiteY46" fmla="*/ 387287 h 460343"/>
                <a:gd name="connsiteX47" fmla="*/ 208026 w 928497"/>
                <a:gd name="connsiteY47" fmla="*/ 412814 h 460343"/>
                <a:gd name="connsiteX48" fmla="*/ 96393 w 928497"/>
                <a:gd name="connsiteY48" fmla="*/ 441484 h 460343"/>
                <a:gd name="connsiteX49" fmla="*/ 92488 w 928497"/>
                <a:gd name="connsiteY49" fmla="*/ 442150 h 460343"/>
                <a:gd name="connsiteX50" fmla="*/ 94107 w 928497"/>
                <a:gd name="connsiteY50" fmla="*/ 453104 h 460343"/>
                <a:gd name="connsiteX51" fmla="*/ 97250 w 928497"/>
                <a:gd name="connsiteY51" fmla="*/ 452533 h 460343"/>
                <a:gd name="connsiteX52" fmla="*/ 166973 w 928497"/>
                <a:gd name="connsiteY52" fmla="*/ 437388 h 460343"/>
                <a:gd name="connsiteX53" fmla="*/ 164021 w 928497"/>
                <a:gd name="connsiteY53" fmla="*/ 426720 h 460343"/>
                <a:gd name="connsiteX54" fmla="*/ 96393 w 928497"/>
                <a:gd name="connsiteY54" fmla="*/ 441484 h 460343"/>
                <a:gd name="connsiteX55" fmla="*/ 45053 w 928497"/>
                <a:gd name="connsiteY55" fmla="*/ 447294 h 460343"/>
                <a:gd name="connsiteX56" fmla="*/ 0 w 928497"/>
                <a:gd name="connsiteY56" fmla="*/ 449294 h 460343"/>
                <a:gd name="connsiteX57" fmla="*/ 0 w 928497"/>
                <a:gd name="connsiteY57" fmla="*/ 460343 h 460343"/>
                <a:gd name="connsiteX58" fmla="*/ 46768 w 928497"/>
                <a:gd name="connsiteY58" fmla="*/ 458343 h 460343"/>
                <a:gd name="connsiteX59" fmla="*/ 56674 w 928497"/>
                <a:gd name="connsiteY59" fmla="*/ 457676 h 460343"/>
                <a:gd name="connsiteX60" fmla="*/ 55626 w 928497"/>
                <a:gd name="connsiteY60" fmla="*/ 446627 h 460343"/>
                <a:gd name="connsiteX61" fmla="*/ 45053 w 928497"/>
                <a:gd name="connsiteY61" fmla="*/ 447294 h 460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928497" h="460343">
                  <a:moveTo>
                    <a:pt x="922592" y="476"/>
                  </a:moveTo>
                  <a:cubicBezTo>
                    <a:pt x="899922" y="2477"/>
                    <a:pt x="876491" y="4763"/>
                    <a:pt x="853916" y="9716"/>
                  </a:cubicBezTo>
                  <a:cubicBezTo>
                    <a:pt x="854393" y="12192"/>
                    <a:pt x="855536" y="18193"/>
                    <a:pt x="856012" y="20574"/>
                  </a:cubicBezTo>
                  <a:cubicBezTo>
                    <a:pt x="878014" y="15716"/>
                    <a:pt x="900875" y="13525"/>
                    <a:pt x="922877" y="11525"/>
                  </a:cubicBezTo>
                  <a:cubicBezTo>
                    <a:pt x="922877" y="11525"/>
                    <a:pt x="926402" y="11240"/>
                    <a:pt x="928497" y="11049"/>
                  </a:cubicBezTo>
                  <a:cubicBezTo>
                    <a:pt x="928307" y="8668"/>
                    <a:pt x="927926" y="2572"/>
                    <a:pt x="927735" y="0"/>
                  </a:cubicBezTo>
                  <a:cubicBezTo>
                    <a:pt x="925735" y="191"/>
                    <a:pt x="922592" y="476"/>
                    <a:pt x="922592" y="476"/>
                  </a:cubicBezTo>
                  <a:close/>
                  <a:moveTo>
                    <a:pt x="808958" y="19907"/>
                  </a:moveTo>
                  <a:cubicBezTo>
                    <a:pt x="788099" y="25908"/>
                    <a:pt x="766572" y="32290"/>
                    <a:pt x="746188" y="40862"/>
                  </a:cubicBezTo>
                  <a:cubicBezTo>
                    <a:pt x="747141" y="43244"/>
                    <a:pt x="749427" y="48863"/>
                    <a:pt x="750284" y="51149"/>
                  </a:cubicBezTo>
                  <a:cubicBezTo>
                    <a:pt x="770001" y="42767"/>
                    <a:pt x="790766" y="36671"/>
                    <a:pt x="810863" y="30861"/>
                  </a:cubicBezTo>
                  <a:cubicBezTo>
                    <a:pt x="810863" y="30861"/>
                    <a:pt x="817245" y="29051"/>
                    <a:pt x="819626" y="28289"/>
                  </a:cubicBezTo>
                  <a:cubicBezTo>
                    <a:pt x="819055" y="26003"/>
                    <a:pt x="817531" y="20003"/>
                    <a:pt x="816959" y="17621"/>
                  </a:cubicBezTo>
                  <a:cubicBezTo>
                    <a:pt x="814483" y="18288"/>
                    <a:pt x="808958" y="19907"/>
                    <a:pt x="808958" y="19907"/>
                  </a:cubicBezTo>
                  <a:close/>
                  <a:moveTo>
                    <a:pt x="646462" y="92107"/>
                  </a:moveTo>
                  <a:cubicBezTo>
                    <a:pt x="647891" y="94202"/>
                    <a:pt x="651224" y="99346"/>
                    <a:pt x="652558" y="101346"/>
                  </a:cubicBezTo>
                  <a:cubicBezTo>
                    <a:pt x="674751" y="86963"/>
                    <a:pt x="695611" y="75248"/>
                    <a:pt x="716280" y="65723"/>
                  </a:cubicBezTo>
                  <a:cubicBezTo>
                    <a:pt x="715232" y="63532"/>
                    <a:pt x="712661" y="58007"/>
                    <a:pt x="711613" y="55721"/>
                  </a:cubicBezTo>
                  <a:cubicBezTo>
                    <a:pt x="690372" y="65532"/>
                    <a:pt x="669036" y="77438"/>
                    <a:pt x="646462" y="92107"/>
                  </a:cubicBezTo>
                  <a:close/>
                  <a:moveTo>
                    <a:pt x="572262" y="149162"/>
                  </a:moveTo>
                  <a:cubicBezTo>
                    <a:pt x="572262" y="149162"/>
                    <a:pt x="560642" y="158972"/>
                    <a:pt x="558260" y="160973"/>
                  </a:cubicBezTo>
                  <a:cubicBezTo>
                    <a:pt x="559880" y="162878"/>
                    <a:pt x="563785" y="167545"/>
                    <a:pt x="565404" y="169450"/>
                  </a:cubicBezTo>
                  <a:cubicBezTo>
                    <a:pt x="567785" y="167450"/>
                    <a:pt x="579120" y="157829"/>
                    <a:pt x="579120" y="157829"/>
                  </a:cubicBezTo>
                  <a:cubicBezTo>
                    <a:pt x="593122" y="145923"/>
                    <a:pt x="607600" y="133731"/>
                    <a:pt x="622363" y="122873"/>
                  </a:cubicBezTo>
                  <a:cubicBezTo>
                    <a:pt x="620839" y="120968"/>
                    <a:pt x="617220" y="116110"/>
                    <a:pt x="615696" y="114110"/>
                  </a:cubicBezTo>
                  <a:cubicBezTo>
                    <a:pt x="600551" y="125349"/>
                    <a:pt x="586169" y="137446"/>
                    <a:pt x="572262" y="149162"/>
                  </a:cubicBezTo>
                  <a:close/>
                  <a:moveTo>
                    <a:pt x="473202" y="232791"/>
                  </a:moveTo>
                  <a:cubicBezTo>
                    <a:pt x="474821" y="234696"/>
                    <a:pt x="478727" y="239363"/>
                    <a:pt x="480346" y="241268"/>
                  </a:cubicBezTo>
                  <a:cubicBezTo>
                    <a:pt x="483013" y="238982"/>
                    <a:pt x="534162" y="195929"/>
                    <a:pt x="536829" y="193643"/>
                  </a:cubicBezTo>
                  <a:cubicBezTo>
                    <a:pt x="535210" y="191738"/>
                    <a:pt x="531305" y="187071"/>
                    <a:pt x="529685" y="185166"/>
                  </a:cubicBezTo>
                  <a:cubicBezTo>
                    <a:pt x="527018" y="187357"/>
                    <a:pt x="475869" y="230505"/>
                    <a:pt x="473202" y="232791"/>
                  </a:cubicBezTo>
                  <a:close/>
                  <a:moveTo>
                    <a:pt x="388144" y="304514"/>
                  </a:moveTo>
                  <a:cubicBezTo>
                    <a:pt x="389763" y="306419"/>
                    <a:pt x="393668" y="311087"/>
                    <a:pt x="395288" y="312992"/>
                  </a:cubicBezTo>
                  <a:cubicBezTo>
                    <a:pt x="397955" y="310706"/>
                    <a:pt x="449104" y="267653"/>
                    <a:pt x="451771" y="265367"/>
                  </a:cubicBezTo>
                  <a:cubicBezTo>
                    <a:pt x="450152" y="263462"/>
                    <a:pt x="446246" y="258794"/>
                    <a:pt x="444627" y="256889"/>
                  </a:cubicBezTo>
                  <a:cubicBezTo>
                    <a:pt x="441865" y="259175"/>
                    <a:pt x="390811" y="302228"/>
                    <a:pt x="388144" y="304514"/>
                  </a:cubicBezTo>
                  <a:close/>
                  <a:moveTo>
                    <a:pt x="299180" y="369570"/>
                  </a:moveTo>
                  <a:cubicBezTo>
                    <a:pt x="300419" y="371666"/>
                    <a:pt x="303467" y="376904"/>
                    <a:pt x="304800" y="379095"/>
                  </a:cubicBezTo>
                  <a:cubicBezTo>
                    <a:pt x="324803" y="367570"/>
                    <a:pt x="344900" y="353568"/>
                    <a:pt x="366236" y="336614"/>
                  </a:cubicBezTo>
                  <a:cubicBezTo>
                    <a:pt x="364617" y="334613"/>
                    <a:pt x="360807" y="329851"/>
                    <a:pt x="359283" y="328041"/>
                  </a:cubicBezTo>
                  <a:cubicBezTo>
                    <a:pt x="338423" y="344710"/>
                    <a:pt x="318802" y="358331"/>
                    <a:pt x="299180" y="369570"/>
                  </a:cubicBezTo>
                  <a:close/>
                  <a:moveTo>
                    <a:pt x="208026" y="412814"/>
                  </a:moveTo>
                  <a:cubicBezTo>
                    <a:pt x="208026" y="412814"/>
                    <a:pt x="201835" y="415195"/>
                    <a:pt x="199454" y="416147"/>
                  </a:cubicBezTo>
                  <a:cubicBezTo>
                    <a:pt x="200216" y="418433"/>
                    <a:pt x="202216" y="424148"/>
                    <a:pt x="203073" y="426625"/>
                  </a:cubicBezTo>
                  <a:cubicBezTo>
                    <a:pt x="205454" y="425672"/>
                    <a:pt x="210884" y="423577"/>
                    <a:pt x="210884" y="423577"/>
                  </a:cubicBezTo>
                  <a:cubicBezTo>
                    <a:pt x="231172" y="415766"/>
                    <a:pt x="252127" y="407575"/>
                    <a:pt x="271653" y="397193"/>
                  </a:cubicBezTo>
                  <a:cubicBezTo>
                    <a:pt x="270510" y="394907"/>
                    <a:pt x="267748" y="389477"/>
                    <a:pt x="266700" y="387287"/>
                  </a:cubicBezTo>
                  <a:cubicBezTo>
                    <a:pt x="247745" y="397383"/>
                    <a:pt x="227552" y="405289"/>
                    <a:pt x="208026" y="412814"/>
                  </a:cubicBezTo>
                  <a:close/>
                  <a:moveTo>
                    <a:pt x="96393" y="441484"/>
                  </a:moveTo>
                  <a:cubicBezTo>
                    <a:pt x="96393" y="441484"/>
                    <a:pt x="94202" y="441865"/>
                    <a:pt x="92488" y="442150"/>
                  </a:cubicBezTo>
                  <a:cubicBezTo>
                    <a:pt x="92869" y="444532"/>
                    <a:pt x="93726" y="450628"/>
                    <a:pt x="94107" y="453104"/>
                  </a:cubicBezTo>
                  <a:cubicBezTo>
                    <a:pt x="95536" y="452819"/>
                    <a:pt x="97250" y="452533"/>
                    <a:pt x="97250" y="452533"/>
                  </a:cubicBezTo>
                  <a:cubicBezTo>
                    <a:pt x="120396" y="448628"/>
                    <a:pt x="144209" y="444437"/>
                    <a:pt x="166973" y="437388"/>
                  </a:cubicBezTo>
                  <a:cubicBezTo>
                    <a:pt x="166307" y="435007"/>
                    <a:pt x="164592" y="429101"/>
                    <a:pt x="164021" y="426720"/>
                  </a:cubicBezTo>
                  <a:cubicBezTo>
                    <a:pt x="141923" y="433578"/>
                    <a:pt x="118777" y="437674"/>
                    <a:pt x="96393" y="441484"/>
                  </a:cubicBezTo>
                  <a:close/>
                  <a:moveTo>
                    <a:pt x="45053" y="447294"/>
                  </a:moveTo>
                  <a:cubicBezTo>
                    <a:pt x="45053" y="447294"/>
                    <a:pt x="3524" y="449104"/>
                    <a:pt x="0" y="449294"/>
                  </a:cubicBezTo>
                  <a:cubicBezTo>
                    <a:pt x="0" y="451675"/>
                    <a:pt x="0" y="457771"/>
                    <a:pt x="0" y="460343"/>
                  </a:cubicBezTo>
                  <a:cubicBezTo>
                    <a:pt x="3524" y="460153"/>
                    <a:pt x="46768" y="458343"/>
                    <a:pt x="46768" y="458343"/>
                  </a:cubicBezTo>
                  <a:cubicBezTo>
                    <a:pt x="46768" y="458343"/>
                    <a:pt x="53912" y="457867"/>
                    <a:pt x="56674" y="457676"/>
                  </a:cubicBezTo>
                  <a:cubicBezTo>
                    <a:pt x="56483" y="455200"/>
                    <a:pt x="55912" y="449104"/>
                    <a:pt x="55626" y="446627"/>
                  </a:cubicBezTo>
                  <a:cubicBezTo>
                    <a:pt x="52959" y="446723"/>
                    <a:pt x="45053" y="447294"/>
                    <a:pt x="45053" y="447294"/>
                  </a:cubicBezTo>
                  <a:close/>
                </a:path>
              </a:pathLst>
            </a:custGeom>
            <a:solidFill>
              <a:srgbClr val="E4E4E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86" name="Freeform 85">
              <a:extLst>
                <a:ext uri="{FF2B5EF4-FFF2-40B4-BE49-F238E27FC236}">
                  <a16:creationId xmlns:a16="http://schemas.microsoft.com/office/drawing/2014/main" id="{E53B9F87-1DD8-E741-BDD8-D098ED1AA06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000766" y="1365902"/>
              <a:ext cx="971645" cy="463105"/>
            </a:xfrm>
            <a:custGeom>
              <a:avLst/>
              <a:gdLst>
                <a:gd name="connsiteX0" fmla="*/ 685514 w 971645"/>
                <a:gd name="connsiteY0" fmla="*/ 98488 h 463105"/>
                <a:gd name="connsiteX1" fmla="*/ 456724 w 971645"/>
                <a:gd name="connsiteY1" fmla="*/ 291370 h 463105"/>
                <a:gd name="connsiteX2" fmla="*/ 0 w 971645"/>
                <a:gd name="connsiteY2" fmla="*/ 451675 h 463105"/>
                <a:gd name="connsiteX3" fmla="*/ 0 w 971645"/>
                <a:gd name="connsiteY3" fmla="*/ 463105 h 463105"/>
                <a:gd name="connsiteX4" fmla="*/ 464058 w 971645"/>
                <a:gd name="connsiteY4" fmla="*/ 300133 h 463105"/>
                <a:gd name="connsiteX5" fmla="*/ 692849 w 971645"/>
                <a:gd name="connsiteY5" fmla="*/ 107251 h 463105"/>
                <a:gd name="connsiteX6" fmla="*/ 971550 w 971645"/>
                <a:gd name="connsiteY6" fmla="*/ 11430 h 463105"/>
                <a:gd name="connsiteX7" fmla="*/ 971645 w 971645"/>
                <a:gd name="connsiteY7" fmla="*/ 11430 h 463105"/>
                <a:gd name="connsiteX8" fmla="*/ 971645 w 971645"/>
                <a:gd name="connsiteY8" fmla="*/ 0 h 463105"/>
                <a:gd name="connsiteX9" fmla="*/ 971550 w 971645"/>
                <a:gd name="connsiteY9" fmla="*/ 0 h 463105"/>
                <a:gd name="connsiteX10" fmla="*/ 685514 w 971645"/>
                <a:gd name="connsiteY10" fmla="*/ 98488 h 463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71645" h="463105">
                  <a:moveTo>
                    <a:pt x="685514" y="98488"/>
                  </a:moveTo>
                  <a:lnTo>
                    <a:pt x="456724" y="291370"/>
                  </a:lnTo>
                  <a:cubicBezTo>
                    <a:pt x="334137" y="394716"/>
                    <a:pt x="171926" y="451675"/>
                    <a:pt x="0" y="451675"/>
                  </a:cubicBezTo>
                  <a:lnTo>
                    <a:pt x="0" y="463105"/>
                  </a:lnTo>
                  <a:cubicBezTo>
                    <a:pt x="174593" y="463105"/>
                    <a:pt x="339376" y="405193"/>
                    <a:pt x="464058" y="300133"/>
                  </a:cubicBezTo>
                  <a:lnTo>
                    <a:pt x="692849" y="107251"/>
                  </a:lnTo>
                  <a:cubicBezTo>
                    <a:pt x="766096" y="45434"/>
                    <a:pt x="865061" y="11430"/>
                    <a:pt x="971550" y="11430"/>
                  </a:cubicBezTo>
                  <a:cubicBezTo>
                    <a:pt x="971550" y="11430"/>
                    <a:pt x="971550" y="11430"/>
                    <a:pt x="971645" y="11430"/>
                  </a:cubicBezTo>
                  <a:lnTo>
                    <a:pt x="971645" y="0"/>
                  </a:lnTo>
                  <a:cubicBezTo>
                    <a:pt x="971645" y="0"/>
                    <a:pt x="971645" y="0"/>
                    <a:pt x="971550" y="0"/>
                  </a:cubicBezTo>
                  <a:cubicBezTo>
                    <a:pt x="862394" y="0"/>
                    <a:pt x="760762" y="34957"/>
                    <a:pt x="685514" y="98488"/>
                  </a:cubicBezTo>
                  <a:close/>
                </a:path>
              </a:pathLst>
            </a:custGeom>
            <a:solidFill>
              <a:srgbClr val="E4E4E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87" name="Freeform 86">
              <a:extLst>
                <a:ext uri="{FF2B5EF4-FFF2-40B4-BE49-F238E27FC236}">
                  <a16:creationId xmlns:a16="http://schemas.microsoft.com/office/drawing/2014/main" id="{BF385A0B-BEF5-FF4D-9B7B-8DF839C702E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000766" y="1090153"/>
              <a:ext cx="971645" cy="463105"/>
            </a:xfrm>
            <a:custGeom>
              <a:avLst/>
              <a:gdLst>
                <a:gd name="connsiteX0" fmla="*/ 507397 w 971645"/>
                <a:gd name="connsiteY0" fmla="*/ 162973 h 463105"/>
                <a:gd name="connsiteX1" fmla="*/ 278606 w 971645"/>
                <a:gd name="connsiteY1" fmla="*/ 355854 h 463105"/>
                <a:gd name="connsiteX2" fmla="*/ 0 w 971645"/>
                <a:gd name="connsiteY2" fmla="*/ 451676 h 463105"/>
                <a:gd name="connsiteX3" fmla="*/ 0 w 971645"/>
                <a:gd name="connsiteY3" fmla="*/ 463106 h 463105"/>
                <a:gd name="connsiteX4" fmla="*/ 286036 w 971645"/>
                <a:gd name="connsiteY4" fmla="*/ 364617 h 463105"/>
                <a:gd name="connsiteX5" fmla="*/ 514826 w 971645"/>
                <a:gd name="connsiteY5" fmla="*/ 171736 h 463105"/>
                <a:gd name="connsiteX6" fmla="*/ 971550 w 971645"/>
                <a:gd name="connsiteY6" fmla="*/ 11430 h 463105"/>
                <a:gd name="connsiteX7" fmla="*/ 971645 w 971645"/>
                <a:gd name="connsiteY7" fmla="*/ 11430 h 463105"/>
                <a:gd name="connsiteX8" fmla="*/ 971645 w 971645"/>
                <a:gd name="connsiteY8" fmla="*/ 0 h 463105"/>
                <a:gd name="connsiteX9" fmla="*/ 971550 w 971645"/>
                <a:gd name="connsiteY9" fmla="*/ 0 h 463105"/>
                <a:gd name="connsiteX10" fmla="*/ 507397 w 971645"/>
                <a:gd name="connsiteY10" fmla="*/ 162973 h 463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71645" h="463105">
                  <a:moveTo>
                    <a:pt x="507397" y="162973"/>
                  </a:moveTo>
                  <a:lnTo>
                    <a:pt x="278606" y="355854"/>
                  </a:lnTo>
                  <a:cubicBezTo>
                    <a:pt x="205359" y="417576"/>
                    <a:pt x="106394" y="451676"/>
                    <a:pt x="0" y="451676"/>
                  </a:cubicBezTo>
                  <a:lnTo>
                    <a:pt x="0" y="463106"/>
                  </a:lnTo>
                  <a:cubicBezTo>
                    <a:pt x="109157" y="463106"/>
                    <a:pt x="210693" y="428149"/>
                    <a:pt x="286036" y="364617"/>
                  </a:cubicBezTo>
                  <a:lnTo>
                    <a:pt x="514826" y="171736"/>
                  </a:lnTo>
                  <a:cubicBezTo>
                    <a:pt x="637413" y="68390"/>
                    <a:pt x="799624" y="11430"/>
                    <a:pt x="971550" y="11430"/>
                  </a:cubicBezTo>
                  <a:cubicBezTo>
                    <a:pt x="971550" y="11430"/>
                    <a:pt x="971550" y="11430"/>
                    <a:pt x="971645" y="11430"/>
                  </a:cubicBezTo>
                  <a:lnTo>
                    <a:pt x="971645" y="0"/>
                  </a:lnTo>
                  <a:cubicBezTo>
                    <a:pt x="971645" y="0"/>
                    <a:pt x="971645" y="0"/>
                    <a:pt x="971550" y="0"/>
                  </a:cubicBezTo>
                  <a:cubicBezTo>
                    <a:pt x="796957" y="0"/>
                    <a:pt x="632079" y="57912"/>
                    <a:pt x="507397" y="162973"/>
                  </a:cubicBezTo>
                  <a:close/>
                </a:path>
              </a:pathLst>
            </a:custGeom>
            <a:solidFill>
              <a:srgbClr val="E4E4E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</p:grpSp>
      <p:grpSp>
        <p:nvGrpSpPr>
          <p:cNvPr id="91" name="Group 90">
            <a:extLst>
              <a:ext uri="{FF2B5EF4-FFF2-40B4-BE49-F238E27FC236}">
                <a16:creationId xmlns:a16="http://schemas.microsoft.com/office/drawing/2014/main" id="{DB39C2F9-83C3-6940-8002-C1F4C08C8454}"/>
              </a:ext>
            </a:extLst>
          </p:cNvPr>
          <p:cNvGrpSpPr/>
          <p:nvPr/>
        </p:nvGrpSpPr>
        <p:grpSpPr>
          <a:xfrm rot="10800000" flipH="1">
            <a:off x="3170853" y="5328936"/>
            <a:ext cx="1855331" cy="929163"/>
            <a:chOff x="3251818" y="1389545"/>
            <a:chExt cx="2062588" cy="1032959"/>
          </a:xfrm>
        </p:grpSpPr>
        <p:grpSp>
          <p:nvGrpSpPr>
            <p:cNvPr id="92" name="Group 91">
              <a:extLst>
                <a:ext uri="{FF2B5EF4-FFF2-40B4-BE49-F238E27FC236}">
                  <a16:creationId xmlns:a16="http://schemas.microsoft.com/office/drawing/2014/main" id="{18816D43-C215-9B4F-8CC4-5F26B78D4E47}"/>
                </a:ext>
              </a:extLst>
            </p:cNvPr>
            <p:cNvGrpSpPr>
              <a:grpSpLocks noChangeAspect="1"/>
            </p:cNvGrpSpPr>
            <p:nvPr/>
          </p:nvGrpSpPr>
          <p:grpSpPr>
            <a:xfrm rot="16200000">
              <a:off x="3251644" y="1389719"/>
              <a:ext cx="1032959" cy="1032611"/>
              <a:chOff x="2877933" y="261637"/>
              <a:chExt cx="495803" cy="495636"/>
            </a:xfrm>
          </p:grpSpPr>
          <p:grpSp>
            <p:nvGrpSpPr>
              <p:cNvPr id="98" name="Graphic 4">
                <a:extLst>
                  <a:ext uri="{FF2B5EF4-FFF2-40B4-BE49-F238E27FC236}">
                    <a16:creationId xmlns:a16="http://schemas.microsoft.com/office/drawing/2014/main" id="{2C9A487C-17B3-6B47-B484-9AD5B0184D23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2878002" y="261637"/>
                <a:ext cx="495734" cy="495636"/>
                <a:chOff x="2878002" y="261637"/>
                <a:chExt cx="495734" cy="495636"/>
              </a:xfrm>
            </p:grpSpPr>
            <p:sp>
              <p:nvSpPr>
                <p:cNvPr id="100" name="Freeform 99">
                  <a:extLst>
                    <a:ext uri="{FF2B5EF4-FFF2-40B4-BE49-F238E27FC236}">
                      <a16:creationId xmlns:a16="http://schemas.microsoft.com/office/drawing/2014/main" id="{4E62E86E-CD79-B241-AC2A-78215D04ADEB}"/>
                    </a:ext>
                  </a:extLst>
                </p:cNvPr>
                <p:cNvSpPr/>
                <p:nvPr/>
              </p:nvSpPr>
              <p:spPr>
                <a:xfrm>
                  <a:off x="2878002" y="261637"/>
                  <a:ext cx="495734" cy="495568"/>
                </a:xfrm>
                <a:custGeom>
                  <a:avLst/>
                  <a:gdLst>
                    <a:gd name="connsiteX0" fmla="*/ 0 w 495734"/>
                    <a:gd name="connsiteY0" fmla="*/ 0 h 495568"/>
                    <a:gd name="connsiteX1" fmla="*/ 0 w 495734"/>
                    <a:gd name="connsiteY1" fmla="*/ 233999 h 495568"/>
                    <a:gd name="connsiteX2" fmla="*/ 261657 w 495734"/>
                    <a:gd name="connsiteY2" fmla="*/ 495568 h 495568"/>
                    <a:gd name="connsiteX3" fmla="*/ 495734 w 495734"/>
                    <a:gd name="connsiteY3" fmla="*/ 495568 h 495568"/>
                    <a:gd name="connsiteX4" fmla="*/ 0 w 495734"/>
                    <a:gd name="connsiteY4" fmla="*/ 0 h 4955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95734" h="495568">
                      <a:moveTo>
                        <a:pt x="0" y="0"/>
                      </a:moveTo>
                      <a:lnTo>
                        <a:pt x="0" y="233999"/>
                      </a:lnTo>
                      <a:cubicBezTo>
                        <a:pt x="144239" y="233999"/>
                        <a:pt x="261657" y="351309"/>
                        <a:pt x="261657" y="495568"/>
                      </a:cubicBezTo>
                      <a:lnTo>
                        <a:pt x="495734" y="495568"/>
                      </a:lnTo>
                      <a:cubicBezTo>
                        <a:pt x="495734" y="222351"/>
                        <a:pt x="273309" y="0"/>
                        <a:pt x="0" y="0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 w="68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 dirty="0"/>
                </a:p>
              </p:txBody>
            </p:sp>
            <p:sp>
              <p:nvSpPr>
                <p:cNvPr id="101" name="Freeform 100">
                  <a:extLst>
                    <a:ext uri="{FF2B5EF4-FFF2-40B4-BE49-F238E27FC236}">
                      <a16:creationId xmlns:a16="http://schemas.microsoft.com/office/drawing/2014/main" id="{D2DB338C-373E-D745-A12A-28629C5344AB}"/>
                    </a:ext>
                  </a:extLst>
                </p:cNvPr>
                <p:cNvSpPr/>
                <p:nvPr/>
              </p:nvSpPr>
              <p:spPr>
                <a:xfrm>
                  <a:off x="2878002" y="274733"/>
                  <a:ext cx="482703" cy="482541"/>
                </a:xfrm>
                <a:custGeom>
                  <a:avLst/>
                  <a:gdLst>
                    <a:gd name="connsiteX0" fmla="*/ 0 w 482703"/>
                    <a:gd name="connsiteY0" fmla="*/ 199606 h 482541"/>
                    <a:gd name="connsiteX1" fmla="*/ 0 w 482703"/>
                    <a:gd name="connsiteY1" fmla="*/ 207877 h 482541"/>
                    <a:gd name="connsiteX2" fmla="*/ 274757 w 482703"/>
                    <a:gd name="connsiteY2" fmla="*/ 482541 h 482541"/>
                    <a:gd name="connsiteX3" fmla="*/ 283031 w 482703"/>
                    <a:gd name="connsiteY3" fmla="*/ 482541 h 482541"/>
                    <a:gd name="connsiteX4" fmla="*/ 0 w 482703"/>
                    <a:gd name="connsiteY4" fmla="*/ 199606 h 482541"/>
                    <a:gd name="connsiteX5" fmla="*/ 0 w 482703"/>
                    <a:gd name="connsiteY5" fmla="*/ 0 h 482541"/>
                    <a:gd name="connsiteX6" fmla="*/ 0 w 482703"/>
                    <a:gd name="connsiteY6" fmla="*/ 8271 h 482541"/>
                    <a:gd name="connsiteX7" fmla="*/ 474429 w 482703"/>
                    <a:gd name="connsiteY7" fmla="*/ 482541 h 482541"/>
                    <a:gd name="connsiteX8" fmla="*/ 482703 w 482703"/>
                    <a:gd name="connsiteY8" fmla="*/ 482541 h 482541"/>
                    <a:gd name="connsiteX9" fmla="*/ 0 w 482703"/>
                    <a:gd name="connsiteY9" fmla="*/ 0 h 4825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482703" h="482541">
                      <a:moveTo>
                        <a:pt x="0" y="199606"/>
                      </a:moveTo>
                      <a:lnTo>
                        <a:pt x="0" y="207877"/>
                      </a:lnTo>
                      <a:cubicBezTo>
                        <a:pt x="151478" y="207877"/>
                        <a:pt x="274757" y="331114"/>
                        <a:pt x="274757" y="482541"/>
                      </a:cubicBezTo>
                      <a:lnTo>
                        <a:pt x="283031" y="482541"/>
                      </a:lnTo>
                      <a:cubicBezTo>
                        <a:pt x="282962" y="326496"/>
                        <a:pt x="156029" y="199606"/>
                        <a:pt x="0" y="199606"/>
                      </a:cubicBezTo>
                      <a:close/>
                      <a:moveTo>
                        <a:pt x="0" y="0"/>
                      </a:moveTo>
                      <a:lnTo>
                        <a:pt x="0" y="8271"/>
                      </a:lnTo>
                      <a:cubicBezTo>
                        <a:pt x="261588" y="8271"/>
                        <a:pt x="474429" y="221041"/>
                        <a:pt x="474429" y="482541"/>
                      </a:cubicBezTo>
                      <a:lnTo>
                        <a:pt x="482703" y="482541"/>
                      </a:lnTo>
                      <a:cubicBezTo>
                        <a:pt x="482634" y="216492"/>
                        <a:pt x="266138" y="0"/>
                        <a:pt x="0" y="0"/>
                      </a:cubicBezTo>
                      <a:close/>
                    </a:path>
                  </a:pathLst>
                </a:custGeom>
                <a:solidFill>
                  <a:srgbClr val="E4E4E4"/>
                </a:solidFill>
                <a:ln w="68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 dirty="0"/>
                </a:p>
              </p:txBody>
            </p:sp>
          </p:grpSp>
          <p:sp>
            <p:nvSpPr>
              <p:cNvPr id="99" name="Freeform 98">
                <a:extLst>
                  <a:ext uri="{FF2B5EF4-FFF2-40B4-BE49-F238E27FC236}">
                    <a16:creationId xmlns:a16="http://schemas.microsoft.com/office/drawing/2014/main" id="{EE8FA479-1FD8-F348-8581-90D498A3D546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877933" y="373295"/>
                <a:ext cx="384038" cy="366334"/>
              </a:xfrm>
              <a:custGeom>
                <a:avLst/>
                <a:gdLst>
                  <a:gd name="connsiteX0" fmla="*/ 359493 w 384038"/>
                  <a:gd name="connsiteY0" fmla="*/ 247371 h 366334"/>
                  <a:gd name="connsiteX1" fmla="*/ 351978 w 384038"/>
                  <a:gd name="connsiteY1" fmla="*/ 249921 h 366334"/>
                  <a:gd name="connsiteX2" fmla="*/ 351633 w 384038"/>
                  <a:gd name="connsiteY2" fmla="*/ 250059 h 366334"/>
                  <a:gd name="connsiteX3" fmla="*/ 351771 w 384038"/>
                  <a:gd name="connsiteY3" fmla="*/ 250403 h 366334"/>
                  <a:gd name="connsiteX4" fmla="*/ 366526 w 384038"/>
                  <a:gd name="connsiteY4" fmla="*/ 298650 h 366334"/>
                  <a:gd name="connsiteX5" fmla="*/ 370525 w 384038"/>
                  <a:gd name="connsiteY5" fmla="*/ 298099 h 366334"/>
                  <a:gd name="connsiteX6" fmla="*/ 374317 w 384038"/>
                  <a:gd name="connsiteY6" fmla="*/ 297203 h 366334"/>
                  <a:gd name="connsiteX7" fmla="*/ 359493 w 384038"/>
                  <a:gd name="connsiteY7" fmla="*/ 247371 h 366334"/>
                  <a:gd name="connsiteX8" fmla="*/ 73360 w 384038"/>
                  <a:gd name="connsiteY8" fmla="*/ 7030 h 366334"/>
                  <a:gd name="connsiteX9" fmla="*/ 71843 w 384038"/>
                  <a:gd name="connsiteY9" fmla="*/ 15163 h 366334"/>
                  <a:gd name="connsiteX10" fmla="*/ 72188 w 384038"/>
                  <a:gd name="connsiteY10" fmla="*/ 15232 h 366334"/>
                  <a:gd name="connsiteX11" fmla="*/ 120934 w 384038"/>
                  <a:gd name="connsiteY11" fmla="*/ 28190 h 366334"/>
                  <a:gd name="connsiteX12" fmla="*/ 121279 w 384038"/>
                  <a:gd name="connsiteY12" fmla="*/ 28328 h 366334"/>
                  <a:gd name="connsiteX13" fmla="*/ 123830 w 384038"/>
                  <a:gd name="connsiteY13" fmla="*/ 20815 h 366334"/>
                  <a:gd name="connsiteX14" fmla="*/ 73705 w 384038"/>
                  <a:gd name="connsiteY14" fmla="*/ 7168 h 366334"/>
                  <a:gd name="connsiteX15" fmla="*/ 73360 w 384038"/>
                  <a:gd name="connsiteY15" fmla="*/ 7030 h 366334"/>
                  <a:gd name="connsiteX16" fmla="*/ 379626 w 384038"/>
                  <a:gd name="connsiteY16" fmla="*/ 322567 h 366334"/>
                  <a:gd name="connsiteX17" fmla="*/ 374869 w 384038"/>
                  <a:gd name="connsiteY17" fmla="*/ 322981 h 366334"/>
                  <a:gd name="connsiteX18" fmla="*/ 371421 w 384038"/>
                  <a:gd name="connsiteY18" fmla="*/ 323532 h 366334"/>
                  <a:gd name="connsiteX19" fmla="*/ 371490 w 384038"/>
                  <a:gd name="connsiteY19" fmla="*/ 323877 h 366334"/>
                  <a:gd name="connsiteX20" fmla="*/ 375972 w 384038"/>
                  <a:gd name="connsiteY20" fmla="*/ 366334 h 366334"/>
                  <a:gd name="connsiteX21" fmla="*/ 384039 w 384038"/>
                  <a:gd name="connsiteY21" fmla="*/ 366334 h 366334"/>
                  <a:gd name="connsiteX22" fmla="*/ 379626 w 384038"/>
                  <a:gd name="connsiteY22" fmla="*/ 322567 h 366334"/>
                  <a:gd name="connsiteX23" fmla="*/ 69 w 384038"/>
                  <a:gd name="connsiteY23" fmla="*/ 8064 h 366334"/>
                  <a:gd name="connsiteX24" fmla="*/ 46678 w 384038"/>
                  <a:gd name="connsiteY24" fmla="*/ 11166 h 366334"/>
                  <a:gd name="connsiteX25" fmla="*/ 47367 w 384038"/>
                  <a:gd name="connsiteY25" fmla="*/ 8202 h 366334"/>
                  <a:gd name="connsiteX26" fmla="*/ 47988 w 384038"/>
                  <a:gd name="connsiteY26" fmla="*/ 3308 h 366334"/>
                  <a:gd name="connsiteX27" fmla="*/ 0 w 384038"/>
                  <a:gd name="connsiteY27" fmla="*/ 0 h 366334"/>
                  <a:gd name="connsiteX28" fmla="*/ 0 w 384038"/>
                  <a:gd name="connsiteY28" fmla="*/ 8064 h 366334"/>
                  <a:gd name="connsiteX29" fmla="*/ 148238 w 384038"/>
                  <a:gd name="connsiteY29" fmla="*/ 29569 h 366334"/>
                  <a:gd name="connsiteX30" fmla="*/ 146031 w 384038"/>
                  <a:gd name="connsiteY30" fmla="*/ 33980 h 366334"/>
                  <a:gd name="connsiteX31" fmla="*/ 144790 w 384038"/>
                  <a:gd name="connsiteY31" fmla="*/ 37081 h 366334"/>
                  <a:gd name="connsiteX32" fmla="*/ 147893 w 384038"/>
                  <a:gd name="connsiteY32" fmla="*/ 38460 h 366334"/>
                  <a:gd name="connsiteX33" fmla="*/ 190227 w 384038"/>
                  <a:gd name="connsiteY33" fmla="*/ 59895 h 366334"/>
                  <a:gd name="connsiteX34" fmla="*/ 194570 w 384038"/>
                  <a:gd name="connsiteY34" fmla="*/ 53279 h 366334"/>
                  <a:gd name="connsiteX35" fmla="*/ 150444 w 384038"/>
                  <a:gd name="connsiteY35" fmla="*/ 30603 h 366334"/>
                  <a:gd name="connsiteX36" fmla="*/ 148238 w 384038"/>
                  <a:gd name="connsiteY36" fmla="*/ 29569 h 366334"/>
                  <a:gd name="connsiteX37" fmla="*/ 276342 w 384038"/>
                  <a:gd name="connsiteY37" fmla="*/ 116758 h 366334"/>
                  <a:gd name="connsiteX38" fmla="*/ 273240 w 384038"/>
                  <a:gd name="connsiteY38" fmla="*/ 119309 h 366334"/>
                  <a:gd name="connsiteX39" fmla="*/ 270206 w 384038"/>
                  <a:gd name="connsiteY39" fmla="*/ 122272 h 366334"/>
                  <a:gd name="connsiteX40" fmla="*/ 276618 w 384038"/>
                  <a:gd name="connsiteY40" fmla="*/ 129440 h 366334"/>
                  <a:gd name="connsiteX41" fmla="*/ 302818 w 384038"/>
                  <a:gd name="connsiteY41" fmla="*/ 161215 h 366334"/>
                  <a:gd name="connsiteX42" fmla="*/ 308058 w 384038"/>
                  <a:gd name="connsiteY42" fmla="*/ 157837 h 366334"/>
                  <a:gd name="connsiteX43" fmla="*/ 309437 w 384038"/>
                  <a:gd name="connsiteY43" fmla="*/ 156872 h 366334"/>
                  <a:gd name="connsiteX44" fmla="*/ 282341 w 384038"/>
                  <a:gd name="connsiteY44" fmla="*/ 123513 h 366334"/>
                  <a:gd name="connsiteX45" fmla="*/ 276342 w 384038"/>
                  <a:gd name="connsiteY45" fmla="*/ 116758 h 366334"/>
                  <a:gd name="connsiteX46" fmla="*/ 320676 w 384038"/>
                  <a:gd name="connsiteY46" fmla="*/ 179962 h 366334"/>
                  <a:gd name="connsiteX47" fmla="*/ 317366 w 384038"/>
                  <a:gd name="connsiteY47" fmla="*/ 182030 h 366334"/>
                  <a:gd name="connsiteX48" fmla="*/ 317573 w 384038"/>
                  <a:gd name="connsiteY48" fmla="*/ 182306 h 366334"/>
                  <a:gd name="connsiteX49" fmla="*/ 341705 w 384038"/>
                  <a:gd name="connsiteY49" fmla="*/ 226624 h 366334"/>
                  <a:gd name="connsiteX50" fmla="*/ 347634 w 384038"/>
                  <a:gd name="connsiteY50" fmla="*/ 224281 h 366334"/>
                  <a:gd name="connsiteX51" fmla="*/ 349013 w 384038"/>
                  <a:gd name="connsiteY51" fmla="*/ 223660 h 366334"/>
                  <a:gd name="connsiteX52" fmla="*/ 324537 w 384038"/>
                  <a:gd name="connsiteY52" fmla="*/ 177826 h 366334"/>
                  <a:gd name="connsiteX53" fmla="*/ 320676 w 384038"/>
                  <a:gd name="connsiteY53" fmla="*/ 179962 h 366334"/>
                  <a:gd name="connsiteX54" fmla="*/ 216772 w 384038"/>
                  <a:gd name="connsiteY54" fmla="*/ 66581 h 366334"/>
                  <a:gd name="connsiteX55" fmla="*/ 212014 w 384038"/>
                  <a:gd name="connsiteY55" fmla="*/ 72922 h 366334"/>
                  <a:gd name="connsiteX56" fmla="*/ 211807 w 384038"/>
                  <a:gd name="connsiteY56" fmla="*/ 73198 h 366334"/>
                  <a:gd name="connsiteX57" fmla="*/ 222081 w 384038"/>
                  <a:gd name="connsiteY57" fmla="*/ 80780 h 366334"/>
                  <a:gd name="connsiteX58" fmla="*/ 251590 w 384038"/>
                  <a:gd name="connsiteY58" fmla="*/ 104765 h 366334"/>
                  <a:gd name="connsiteX59" fmla="*/ 257175 w 384038"/>
                  <a:gd name="connsiteY59" fmla="*/ 99114 h 366334"/>
                  <a:gd name="connsiteX60" fmla="*/ 226631 w 384038"/>
                  <a:gd name="connsiteY60" fmla="*/ 73887 h 366334"/>
                  <a:gd name="connsiteX61" fmla="*/ 216772 w 384038"/>
                  <a:gd name="connsiteY61" fmla="*/ 66581 h 3663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</a:cxnLst>
                <a:rect l="l" t="t" r="r" b="b"/>
                <a:pathLst>
                  <a:path w="384038" h="366334">
                    <a:moveTo>
                      <a:pt x="359493" y="247371"/>
                    </a:moveTo>
                    <a:cubicBezTo>
                      <a:pt x="359080" y="247164"/>
                      <a:pt x="351978" y="249921"/>
                      <a:pt x="351978" y="249921"/>
                    </a:cubicBezTo>
                    <a:lnTo>
                      <a:pt x="351633" y="250059"/>
                    </a:lnTo>
                    <a:lnTo>
                      <a:pt x="351771" y="250403"/>
                    </a:lnTo>
                    <a:cubicBezTo>
                      <a:pt x="358252" y="267083"/>
                      <a:pt x="363010" y="282798"/>
                      <a:pt x="366526" y="298650"/>
                    </a:cubicBezTo>
                    <a:cubicBezTo>
                      <a:pt x="366940" y="298926"/>
                      <a:pt x="370525" y="298099"/>
                      <a:pt x="370525" y="298099"/>
                    </a:cubicBezTo>
                    <a:lnTo>
                      <a:pt x="374317" y="297203"/>
                    </a:lnTo>
                    <a:cubicBezTo>
                      <a:pt x="371008" y="280592"/>
                      <a:pt x="366043" y="264464"/>
                      <a:pt x="359493" y="247371"/>
                    </a:cubicBezTo>
                    <a:close/>
                    <a:moveTo>
                      <a:pt x="73360" y="7030"/>
                    </a:moveTo>
                    <a:lnTo>
                      <a:pt x="71843" y="15163"/>
                    </a:lnTo>
                    <a:lnTo>
                      <a:pt x="72188" y="15232"/>
                    </a:lnTo>
                    <a:cubicBezTo>
                      <a:pt x="89287" y="18610"/>
                      <a:pt x="105697" y="22952"/>
                      <a:pt x="120934" y="28190"/>
                    </a:cubicBezTo>
                    <a:lnTo>
                      <a:pt x="121279" y="28328"/>
                    </a:lnTo>
                    <a:lnTo>
                      <a:pt x="123830" y="20815"/>
                    </a:lnTo>
                    <a:cubicBezTo>
                      <a:pt x="108041" y="15094"/>
                      <a:pt x="91287" y="10614"/>
                      <a:pt x="73705" y="7168"/>
                    </a:cubicBezTo>
                    <a:lnTo>
                      <a:pt x="73360" y="7030"/>
                    </a:lnTo>
                    <a:close/>
                    <a:moveTo>
                      <a:pt x="379626" y="322567"/>
                    </a:moveTo>
                    <a:cubicBezTo>
                      <a:pt x="379212" y="322292"/>
                      <a:pt x="374869" y="322981"/>
                      <a:pt x="374869" y="322981"/>
                    </a:cubicBezTo>
                    <a:lnTo>
                      <a:pt x="371421" y="323532"/>
                    </a:lnTo>
                    <a:lnTo>
                      <a:pt x="371490" y="323877"/>
                    </a:lnTo>
                    <a:cubicBezTo>
                      <a:pt x="373903" y="337593"/>
                      <a:pt x="375351" y="351860"/>
                      <a:pt x="375972" y="366334"/>
                    </a:cubicBezTo>
                    <a:lnTo>
                      <a:pt x="384039" y="366334"/>
                    </a:lnTo>
                    <a:cubicBezTo>
                      <a:pt x="383625" y="351309"/>
                      <a:pt x="382108" y="336628"/>
                      <a:pt x="379626" y="322567"/>
                    </a:cubicBezTo>
                    <a:close/>
                    <a:moveTo>
                      <a:pt x="69" y="8064"/>
                    </a:moveTo>
                    <a:cubicBezTo>
                      <a:pt x="15100" y="8409"/>
                      <a:pt x="30613" y="9305"/>
                      <a:pt x="46678" y="11166"/>
                    </a:cubicBezTo>
                    <a:cubicBezTo>
                      <a:pt x="47091" y="10890"/>
                      <a:pt x="47367" y="8202"/>
                      <a:pt x="47367" y="8202"/>
                    </a:cubicBezTo>
                    <a:lnTo>
                      <a:pt x="47988" y="3308"/>
                    </a:lnTo>
                    <a:cubicBezTo>
                      <a:pt x="31164" y="1034"/>
                      <a:pt x="15168" y="69"/>
                      <a:pt x="0" y="0"/>
                    </a:cubicBezTo>
                    <a:lnTo>
                      <a:pt x="0" y="8064"/>
                    </a:lnTo>
                    <a:close/>
                    <a:moveTo>
                      <a:pt x="148238" y="29569"/>
                    </a:moveTo>
                    <a:cubicBezTo>
                      <a:pt x="147755" y="29775"/>
                      <a:pt x="146031" y="33980"/>
                      <a:pt x="146031" y="33980"/>
                    </a:cubicBezTo>
                    <a:lnTo>
                      <a:pt x="144790" y="37081"/>
                    </a:lnTo>
                    <a:lnTo>
                      <a:pt x="147893" y="38460"/>
                    </a:lnTo>
                    <a:cubicBezTo>
                      <a:pt x="160510" y="44112"/>
                      <a:pt x="176230" y="51211"/>
                      <a:pt x="190227" y="59895"/>
                    </a:cubicBezTo>
                    <a:cubicBezTo>
                      <a:pt x="190709" y="59758"/>
                      <a:pt x="194570" y="53279"/>
                      <a:pt x="194570" y="53279"/>
                    </a:cubicBezTo>
                    <a:cubicBezTo>
                      <a:pt x="180022" y="43836"/>
                      <a:pt x="163613" y="36461"/>
                      <a:pt x="150444" y="30603"/>
                    </a:cubicBezTo>
                    <a:lnTo>
                      <a:pt x="148238" y="29569"/>
                    </a:lnTo>
                    <a:close/>
                    <a:moveTo>
                      <a:pt x="276342" y="116758"/>
                    </a:moveTo>
                    <a:cubicBezTo>
                      <a:pt x="275860" y="116758"/>
                      <a:pt x="273240" y="119309"/>
                      <a:pt x="273240" y="119309"/>
                    </a:cubicBezTo>
                    <a:lnTo>
                      <a:pt x="270206" y="122272"/>
                    </a:lnTo>
                    <a:lnTo>
                      <a:pt x="276618" y="129440"/>
                    </a:lnTo>
                    <a:cubicBezTo>
                      <a:pt x="286478" y="140331"/>
                      <a:pt x="295303" y="150256"/>
                      <a:pt x="302818" y="161215"/>
                    </a:cubicBezTo>
                    <a:cubicBezTo>
                      <a:pt x="303301" y="161284"/>
                      <a:pt x="308058" y="157837"/>
                      <a:pt x="308058" y="157837"/>
                    </a:cubicBezTo>
                    <a:lnTo>
                      <a:pt x="309437" y="156872"/>
                    </a:lnTo>
                    <a:cubicBezTo>
                      <a:pt x="301095" y="144259"/>
                      <a:pt x="290752" y="132749"/>
                      <a:pt x="282341" y="123513"/>
                    </a:cubicBezTo>
                    <a:lnTo>
                      <a:pt x="276342" y="116758"/>
                    </a:lnTo>
                    <a:close/>
                    <a:moveTo>
                      <a:pt x="320676" y="179962"/>
                    </a:moveTo>
                    <a:lnTo>
                      <a:pt x="317366" y="182030"/>
                    </a:lnTo>
                    <a:lnTo>
                      <a:pt x="317573" y="182306"/>
                    </a:lnTo>
                    <a:cubicBezTo>
                      <a:pt x="325985" y="195953"/>
                      <a:pt x="334741" y="210771"/>
                      <a:pt x="341705" y="226624"/>
                    </a:cubicBezTo>
                    <a:cubicBezTo>
                      <a:pt x="342188" y="226762"/>
                      <a:pt x="347634" y="224281"/>
                      <a:pt x="347634" y="224281"/>
                    </a:cubicBezTo>
                    <a:lnTo>
                      <a:pt x="349013" y="223660"/>
                    </a:lnTo>
                    <a:cubicBezTo>
                      <a:pt x="342050" y="206912"/>
                      <a:pt x="333155" y="191817"/>
                      <a:pt x="324537" y="177826"/>
                    </a:cubicBezTo>
                    <a:cubicBezTo>
                      <a:pt x="324054" y="177757"/>
                      <a:pt x="320676" y="179962"/>
                      <a:pt x="320676" y="179962"/>
                    </a:cubicBezTo>
                    <a:close/>
                    <a:moveTo>
                      <a:pt x="216772" y="66581"/>
                    </a:moveTo>
                    <a:cubicBezTo>
                      <a:pt x="216289" y="66650"/>
                      <a:pt x="212014" y="72922"/>
                      <a:pt x="212014" y="72922"/>
                    </a:cubicBezTo>
                    <a:lnTo>
                      <a:pt x="211807" y="73198"/>
                    </a:lnTo>
                    <a:lnTo>
                      <a:pt x="222081" y="80780"/>
                    </a:lnTo>
                    <a:cubicBezTo>
                      <a:pt x="233043" y="88775"/>
                      <a:pt x="242765" y="96150"/>
                      <a:pt x="251590" y="104765"/>
                    </a:cubicBezTo>
                    <a:cubicBezTo>
                      <a:pt x="252073" y="104765"/>
                      <a:pt x="257175" y="99114"/>
                      <a:pt x="257175" y="99114"/>
                    </a:cubicBezTo>
                    <a:cubicBezTo>
                      <a:pt x="248074" y="89809"/>
                      <a:pt x="238007" y="82158"/>
                      <a:pt x="226631" y="73887"/>
                    </a:cubicBezTo>
                    <a:lnTo>
                      <a:pt x="216772" y="66581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  <p:grpSp>
          <p:nvGrpSpPr>
            <p:cNvPr id="93" name="Group 92">
              <a:extLst>
                <a:ext uri="{FF2B5EF4-FFF2-40B4-BE49-F238E27FC236}">
                  <a16:creationId xmlns:a16="http://schemas.microsoft.com/office/drawing/2014/main" id="{44634E34-3EF5-4A45-9D56-3491E049908D}"/>
                </a:ext>
              </a:extLst>
            </p:cNvPr>
            <p:cNvGrpSpPr>
              <a:grpSpLocks noChangeAspect="1"/>
            </p:cNvGrpSpPr>
            <p:nvPr/>
          </p:nvGrpSpPr>
          <p:grpSpPr>
            <a:xfrm rot="16200000">
              <a:off x="4281620" y="1389718"/>
              <a:ext cx="1032959" cy="1032613"/>
              <a:chOff x="2877933" y="791668"/>
              <a:chExt cx="495803" cy="495637"/>
            </a:xfrm>
          </p:grpSpPr>
          <p:grpSp>
            <p:nvGrpSpPr>
              <p:cNvPr id="94" name="Graphic 4">
                <a:extLst>
                  <a:ext uri="{FF2B5EF4-FFF2-40B4-BE49-F238E27FC236}">
                    <a16:creationId xmlns:a16="http://schemas.microsoft.com/office/drawing/2014/main" id="{1FCBB1C1-35D4-394C-968B-419420AD5E8C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2877933" y="791737"/>
                <a:ext cx="495803" cy="495568"/>
                <a:chOff x="2877933" y="791737"/>
                <a:chExt cx="495803" cy="495568"/>
              </a:xfrm>
            </p:grpSpPr>
            <p:sp>
              <p:nvSpPr>
                <p:cNvPr id="96" name="Freeform 95">
                  <a:extLst>
                    <a:ext uri="{FF2B5EF4-FFF2-40B4-BE49-F238E27FC236}">
                      <a16:creationId xmlns:a16="http://schemas.microsoft.com/office/drawing/2014/main" id="{E79962F1-C91F-9644-8303-4E5C1184F2C3}"/>
                    </a:ext>
                  </a:extLst>
                </p:cNvPr>
                <p:cNvSpPr/>
                <p:nvPr/>
              </p:nvSpPr>
              <p:spPr>
                <a:xfrm>
                  <a:off x="2878002" y="791737"/>
                  <a:ext cx="495734" cy="495568"/>
                </a:xfrm>
                <a:custGeom>
                  <a:avLst/>
                  <a:gdLst>
                    <a:gd name="connsiteX0" fmla="*/ 495734 w 495734"/>
                    <a:gd name="connsiteY0" fmla="*/ 0 h 495568"/>
                    <a:gd name="connsiteX1" fmla="*/ 261657 w 495734"/>
                    <a:gd name="connsiteY1" fmla="*/ 0 h 495568"/>
                    <a:gd name="connsiteX2" fmla="*/ 0 w 495734"/>
                    <a:gd name="connsiteY2" fmla="*/ 261569 h 495568"/>
                    <a:gd name="connsiteX3" fmla="*/ 0 w 495734"/>
                    <a:gd name="connsiteY3" fmla="*/ 495568 h 495568"/>
                    <a:gd name="connsiteX4" fmla="*/ 495734 w 495734"/>
                    <a:gd name="connsiteY4" fmla="*/ 0 h 4955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95734" h="495568">
                      <a:moveTo>
                        <a:pt x="495734" y="0"/>
                      </a:moveTo>
                      <a:lnTo>
                        <a:pt x="261657" y="0"/>
                      </a:lnTo>
                      <a:cubicBezTo>
                        <a:pt x="261657" y="144190"/>
                        <a:pt x="144308" y="261569"/>
                        <a:pt x="0" y="261569"/>
                      </a:cubicBezTo>
                      <a:lnTo>
                        <a:pt x="0" y="495568"/>
                      </a:lnTo>
                      <a:cubicBezTo>
                        <a:pt x="273309" y="495568"/>
                        <a:pt x="495734" y="273217"/>
                        <a:pt x="495734" y="0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 w="68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 dirty="0"/>
                </a:p>
              </p:txBody>
            </p:sp>
            <p:sp>
              <p:nvSpPr>
                <p:cNvPr id="97" name="Freeform 96">
                  <a:extLst>
                    <a:ext uri="{FF2B5EF4-FFF2-40B4-BE49-F238E27FC236}">
                      <a16:creationId xmlns:a16="http://schemas.microsoft.com/office/drawing/2014/main" id="{E7D9E4F6-3ADF-E243-9FD7-29DB6A69FEA7}"/>
                    </a:ext>
                  </a:extLst>
                </p:cNvPr>
                <p:cNvSpPr/>
                <p:nvPr/>
              </p:nvSpPr>
              <p:spPr>
                <a:xfrm>
                  <a:off x="2877933" y="791737"/>
                  <a:ext cx="482702" cy="482541"/>
                </a:xfrm>
                <a:custGeom>
                  <a:avLst/>
                  <a:gdLst>
                    <a:gd name="connsiteX0" fmla="*/ 283030 w 482702"/>
                    <a:gd name="connsiteY0" fmla="*/ 0 h 482541"/>
                    <a:gd name="connsiteX1" fmla="*/ 274757 w 482702"/>
                    <a:gd name="connsiteY1" fmla="*/ 0 h 482541"/>
                    <a:gd name="connsiteX2" fmla="*/ 0 w 482702"/>
                    <a:gd name="connsiteY2" fmla="*/ 274665 h 482541"/>
                    <a:gd name="connsiteX3" fmla="*/ 0 w 482702"/>
                    <a:gd name="connsiteY3" fmla="*/ 282936 h 482541"/>
                    <a:gd name="connsiteX4" fmla="*/ 283030 w 482702"/>
                    <a:gd name="connsiteY4" fmla="*/ 0 h 482541"/>
                    <a:gd name="connsiteX5" fmla="*/ 482703 w 482702"/>
                    <a:gd name="connsiteY5" fmla="*/ 0 h 482541"/>
                    <a:gd name="connsiteX6" fmla="*/ 474429 w 482702"/>
                    <a:gd name="connsiteY6" fmla="*/ 0 h 482541"/>
                    <a:gd name="connsiteX7" fmla="*/ 0 w 482702"/>
                    <a:gd name="connsiteY7" fmla="*/ 474270 h 482541"/>
                    <a:gd name="connsiteX8" fmla="*/ 0 w 482702"/>
                    <a:gd name="connsiteY8" fmla="*/ 482541 h 482541"/>
                    <a:gd name="connsiteX9" fmla="*/ 482703 w 482702"/>
                    <a:gd name="connsiteY9" fmla="*/ 0 h 4825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482702" h="482541">
                      <a:moveTo>
                        <a:pt x="283030" y="0"/>
                      </a:moveTo>
                      <a:lnTo>
                        <a:pt x="274757" y="0"/>
                      </a:lnTo>
                      <a:cubicBezTo>
                        <a:pt x="274757" y="151427"/>
                        <a:pt x="151478" y="274665"/>
                        <a:pt x="0" y="274665"/>
                      </a:cubicBezTo>
                      <a:lnTo>
                        <a:pt x="0" y="282936"/>
                      </a:lnTo>
                      <a:cubicBezTo>
                        <a:pt x="156098" y="282867"/>
                        <a:pt x="283030" y="155976"/>
                        <a:pt x="283030" y="0"/>
                      </a:cubicBezTo>
                      <a:close/>
                      <a:moveTo>
                        <a:pt x="482703" y="0"/>
                      </a:moveTo>
                      <a:lnTo>
                        <a:pt x="474429" y="0"/>
                      </a:lnTo>
                      <a:cubicBezTo>
                        <a:pt x="474429" y="261500"/>
                        <a:pt x="261588" y="474270"/>
                        <a:pt x="0" y="474270"/>
                      </a:cubicBezTo>
                      <a:lnTo>
                        <a:pt x="0" y="482541"/>
                      </a:lnTo>
                      <a:cubicBezTo>
                        <a:pt x="266207" y="482472"/>
                        <a:pt x="482703" y="266049"/>
                        <a:pt x="482703" y="0"/>
                      </a:cubicBezTo>
                      <a:close/>
                    </a:path>
                  </a:pathLst>
                </a:custGeom>
                <a:solidFill>
                  <a:srgbClr val="E4E4E4"/>
                </a:solidFill>
                <a:ln w="68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 dirty="0"/>
                </a:p>
              </p:txBody>
            </p:sp>
          </p:grpSp>
          <p:sp>
            <p:nvSpPr>
              <p:cNvPr id="95" name="Freeform 94">
                <a:extLst>
                  <a:ext uri="{FF2B5EF4-FFF2-40B4-BE49-F238E27FC236}">
                    <a16:creationId xmlns:a16="http://schemas.microsoft.com/office/drawing/2014/main" id="{29334CA5-C375-9949-AC8D-9BCE4241222A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895584" y="791668"/>
                <a:ext cx="366388" cy="383910"/>
              </a:xfrm>
              <a:custGeom>
                <a:avLst/>
                <a:gdLst>
                  <a:gd name="connsiteX0" fmla="*/ 119004 w 366388"/>
                  <a:gd name="connsiteY0" fmla="*/ 359304 h 383910"/>
                  <a:gd name="connsiteX1" fmla="*/ 116453 w 366388"/>
                  <a:gd name="connsiteY1" fmla="*/ 351791 h 383910"/>
                  <a:gd name="connsiteX2" fmla="*/ 116315 w 366388"/>
                  <a:gd name="connsiteY2" fmla="*/ 351447 h 383910"/>
                  <a:gd name="connsiteX3" fmla="*/ 115970 w 366388"/>
                  <a:gd name="connsiteY3" fmla="*/ 351584 h 383910"/>
                  <a:gd name="connsiteX4" fmla="*/ 67707 w 366388"/>
                  <a:gd name="connsiteY4" fmla="*/ 366334 h 383910"/>
                  <a:gd name="connsiteX5" fmla="*/ 68258 w 366388"/>
                  <a:gd name="connsiteY5" fmla="*/ 370332 h 383910"/>
                  <a:gd name="connsiteX6" fmla="*/ 69155 w 366388"/>
                  <a:gd name="connsiteY6" fmla="*/ 374123 h 383910"/>
                  <a:gd name="connsiteX7" fmla="*/ 119004 w 366388"/>
                  <a:gd name="connsiteY7" fmla="*/ 359304 h 383910"/>
                  <a:gd name="connsiteX8" fmla="*/ 359425 w 366388"/>
                  <a:gd name="connsiteY8" fmla="*/ 73336 h 383910"/>
                  <a:gd name="connsiteX9" fmla="*/ 351289 w 366388"/>
                  <a:gd name="connsiteY9" fmla="*/ 71819 h 383910"/>
                  <a:gd name="connsiteX10" fmla="*/ 351220 w 366388"/>
                  <a:gd name="connsiteY10" fmla="*/ 72164 h 383910"/>
                  <a:gd name="connsiteX11" fmla="*/ 338258 w 366388"/>
                  <a:gd name="connsiteY11" fmla="*/ 120894 h 383910"/>
                  <a:gd name="connsiteX12" fmla="*/ 338119 w 366388"/>
                  <a:gd name="connsiteY12" fmla="*/ 121238 h 383910"/>
                  <a:gd name="connsiteX13" fmla="*/ 345635 w 366388"/>
                  <a:gd name="connsiteY13" fmla="*/ 123789 h 383910"/>
                  <a:gd name="connsiteX14" fmla="*/ 359286 w 366388"/>
                  <a:gd name="connsiteY14" fmla="*/ 73680 h 383910"/>
                  <a:gd name="connsiteX15" fmla="*/ 359425 w 366388"/>
                  <a:gd name="connsiteY15" fmla="*/ 73336 h 383910"/>
                  <a:gd name="connsiteX16" fmla="*/ 43782 w 366388"/>
                  <a:gd name="connsiteY16" fmla="*/ 379499 h 383910"/>
                  <a:gd name="connsiteX17" fmla="*/ 43368 w 366388"/>
                  <a:gd name="connsiteY17" fmla="*/ 374743 h 383910"/>
                  <a:gd name="connsiteX18" fmla="*/ 42816 w 366388"/>
                  <a:gd name="connsiteY18" fmla="*/ 371297 h 383910"/>
                  <a:gd name="connsiteX19" fmla="*/ 42472 w 366388"/>
                  <a:gd name="connsiteY19" fmla="*/ 371366 h 383910"/>
                  <a:gd name="connsiteX20" fmla="*/ 0 w 366388"/>
                  <a:gd name="connsiteY20" fmla="*/ 375846 h 383910"/>
                  <a:gd name="connsiteX21" fmla="*/ 0 w 366388"/>
                  <a:gd name="connsiteY21" fmla="*/ 383910 h 383910"/>
                  <a:gd name="connsiteX22" fmla="*/ 43782 w 366388"/>
                  <a:gd name="connsiteY22" fmla="*/ 379499 h 383910"/>
                  <a:gd name="connsiteX23" fmla="*/ 358390 w 366388"/>
                  <a:gd name="connsiteY23" fmla="*/ 69 h 383910"/>
                  <a:gd name="connsiteX24" fmla="*/ 355219 w 366388"/>
                  <a:gd name="connsiteY24" fmla="*/ 46662 h 383910"/>
                  <a:gd name="connsiteX25" fmla="*/ 358183 w 366388"/>
                  <a:gd name="connsiteY25" fmla="*/ 47351 h 383910"/>
                  <a:gd name="connsiteX26" fmla="*/ 363079 w 366388"/>
                  <a:gd name="connsiteY26" fmla="*/ 47972 h 383910"/>
                  <a:gd name="connsiteX27" fmla="*/ 366388 w 366388"/>
                  <a:gd name="connsiteY27" fmla="*/ 0 h 383910"/>
                  <a:gd name="connsiteX28" fmla="*/ 358390 w 366388"/>
                  <a:gd name="connsiteY28" fmla="*/ 0 h 383910"/>
                  <a:gd name="connsiteX29" fmla="*/ 336878 w 366388"/>
                  <a:gd name="connsiteY29" fmla="*/ 148188 h 383910"/>
                  <a:gd name="connsiteX30" fmla="*/ 332466 w 366388"/>
                  <a:gd name="connsiteY30" fmla="*/ 145982 h 383910"/>
                  <a:gd name="connsiteX31" fmla="*/ 329363 w 366388"/>
                  <a:gd name="connsiteY31" fmla="*/ 144673 h 383910"/>
                  <a:gd name="connsiteX32" fmla="*/ 327984 w 366388"/>
                  <a:gd name="connsiteY32" fmla="*/ 147774 h 383910"/>
                  <a:gd name="connsiteX33" fmla="*/ 306542 w 366388"/>
                  <a:gd name="connsiteY33" fmla="*/ 190094 h 383910"/>
                  <a:gd name="connsiteX34" fmla="*/ 313160 w 366388"/>
                  <a:gd name="connsiteY34" fmla="*/ 194436 h 383910"/>
                  <a:gd name="connsiteX35" fmla="*/ 335844 w 366388"/>
                  <a:gd name="connsiteY35" fmla="*/ 150325 h 383910"/>
                  <a:gd name="connsiteX36" fmla="*/ 336878 w 366388"/>
                  <a:gd name="connsiteY36" fmla="*/ 148188 h 383910"/>
                  <a:gd name="connsiteX37" fmla="*/ 249660 w 366388"/>
                  <a:gd name="connsiteY37" fmla="*/ 276250 h 383910"/>
                  <a:gd name="connsiteX38" fmla="*/ 247109 w 366388"/>
                  <a:gd name="connsiteY38" fmla="*/ 273148 h 383910"/>
                  <a:gd name="connsiteX39" fmla="*/ 244144 w 366388"/>
                  <a:gd name="connsiteY39" fmla="*/ 270116 h 383910"/>
                  <a:gd name="connsiteX40" fmla="*/ 236973 w 366388"/>
                  <a:gd name="connsiteY40" fmla="*/ 276526 h 383910"/>
                  <a:gd name="connsiteX41" fmla="*/ 205188 w 366388"/>
                  <a:gd name="connsiteY41" fmla="*/ 302717 h 383910"/>
                  <a:gd name="connsiteX42" fmla="*/ 208567 w 366388"/>
                  <a:gd name="connsiteY42" fmla="*/ 307955 h 383910"/>
                  <a:gd name="connsiteX43" fmla="*/ 209532 w 366388"/>
                  <a:gd name="connsiteY43" fmla="*/ 309334 h 383910"/>
                  <a:gd name="connsiteX44" fmla="*/ 242903 w 366388"/>
                  <a:gd name="connsiteY44" fmla="*/ 282246 h 383910"/>
                  <a:gd name="connsiteX45" fmla="*/ 249660 w 366388"/>
                  <a:gd name="connsiteY45" fmla="*/ 276250 h 383910"/>
                  <a:gd name="connsiteX46" fmla="*/ 186504 w 366388"/>
                  <a:gd name="connsiteY46" fmla="*/ 320568 h 383910"/>
                  <a:gd name="connsiteX47" fmla="*/ 184435 w 366388"/>
                  <a:gd name="connsiteY47" fmla="*/ 317260 h 383910"/>
                  <a:gd name="connsiteX48" fmla="*/ 184159 w 366388"/>
                  <a:gd name="connsiteY48" fmla="*/ 317467 h 383910"/>
                  <a:gd name="connsiteX49" fmla="*/ 139826 w 366388"/>
                  <a:gd name="connsiteY49" fmla="*/ 341590 h 383910"/>
                  <a:gd name="connsiteX50" fmla="*/ 142170 w 366388"/>
                  <a:gd name="connsiteY50" fmla="*/ 347518 h 383910"/>
                  <a:gd name="connsiteX51" fmla="*/ 142791 w 366388"/>
                  <a:gd name="connsiteY51" fmla="*/ 348896 h 383910"/>
                  <a:gd name="connsiteX52" fmla="*/ 188641 w 366388"/>
                  <a:gd name="connsiteY52" fmla="*/ 324428 h 383910"/>
                  <a:gd name="connsiteX53" fmla="*/ 186504 w 366388"/>
                  <a:gd name="connsiteY53" fmla="*/ 320568 h 383910"/>
                  <a:gd name="connsiteX54" fmla="*/ 299854 w 366388"/>
                  <a:gd name="connsiteY54" fmla="*/ 216630 h 383910"/>
                  <a:gd name="connsiteX55" fmla="*/ 293511 w 366388"/>
                  <a:gd name="connsiteY55" fmla="*/ 211874 h 383910"/>
                  <a:gd name="connsiteX56" fmla="*/ 293235 w 366388"/>
                  <a:gd name="connsiteY56" fmla="*/ 211668 h 383910"/>
                  <a:gd name="connsiteX57" fmla="*/ 285650 w 366388"/>
                  <a:gd name="connsiteY57" fmla="*/ 221937 h 383910"/>
                  <a:gd name="connsiteX58" fmla="*/ 261656 w 366388"/>
                  <a:gd name="connsiteY58" fmla="*/ 251437 h 383910"/>
                  <a:gd name="connsiteX59" fmla="*/ 267310 w 366388"/>
                  <a:gd name="connsiteY59" fmla="*/ 257020 h 383910"/>
                  <a:gd name="connsiteX60" fmla="*/ 292545 w 366388"/>
                  <a:gd name="connsiteY60" fmla="*/ 226486 h 383910"/>
                  <a:gd name="connsiteX61" fmla="*/ 299854 w 366388"/>
                  <a:gd name="connsiteY61" fmla="*/ 216630 h 3839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</a:cxnLst>
                <a:rect l="l" t="t" r="r" b="b"/>
                <a:pathLst>
                  <a:path w="366388" h="383910">
                    <a:moveTo>
                      <a:pt x="119004" y="359304"/>
                    </a:moveTo>
                    <a:cubicBezTo>
                      <a:pt x="119210" y="358890"/>
                      <a:pt x="116453" y="351791"/>
                      <a:pt x="116453" y="351791"/>
                    </a:cubicBezTo>
                    <a:lnTo>
                      <a:pt x="116315" y="351447"/>
                    </a:lnTo>
                    <a:lnTo>
                      <a:pt x="115970" y="351584"/>
                    </a:lnTo>
                    <a:cubicBezTo>
                      <a:pt x="99285" y="358063"/>
                      <a:pt x="83565" y="362819"/>
                      <a:pt x="67707" y="366334"/>
                    </a:cubicBezTo>
                    <a:cubicBezTo>
                      <a:pt x="67431" y="366748"/>
                      <a:pt x="68258" y="370332"/>
                      <a:pt x="68258" y="370332"/>
                    </a:cubicBezTo>
                    <a:lnTo>
                      <a:pt x="69155" y="374123"/>
                    </a:lnTo>
                    <a:cubicBezTo>
                      <a:pt x="85771" y="370883"/>
                      <a:pt x="101974" y="365921"/>
                      <a:pt x="119004" y="359304"/>
                    </a:cubicBezTo>
                    <a:close/>
                    <a:moveTo>
                      <a:pt x="359425" y="73336"/>
                    </a:moveTo>
                    <a:lnTo>
                      <a:pt x="351289" y="71819"/>
                    </a:lnTo>
                    <a:lnTo>
                      <a:pt x="351220" y="72164"/>
                    </a:lnTo>
                    <a:cubicBezTo>
                      <a:pt x="347841" y="89257"/>
                      <a:pt x="343498" y="105661"/>
                      <a:pt x="338258" y="120894"/>
                    </a:cubicBezTo>
                    <a:lnTo>
                      <a:pt x="338119" y="121238"/>
                    </a:lnTo>
                    <a:lnTo>
                      <a:pt x="345635" y="123789"/>
                    </a:lnTo>
                    <a:cubicBezTo>
                      <a:pt x="351358" y="108005"/>
                      <a:pt x="355839" y="91256"/>
                      <a:pt x="359286" y="73680"/>
                    </a:cubicBezTo>
                    <a:lnTo>
                      <a:pt x="359425" y="73336"/>
                    </a:lnTo>
                    <a:close/>
                    <a:moveTo>
                      <a:pt x="43782" y="379499"/>
                    </a:moveTo>
                    <a:cubicBezTo>
                      <a:pt x="44057" y="379085"/>
                      <a:pt x="43368" y="374743"/>
                      <a:pt x="43368" y="374743"/>
                    </a:cubicBezTo>
                    <a:lnTo>
                      <a:pt x="42816" y="371297"/>
                    </a:lnTo>
                    <a:lnTo>
                      <a:pt x="42472" y="371366"/>
                    </a:lnTo>
                    <a:cubicBezTo>
                      <a:pt x="28751" y="373778"/>
                      <a:pt x="14479" y="375226"/>
                      <a:pt x="0" y="375846"/>
                    </a:cubicBezTo>
                    <a:lnTo>
                      <a:pt x="0" y="383910"/>
                    </a:lnTo>
                    <a:cubicBezTo>
                      <a:pt x="15031" y="383497"/>
                      <a:pt x="29716" y="381980"/>
                      <a:pt x="43782" y="379499"/>
                    </a:cubicBezTo>
                    <a:close/>
                    <a:moveTo>
                      <a:pt x="358390" y="69"/>
                    </a:moveTo>
                    <a:cubicBezTo>
                      <a:pt x="358045" y="15026"/>
                      <a:pt x="357149" y="30603"/>
                      <a:pt x="355219" y="46662"/>
                    </a:cubicBezTo>
                    <a:cubicBezTo>
                      <a:pt x="355494" y="47007"/>
                      <a:pt x="358183" y="47351"/>
                      <a:pt x="358183" y="47351"/>
                    </a:cubicBezTo>
                    <a:lnTo>
                      <a:pt x="363079" y="47972"/>
                    </a:lnTo>
                    <a:cubicBezTo>
                      <a:pt x="365354" y="31154"/>
                      <a:pt x="366319" y="15163"/>
                      <a:pt x="366388" y="0"/>
                    </a:cubicBezTo>
                    <a:lnTo>
                      <a:pt x="358390" y="0"/>
                    </a:lnTo>
                    <a:close/>
                    <a:moveTo>
                      <a:pt x="336878" y="148188"/>
                    </a:moveTo>
                    <a:cubicBezTo>
                      <a:pt x="336672" y="147705"/>
                      <a:pt x="332466" y="145982"/>
                      <a:pt x="332466" y="145982"/>
                    </a:cubicBezTo>
                    <a:lnTo>
                      <a:pt x="329363" y="144673"/>
                    </a:lnTo>
                    <a:lnTo>
                      <a:pt x="327984" y="147774"/>
                    </a:lnTo>
                    <a:cubicBezTo>
                      <a:pt x="322331" y="160388"/>
                      <a:pt x="315229" y="176102"/>
                      <a:pt x="306542" y="190094"/>
                    </a:cubicBezTo>
                    <a:cubicBezTo>
                      <a:pt x="306679" y="190577"/>
                      <a:pt x="313160" y="194436"/>
                      <a:pt x="313160" y="194436"/>
                    </a:cubicBezTo>
                    <a:cubicBezTo>
                      <a:pt x="322606" y="179893"/>
                      <a:pt x="329984" y="163489"/>
                      <a:pt x="335844" y="150325"/>
                    </a:cubicBezTo>
                    <a:lnTo>
                      <a:pt x="336878" y="148188"/>
                    </a:lnTo>
                    <a:close/>
                    <a:moveTo>
                      <a:pt x="249660" y="276250"/>
                    </a:moveTo>
                    <a:cubicBezTo>
                      <a:pt x="249660" y="275767"/>
                      <a:pt x="247109" y="273148"/>
                      <a:pt x="247109" y="273148"/>
                    </a:cubicBezTo>
                    <a:lnTo>
                      <a:pt x="244144" y="270116"/>
                    </a:lnTo>
                    <a:lnTo>
                      <a:pt x="236973" y="276526"/>
                    </a:lnTo>
                    <a:cubicBezTo>
                      <a:pt x="226079" y="286382"/>
                      <a:pt x="216151" y="295204"/>
                      <a:pt x="205188" y="302717"/>
                    </a:cubicBezTo>
                    <a:cubicBezTo>
                      <a:pt x="205119" y="303199"/>
                      <a:pt x="208567" y="307955"/>
                      <a:pt x="208567" y="307955"/>
                    </a:cubicBezTo>
                    <a:lnTo>
                      <a:pt x="209532" y="309334"/>
                    </a:lnTo>
                    <a:cubicBezTo>
                      <a:pt x="222150" y="300994"/>
                      <a:pt x="233664" y="290655"/>
                      <a:pt x="242903" y="282246"/>
                    </a:cubicBezTo>
                    <a:lnTo>
                      <a:pt x="249660" y="276250"/>
                    </a:lnTo>
                    <a:close/>
                    <a:moveTo>
                      <a:pt x="186504" y="320568"/>
                    </a:moveTo>
                    <a:lnTo>
                      <a:pt x="184435" y="317260"/>
                    </a:lnTo>
                    <a:lnTo>
                      <a:pt x="184159" y="317467"/>
                    </a:lnTo>
                    <a:cubicBezTo>
                      <a:pt x="170508" y="325876"/>
                      <a:pt x="155684" y="334629"/>
                      <a:pt x="139826" y="341590"/>
                    </a:cubicBezTo>
                    <a:cubicBezTo>
                      <a:pt x="139688" y="342073"/>
                      <a:pt x="142170" y="347518"/>
                      <a:pt x="142170" y="347518"/>
                    </a:cubicBezTo>
                    <a:lnTo>
                      <a:pt x="142791" y="348896"/>
                    </a:lnTo>
                    <a:cubicBezTo>
                      <a:pt x="159545" y="341935"/>
                      <a:pt x="174644" y="333044"/>
                      <a:pt x="188641" y="324428"/>
                    </a:cubicBezTo>
                    <a:cubicBezTo>
                      <a:pt x="188641" y="323946"/>
                      <a:pt x="186504" y="320568"/>
                      <a:pt x="186504" y="320568"/>
                    </a:cubicBezTo>
                    <a:close/>
                    <a:moveTo>
                      <a:pt x="299854" y="216630"/>
                    </a:moveTo>
                    <a:cubicBezTo>
                      <a:pt x="299785" y="216148"/>
                      <a:pt x="293511" y="211874"/>
                      <a:pt x="293511" y="211874"/>
                    </a:cubicBezTo>
                    <a:lnTo>
                      <a:pt x="293235" y="211668"/>
                    </a:lnTo>
                    <a:lnTo>
                      <a:pt x="285650" y="221937"/>
                    </a:lnTo>
                    <a:cubicBezTo>
                      <a:pt x="277652" y="232896"/>
                      <a:pt x="270275" y="242615"/>
                      <a:pt x="261656" y="251437"/>
                    </a:cubicBezTo>
                    <a:cubicBezTo>
                      <a:pt x="261656" y="251920"/>
                      <a:pt x="267310" y="257020"/>
                      <a:pt x="267310" y="257020"/>
                    </a:cubicBezTo>
                    <a:cubicBezTo>
                      <a:pt x="276618" y="247922"/>
                      <a:pt x="284271" y="237859"/>
                      <a:pt x="292545" y="226486"/>
                    </a:cubicBezTo>
                    <a:lnTo>
                      <a:pt x="299854" y="216630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C44FC6C4-F1DA-7648-B3FB-75D353726E95}"/>
              </a:ext>
            </a:extLst>
          </p:cNvPr>
          <p:cNvGrpSpPr>
            <a:grpSpLocks noChangeAspect="1"/>
          </p:cNvGrpSpPr>
          <p:nvPr/>
        </p:nvGrpSpPr>
        <p:grpSpPr>
          <a:xfrm rot="5400000">
            <a:off x="4203668" y="2152039"/>
            <a:ext cx="1208131" cy="438528"/>
            <a:chOff x="2460593" y="1450725"/>
            <a:chExt cx="644661" cy="233999"/>
          </a:xfrm>
        </p:grpSpPr>
        <p:sp>
          <p:nvSpPr>
            <p:cNvPr id="103" name="Freeform 102">
              <a:extLst>
                <a:ext uri="{FF2B5EF4-FFF2-40B4-BE49-F238E27FC236}">
                  <a16:creationId xmlns:a16="http://schemas.microsoft.com/office/drawing/2014/main" id="{DD132D45-0EFA-764A-AA51-D87C1F8DE5A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461714" y="1450725"/>
              <a:ext cx="642419" cy="233999"/>
            </a:xfrm>
            <a:custGeom>
              <a:avLst/>
              <a:gdLst>
                <a:gd name="connsiteX0" fmla="*/ 0 w 644661"/>
                <a:gd name="connsiteY0" fmla="*/ 0 h 233999"/>
                <a:gd name="connsiteX1" fmla="*/ 644661 w 644661"/>
                <a:gd name="connsiteY1" fmla="*/ 0 h 233999"/>
                <a:gd name="connsiteX2" fmla="*/ 644661 w 644661"/>
                <a:gd name="connsiteY2" fmla="*/ 233999 h 233999"/>
                <a:gd name="connsiteX3" fmla="*/ 0 w 644661"/>
                <a:gd name="connsiteY3" fmla="*/ 233999 h 233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4661" h="233999">
                  <a:moveTo>
                    <a:pt x="0" y="0"/>
                  </a:moveTo>
                  <a:lnTo>
                    <a:pt x="644661" y="0"/>
                  </a:lnTo>
                  <a:lnTo>
                    <a:pt x="644661" y="233999"/>
                  </a:lnTo>
                  <a:lnTo>
                    <a:pt x="0" y="233999"/>
                  </a:lnTo>
                  <a:close/>
                </a:path>
              </a:pathLst>
            </a:custGeom>
            <a:solidFill>
              <a:schemeClr val="tx2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104" name="Freeform 103">
              <a:extLst>
                <a:ext uri="{FF2B5EF4-FFF2-40B4-BE49-F238E27FC236}">
                  <a16:creationId xmlns:a16="http://schemas.microsoft.com/office/drawing/2014/main" id="{55344E1D-253C-E84B-BD66-ACA1D9C0F5F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474382" y="1563761"/>
              <a:ext cx="613083" cy="7995"/>
            </a:xfrm>
            <a:custGeom>
              <a:avLst/>
              <a:gdLst>
                <a:gd name="connsiteX0" fmla="*/ 559580 w 613083"/>
                <a:gd name="connsiteY0" fmla="*/ 0 h 7995"/>
                <a:gd name="connsiteX1" fmla="*/ 559580 w 613083"/>
                <a:gd name="connsiteY1" fmla="*/ 7995 h 7995"/>
                <a:gd name="connsiteX2" fmla="*/ 613083 w 613083"/>
                <a:gd name="connsiteY2" fmla="*/ 7995 h 7995"/>
                <a:gd name="connsiteX3" fmla="*/ 613083 w 613083"/>
                <a:gd name="connsiteY3" fmla="*/ 0 h 7995"/>
                <a:gd name="connsiteX4" fmla="*/ 559580 w 613083"/>
                <a:gd name="connsiteY4" fmla="*/ 0 h 7995"/>
                <a:gd name="connsiteX5" fmla="*/ 479049 w 613083"/>
                <a:gd name="connsiteY5" fmla="*/ 0 h 7995"/>
                <a:gd name="connsiteX6" fmla="*/ 479049 w 613083"/>
                <a:gd name="connsiteY6" fmla="*/ 7995 h 7995"/>
                <a:gd name="connsiteX7" fmla="*/ 532552 w 613083"/>
                <a:gd name="connsiteY7" fmla="*/ 7995 h 7995"/>
                <a:gd name="connsiteX8" fmla="*/ 532552 w 613083"/>
                <a:gd name="connsiteY8" fmla="*/ 0 h 7995"/>
                <a:gd name="connsiteX9" fmla="*/ 479049 w 613083"/>
                <a:gd name="connsiteY9" fmla="*/ 0 h 7995"/>
                <a:gd name="connsiteX10" fmla="*/ 398449 w 613083"/>
                <a:gd name="connsiteY10" fmla="*/ 0 h 7995"/>
                <a:gd name="connsiteX11" fmla="*/ 398449 w 613083"/>
                <a:gd name="connsiteY11" fmla="*/ 7995 h 7995"/>
                <a:gd name="connsiteX12" fmla="*/ 451952 w 613083"/>
                <a:gd name="connsiteY12" fmla="*/ 7995 h 7995"/>
                <a:gd name="connsiteX13" fmla="*/ 451952 w 613083"/>
                <a:gd name="connsiteY13" fmla="*/ 0 h 7995"/>
                <a:gd name="connsiteX14" fmla="*/ 398449 w 613083"/>
                <a:gd name="connsiteY14" fmla="*/ 0 h 7995"/>
                <a:gd name="connsiteX15" fmla="*/ 317849 w 613083"/>
                <a:gd name="connsiteY15" fmla="*/ 0 h 7995"/>
                <a:gd name="connsiteX16" fmla="*/ 317849 w 613083"/>
                <a:gd name="connsiteY16" fmla="*/ 7995 h 7995"/>
                <a:gd name="connsiteX17" fmla="*/ 371352 w 613083"/>
                <a:gd name="connsiteY17" fmla="*/ 7995 h 7995"/>
                <a:gd name="connsiteX18" fmla="*/ 371352 w 613083"/>
                <a:gd name="connsiteY18" fmla="*/ 0 h 7995"/>
                <a:gd name="connsiteX19" fmla="*/ 317849 w 613083"/>
                <a:gd name="connsiteY19" fmla="*/ 0 h 7995"/>
                <a:gd name="connsiteX20" fmla="*/ 237318 w 613083"/>
                <a:gd name="connsiteY20" fmla="*/ 0 h 7995"/>
                <a:gd name="connsiteX21" fmla="*/ 237318 w 613083"/>
                <a:gd name="connsiteY21" fmla="*/ 7995 h 7995"/>
                <a:gd name="connsiteX22" fmla="*/ 290821 w 613083"/>
                <a:gd name="connsiteY22" fmla="*/ 7995 h 7995"/>
                <a:gd name="connsiteX23" fmla="*/ 290821 w 613083"/>
                <a:gd name="connsiteY23" fmla="*/ 0 h 7995"/>
                <a:gd name="connsiteX24" fmla="*/ 237318 w 613083"/>
                <a:gd name="connsiteY24" fmla="*/ 0 h 7995"/>
                <a:gd name="connsiteX25" fmla="*/ 156718 w 613083"/>
                <a:gd name="connsiteY25" fmla="*/ 0 h 7995"/>
                <a:gd name="connsiteX26" fmla="*/ 156718 w 613083"/>
                <a:gd name="connsiteY26" fmla="*/ 7995 h 7995"/>
                <a:gd name="connsiteX27" fmla="*/ 210222 w 613083"/>
                <a:gd name="connsiteY27" fmla="*/ 7995 h 7995"/>
                <a:gd name="connsiteX28" fmla="*/ 210222 w 613083"/>
                <a:gd name="connsiteY28" fmla="*/ 0 h 7995"/>
                <a:gd name="connsiteX29" fmla="*/ 156718 w 613083"/>
                <a:gd name="connsiteY29" fmla="*/ 0 h 7995"/>
                <a:gd name="connsiteX30" fmla="*/ 76187 w 613083"/>
                <a:gd name="connsiteY30" fmla="*/ 0 h 7995"/>
                <a:gd name="connsiteX31" fmla="*/ 76187 w 613083"/>
                <a:gd name="connsiteY31" fmla="*/ 7995 h 7995"/>
                <a:gd name="connsiteX32" fmla="*/ 129691 w 613083"/>
                <a:gd name="connsiteY32" fmla="*/ 7995 h 7995"/>
                <a:gd name="connsiteX33" fmla="*/ 129691 w 613083"/>
                <a:gd name="connsiteY33" fmla="*/ 0 h 7995"/>
                <a:gd name="connsiteX34" fmla="*/ 76187 w 613083"/>
                <a:gd name="connsiteY34" fmla="*/ 0 h 7995"/>
                <a:gd name="connsiteX35" fmla="*/ 0 w 613083"/>
                <a:gd name="connsiteY35" fmla="*/ 0 h 7995"/>
                <a:gd name="connsiteX36" fmla="*/ 0 w 613083"/>
                <a:gd name="connsiteY36" fmla="*/ 7995 h 7995"/>
                <a:gd name="connsiteX37" fmla="*/ 49091 w 613083"/>
                <a:gd name="connsiteY37" fmla="*/ 7995 h 7995"/>
                <a:gd name="connsiteX38" fmla="*/ 49091 w 613083"/>
                <a:gd name="connsiteY38" fmla="*/ 0 h 7995"/>
                <a:gd name="connsiteX39" fmla="*/ 0 w 613083"/>
                <a:gd name="connsiteY39" fmla="*/ 0 h 7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613083" h="7995">
                  <a:moveTo>
                    <a:pt x="559580" y="0"/>
                  </a:moveTo>
                  <a:cubicBezTo>
                    <a:pt x="559580" y="1792"/>
                    <a:pt x="559580" y="6203"/>
                    <a:pt x="559580" y="7995"/>
                  </a:cubicBezTo>
                  <a:cubicBezTo>
                    <a:pt x="562131" y="7995"/>
                    <a:pt x="610532" y="7995"/>
                    <a:pt x="613083" y="7995"/>
                  </a:cubicBezTo>
                  <a:cubicBezTo>
                    <a:pt x="613083" y="6203"/>
                    <a:pt x="613083" y="1792"/>
                    <a:pt x="613083" y="0"/>
                  </a:cubicBezTo>
                  <a:cubicBezTo>
                    <a:pt x="610532" y="0"/>
                    <a:pt x="562131" y="0"/>
                    <a:pt x="559580" y="0"/>
                  </a:cubicBezTo>
                  <a:close/>
                  <a:moveTo>
                    <a:pt x="479049" y="0"/>
                  </a:moveTo>
                  <a:cubicBezTo>
                    <a:pt x="479049" y="1792"/>
                    <a:pt x="479049" y="6203"/>
                    <a:pt x="479049" y="7995"/>
                  </a:cubicBezTo>
                  <a:cubicBezTo>
                    <a:pt x="481600" y="7995"/>
                    <a:pt x="530001" y="7995"/>
                    <a:pt x="532552" y="7995"/>
                  </a:cubicBezTo>
                  <a:cubicBezTo>
                    <a:pt x="532552" y="6203"/>
                    <a:pt x="532552" y="1792"/>
                    <a:pt x="532552" y="0"/>
                  </a:cubicBezTo>
                  <a:cubicBezTo>
                    <a:pt x="529932" y="0"/>
                    <a:pt x="481600" y="0"/>
                    <a:pt x="479049" y="0"/>
                  </a:cubicBezTo>
                  <a:close/>
                  <a:moveTo>
                    <a:pt x="398449" y="0"/>
                  </a:moveTo>
                  <a:cubicBezTo>
                    <a:pt x="398449" y="1792"/>
                    <a:pt x="398449" y="6203"/>
                    <a:pt x="398449" y="7995"/>
                  </a:cubicBezTo>
                  <a:cubicBezTo>
                    <a:pt x="401000" y="7995"/>
                    <a:pt x="449401" y="7995"/>
                    <a:pt x="451952" y="7995"/>
                  </a:cubicBezTo>
                  <a:cubicBezTo>
                    <a:pt x="451952" y="6203"/>
                    <a:pt x="451952" y="1792"/>
                    <a:pt x="451952" y="0"/>
                  </a:cubicBezTo>
                  <a:cubicBezTo>
                    <a:pt x="449401" y="0"/>
                    <a:pt x="401000" y="0"/>
                    <a:pt x="398449" y="0"/>
                  </a:cubicBezTo>
                  <a:close/>
                  <a:moveTo>
                    <a:pt x="317849" y="0"/>
                  </a:moveTo>
                  <a:cubicBezTo>
                    <a:pt x="317849" y="1792"/>
                    <a:pt x="317849" y="6203"/>
                    <a:pt x="317849" y="7995"/>
                  </a:cubicBezTo>
                  <a:cubicBezTo>
                    <a:pt x="320400" y="7995"/>
                    <a:pt x="368801" y="7995"/>
                    <a:pt x="371352" y="7995"/>
                  </a:cubicBezTo>
                  <a:cubicBezTo>
                    <a:pt x="371352" y="6203"/>
                    <a:pt x="371352" y="1792"/>
                    <a:pt x="371352" y="0"/>
                  </a:cubicBezTo>
                  <a:cubicBezTo>
                    <a:pt x="368801" y="0"/>
                    <a:pt x="320400" y="0"/>
                    <a:pt x="317849" y="0"/>
                  </a:cubicBezTo>
                  <a:close/>
                  <a:moveTo>
                    <a:pt x="237318" y="0"/>
                  </a:moveTo>
                  <a:cubicBezTo>
                    <a:pt x="237318" y="1792"/>
                    <a:pt x="237318" y="6203"/>
                    <a:pt x="237318" y="7995"/>
                  </a:cubicBezTo>
                  <a:cubicBezTo>
                    <a:pt x="239869" y="7995"/>
                    <a:pt x="288270" y="7995"/>
                    <a:pt x="290821" y="7995"/>
                  </a:cubicBezTo>
                  <a:cubicBezTo>
                    <a:pt x="290821" y="6203"/>
                    <a:pt x="290821" y="1792"/>
                    <a:pt x="290821" y="0"/>
                  </a:cubicBezTo>
                  <a:cubicBezTo>
                    <a:pt x="288201" y="0"/>
                    <a:pt x="239869" y="0"/>
                    <a:pt x="237318" y="0"/>
                  </a:cubicBezTo>
                  <a:close/>
                  <a:moveTo>
                    <a:pt x="156718" y="0"/>
                  </a:moveTo>
                  <a:cubicBezTo>
                    <a:pt x="156718" y="1792"/>
                    <a:pt x="156718" y="6203"/>
                    <a:pt x="156718" y="7995"/>
                  </a:cubicBezTo>
                  <a:cubicBezTo>
                    <a:pt x="159269" y="7995"/>
                    <a:pt x="207671" y="7995"/>
                    <a:pt x="210222" y="7995"/>
                  </a:cubicBezTo>
                  <a:cubicBezTo>
                    <a:pt x="210222" y="6203"/>
                    <a:pt x="210222" y="1792"/>
                    <a:pt x="210222" y="0"/>
                  </a:cubicBezTo>
                  <a:cubicBezTo>
                    <a:pt x="207671" y="0"/>
                    <a:pt x="159269" y="0"/>
                    <a:pt x="156718" y="0"/>
                  </a:cubicBezTo>
                  <a:close/>
                  <a:moveTo>
                    <a:pt x="76187" y="0"/>
                  </a:moveTo>
                  <a:cubicBezTo>
                    <a:pt x="76187" y="1792"/>
                    <a:pt x="76187" y="6203"/>
                    <a:pt x="76187" y="7995"/>
                  </a:cubicBezTo>
                  <a:cubicBezTo>
                    <a:pt x="78738" y="7995"/>
                    <a:pt x="127140" y="7995"/>
                    <a:pt x="129691" y="7995"/>
                  </a:cubicBezTo>
                  <a:cubicBezTo>
                    <a:pt x="129691" y="6203"/>
                    <a:pt x="129691" y="1792"/>
                    <a:pt x="129691" y="0"/>
                  </a:cubicBezTo>
                  <a:cubicBezTo>
                    <a:pt x="127071" y="0"/>
                    <a:pt x="78738" y="0"/>
                    <a:pt x="76187" y="0"/>
                  </a:cubicBezTo>
                  <a:close/>
                  <a:moveTo>
                    <a:pt x="0" y="0"/>
                  </a:moveTo>
                  <a:cubicBezTo>
                    <a:pt x="0" y="1792"/>
                    <a:pt x="0" y="6203"/>
                    <a:pt x="0" y="7995"/>
                  </a:cubicBezTo>
                  <a:cubicBezTo>
                    <a:pt x="2551" y="7995"/>
                    <a:pt x="46540" y="7995"/>
                    <a:pt x="49091" y="7995"/>
                  </a:cubicBezTo>
                  <a:cubicBezTo>
                    <a:pt x="49091" y="6203"/>
                    <a:pt x="49091" y="1792"/>
                    <a:pt x="49091" y="0"/>
                  </a:cubicBezTo>
                  <a:cubicBezTo>
                    <a:pt x="46540" y="0"/>
                    <a:pt x="2551" y="0"/>
                    <a:pt x="0" y="0"/>
                  </a:cubicBezTo>
                  <a:close/>
                </a:path>
              </a:pathLst>
            </a:custGeom>
            <a:solidFill>
              <a:srgbClr val="E4E4E4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grpSp>
          <p:nvGrpSpPr>
            <p:cNvPr id="105" name="Graphic 4">
              <a:extLst>
                <a:ext uri="{FF2B5EF4-FFF2-40B4-BE49-F238E27FC236}">
                  <a16:creationId xmlns:a16="http://schemas.microsoft.com/office/drawing/2014/main" id="{FB269E10-0DD8-0746-B4B0-5DDD4CE8C4CD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460593" y="1463821"/>
              <a:ext cx="644661" cy="207807"/>
              <a:chOff x="2460593" y="1463821"/>
              <a:chExt cx="644661" cy="207807"/>
            </a:xfrm>
            <a:solidFill>
              <a:srgbClr val="E4E4E4"/>
            </a:solidFill>
          </p:grpSpPr>
          <p:sp>
            <p:nvSpPr>
              <p:cNvPr id="106" name="Freeform 105">
                <a:extLst>
                  <a:ext uri="{FF2B5EF4-FFF2-40B4-BE49-F238E27FC236}">
                    <a16:creationId xmlns:a16="http://schemas.microsoft.com/office/drawing/2014/main" id="{4A8C2451-A01B-E648-8E76-C6981C1B9DCD}"/>
                  </a:ext>
                </a:extLst>
              </p:cNvPr>
              <p:cNvSpPr/>
              <p:nvPr/>
            </p:nvSpPr>
            <p:spPr>
              <a:xfrm>
                <a:off x="2460593" y="1663357"/>
                <a:ext cx="644661" cy="8270"/>
              </a:xfrm>
              <a:custGeom>
                <a:avLst/>
                <a:gdLst>
                  <a:gd name="connsiteX0" fmla="*/ 0 w 644661"/>
                  <a:gd name="connsiteY0" fmla="*/ 0 h 8270"/>
                  <a:gd name="connsiteX1" fmla="*/ 644661 w 644661"/>
                  <a:gd name="connsiteY1" fmla="*/ 0 h 8270"/>
                  <a:gd name="connsiteX2" fmla="*/ 644661 w 644661"/>
                  <a:gd name="connsiteY2" fmla="*/ 8271 h 8270"/>
                  <a:gd name="connsiteX3" fmla="*/ 0 w 644661"/>
                  <a:gd name="connsiteY3" fmla="*/ 8271 h 8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4661" h="8270">
                    <a:moveTo>
                      <a:pt x="0" y="0"/>
                    </a:moveTo>
                    <a:lnTo>
                      <a:pt x="644661" y="0"/>
                    </a:lnTo>
                    <a:lnTo>
                      <a:pt x="644661" y="8271"/>
                    </a:lnTo>
                    <a:lnTo>
                      <a:pt x="0" y="8271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  <p:sp>
            <p:nvSpPr>
              <p:cNvPr id="107" name="Freeform 106">
                <a:extLst>
                  <a:ext uri="{FF2B5EF4-FFF2-40B4-BE49-F238E27FC236}">
                    <a16:creationId xmlns:a16="http://schemas.microsoft.com/office/drawing/2014/main" id="{CF3BE844-8B8B-8142-B685-3C24D98B0194}"/>
                  </a:ext>
                </a:extLst>
              </p:cNvPr>
              <p:cNvSpPr/>
              <p:nvPr/>
            </p:nvSpPr>
            <p:spPr>
              <a:xfrm>
                <a:off x="2460593" y="1463821"/>
                <a:ext cx="644661" cy="8270"/>
              </a:xfrm>
              <a:custGeom>
                <a:avLst/>
                <a:gdLst>
                  <a:gd name="connsiteX0" fmla="*/ 0 w 644661"/>
                  <a:gd name="connsiteY0" fmla="*/ 0 h 8270"/>
                  <a:gd name="connsiteX1" fmla="*/ 644661 w 644661"/>
                  <a:gd name="connsiteY1" fmla="*/ 0 h 8270"/>
                  <a:gd name="connsiteX2" fmla="*/ 644661 w 644661"/>
                  <a:gd name="connsiteY2" fmla="*/ 8271 h 8270"/>
                  <a:gd name="connsiteX3" fmla="*/ 0 w 644661"/>
                  <a:gd name="connsiteY3" fmla="*/ 8271 h 8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4661" h="8270">
                    <a:moveTo>
                      <a:pt x="0" y="0"/>
                    </a:moveTo>
                    <a:lnTo>
                      <a:pt x="644661" y="0"/>
                    </a:lnTo>
                    <a:lnTo>
                      <a:pt x="644661" y="8271"/>
                    </a:lnTo>
                    <a:lnTo>
                      <a:pt x="0" y="8271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</p:grp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030AA470-82B5-6249-9525-ECB5B1A39C28}"/>
              </a:ext>
            </a:extLst>
          </p:cNvPr>
          <p:cNvGrpSpPr/>
          <p:nvPr/>
        </p:nvGrpSpPr>
        <p:grpSpPr>
          <a:xfrm>
            <a:off x="4589984" y="843386"/>
            <a:ext cx="1855331" cy="929163"/>
            <a:chOff x="3251818" y="1389545"/>
            <a:chExt cx="2062588" cy="1032959"/>
          </a:xfrm>
        </p:grpSpPr>
        <p:grpSp>
          <p:nvGrpSpPr>
            <p:cNvPr id="109" name="Group 108">
              <a:extLst>
                <a:ext uri="{FF2B5EF4-FFF2-40B4-BE49-F238E27FC236}">
                  <a16:creationId xmlns:a16="http://schemas.microsoft.com/office/drawing/2014/main" id="{F61C9410-DB7F-5441-8A0C-88DE9E618156}"/>
                </a:ext>
              </a:extLst>
            </p:cNvPr>
            <p:cNvGrpSpPr>
              <a:grpSpLocks noChangeAspect="1"/>
            </p:cNvGrpSpPr>
            <p:nvPr/>
          </p:nvGrpSpPr>
          <p:grpSpPr>
            <a:xfrm rot="16200000">
              <a:off x="3251644" y="1389719"/>
              <a:ext cx="1032959" cy="1032611"/>
              <a:chOff x="2877933" y="261637"/>
              <a:chExt cx="495803" cy="495636"/>
            </a:xfrm>
          </p:grpSpPr>
          <p:grpSp>
            <p:nvGrpSpPr>
              <p:cNvPr id="115" name="Graphic 4">
                <a:extLst>
                  <a:ext uri="{FF2B5EF4-FFF2-40B4-BE49-F238E27FC236}">
                    <a16:creationId xmlns:a16="http://schemas.microsoft.com/office/drawing/2014/main" id="{76BDF5DE-A686-6040-A18C-A9AD2F47BC8C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2878002" y="261637"/>
                <a:ext cx="495734" cy="495636"/>
                <a:chOff x="2878002" y="261637"/>
                <a:chExt cx="495734" cy="495636"/>
              </a:xfrm>
            </p:grpSpPr>
            <p:sp>
              <p:nvSpPr>
                <p:cNvPr id="117" name="Freeform 116">
                  <a:extLst>
                    <a:ext uri="{FF2B5EF4-FFF2-40B4-BE49-F238E27FC236}">
                      <a16:creationId xmlns:a16="http://schemas.microsoft.com/office/drawing/2014/main" id="{DA7A2407-2BCF-A940-9F97-75F5D8DAD7D2}"/>
                    </a:ext>
                  </a:extLst>
                </p:cNvPr>
                <p:cNvSpPr/>
                <p:nvPr/>
              </p:nvSpPr>
              <p:spPr>
                <a:xfrm>
                  <a:off x="2878002" y="261637"/>
                  <a:ext cx="495734" cy="495568"/>
                </a:xfrm>
                <a:custGeom>
                  <a:avLst/>
                  <a:gdLst>
                    <a:gd name="connsiteX0" fmla="*/ 0 w 495734"/>
                    <a:gd name="connsiteY0" fmla="*/ 0 h 495568"/>
                    <a:gd name="connsiteX1" fmla="*/ 0 w 495734"/>
                    <a:gd name="connsiteY1" fmla="*/ 233999 h 495568"/>
                    <a:gd name="connsiteX2" fmla="*/ 261657 w 495734"/>
                    <a:gd name="connsiteY2" fmla="*/ 495568 h 495568"/>
                    <a:gd name="connsiteX3" fmla="*/ 495734 w 495734"/>
                    <a:gd name="connsiteY3" fmla="*/ 495568 h 495568"/>
                    <a:gd name="connsiteX4" fmla="*/ 0 w 495734"/>
                    <a:gd name="connsiteY4" fmla="*/ 0 h 4955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95734" h="495568">
                      <a:moveTo>
                        <a:pt x="0" y="0"/>
                      </a:moveTo>
                      <a:lnTo>
                        <a:pt x="0" y="233999"/>
                      </a:lnTo>
                      <a:cubicBezTo>
                        <a:pt x="144239" y="233999"/>
                        <a:pt x="261657" y="351309"/>
                        <a:pt x="261657" y="495568"/>
                      </a:cubicBezTo>
                      <a:lnTo>
                        <a:pt x="495734" y="495568"/>
                      </a:lnTo>
                      <a:cubicBezTo>
                        <a:pt x="495734" y="222351"/>
                        <a:pt x="273309" y="0"/>
                        <a:pt x="0" y="0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 w="68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 dirty="0"/>
                </a:p>
              </p:txBody>
            </p:sp>
            <p:sp>
              <p:nvSpPr>
                <p:cNvPr id="118" name="Freeform 117">
                  <a:extLst>
                    <a:ext uri="{FF2B5EF4-FFF2-40B4-BE49-F238E27FC236}">
                      <a16:creationId xmlns:a16="http://schemas.microsoft.com/office/drawing/2014/main" id="{F4B21D92-F865-884B-B21C-C3F13ED7FACD}"/>
                    </a:ext>
                  </a:extLst>
                </p:cNvPr>
                <p:cNvSpPr/>
                <p:nvPr/>
              </p:nvSpPr>
              <p:spPr>
                <a:xfrm>
                  <a:off x="2878002" y="274733"/>
                  <a:ext cx="482703" cy="482541"/>
                </a:xfrm>
                <a:custGeom>
                  <a:avLst/>
                  <a:gdLst>
                    <a:gd name="connsiteX0" fmla="*/ 0 w 482703"/>
                    <a:gd name="connsiteY0" fmla="*/ 199606 h 482541"/>
                    <a:gd name="connsiteX1" fmla="*/ 0 w 482703"/>
                    <a:gd name="connsiteY1" fmla="*/ 207877 h 482541"/>
                    <a:gd name="connsiteX2" fmla="*/ 274757 w 482703"/>
                    <a:gd name="connsiteY2" fmla="*/ 482541 h 482541"/>
                    <a:gd name="connsiteX3" fmla="*/ 283031 w 482703"/>
                    <a:gd name="connsiteY3" fmla="*/ 482541 h 482541"/>
                    <a:gd name="connsiteX4" fmla="*/ 0 w 482703"/>
                    <a:gd name="connsiteY4" fmla="*/ 199606 h 482541"/>
                    <a:gd name="connsiteX5" fmla="*/ 0 w 482703"/>
                    <a:gd name="connsiteY5" fmla="*/ 0 h 482541"/>
                    <a:gd name="connsiteX6" fmla="*/ 0 w 482703"/>
                    <a:gd name="connsiteY6" fmla="*/ 8271 h 482541"/>
                    <a:gd name="connsiteX7" fmla="*/ 474429 w 482703"/>
                    <a:gd name="connsiteY7" fmla="*/ 482541 h 482541"/>
                    <a:gd name="connsiteX8" fmla="*/ 482703 w 482703"/>
                    <a:gd name="connsiteY8" fmla="*/ 482541 h 482541"/>
                    <a:gd name="connsiteX9" fmla="*/ 0 w 482703"/>
                    <a:gd name="connsiteY9" fmla="*/ 0 h 4825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482703" h="482541">
                      <a:moveTo>
                        <a:pt x="0" y="199606"/>
                      </a:moveTo>
                      <a:lnTo>
                        <a:pt x="0" y="207877"/>
                      </a:lnTo>
                      <a:cubicBezTo>
                        <a:pt x="151478" y="207877"/>
                        <a:pt x="274757" y="331114"/>
                        <a:pt x="274757" y="482541"/>
                      </a:cubicBezTo>
                      <a:lnTo>
                        <a:pt x="283031" y="482541"/>
                      </a:lnTo>
                      <a:cubicBezTo>
                        <a:pt x="282962" y="326496"/>
                        <a:pt x="156029" y="199606"/>
                        <a:pt x="0" y="199606"/>
                      </a:cubicBezTo>
                      <a:close/>
                      <a:moveTo>
                        <a:pt x="0" y="0"/>
                      </a:moveTo>
                      <a:lnTo>
                        <a:pt x="0" y="8271"/>
                      </a:lnTo>
                      <a:cubicBezTo>
                        <a:pt x="261588" y="8271"/>
                        <a:pt x="474429" y="221041"/>
                        <a:pt x="474429" y="482541"/>
                      </a:cubicBezTo>
                      <a:lnTo>
                        <a:pt x="482703" y="482541"/>
                      </a:lnTo>
                      <a:cubicBezTo>
                        <a:pt x="482634" y="216492"/>
                        <a:pt x="266138" y="0"/>
                        <a:pt x="0" y="0"/>
                      </a:cubicBezTo>
                      <a:close/>
                    </a:path>
                  </a:pathLst>
                </a:custGeom>
                <a:solidFill>
                  <a:srgbClr val="E4E4E4"/>
                </a:solidFill>
                <a:ln w="68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 dirty="0"/>
                </a:p>
              </p:txBody>
            </p:sp>
          </p:grpSp>
          <p:sp>
            <p:nvSpPr>
              <p:cNvPr id="116" name="Freeform 115">
                <a:extLst>
                  <a:ext uri="{FF2B5EF4-FFF2-40B4-BE49-F238E27FC236}">
                    <a16:creationId xmlns:a16="http://schemas.microsoft.com/office/drawing/2014/main" id="{32DBEA61-9D9E-7A43-B5E5-4F8AD0DC67E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877933" y="373295"/>
                <a:ext cx="384038" cy="366334"/>
              </a:xfrm>
              <a:custGeom>
                <a:avLst/>
                <a:gdLst>
                  <a:gd name="connsiteX0" fmla="*/ 359493 w 384038"/>
                  <a:gd name="connsiteY0" fmla="*/ 247371 h 366334"/>
                  <a:gd name="connsiteX1" fmla="*/ 351978 w 384038"/>
                  <a:gd name="connsiteY1" fmla="*/ 249921 h 366334"/>
                  <a:gd name="connsiteX2" fmla="*/ 351633 w 384038"/>
                  <a:gd name="connsiteY2" fmla="*/ 250059 h 366334"/>
                  <a:gd name="connsiteX3" fmla="*/ 351771 w 384038"/>
                  <a:gd name="connsiteY3" fmla="*/ 250403 h 366334"/>
                  <a:gd name="connsiteX4" fmla="*/ 366526 w 384038"/>
                  <a:gd name="connsiteY4" fmla="*/ 298650 h 366334"/>
                  <a:gd name="connsiteX5" fmla="*/ 370525 w 384038"/>
                  <a:gd name="connsiteY5" fmla="*/ 298099 h 366334"/>
                  <a:gd name="connsiteX6" fmla="*/ 374317 w 384038"/>
                  <a:gd name="connsiteY6" fmla="*/ 297203 h 366334"/>
                  <a:gd name="connsiteX7" fmla="*/ 359493 w 384038"/>
                  <a:gd name="connsiteY7" fmla="*/ 247371 h 366334"/>
                  <a:gd name="connsiteX8" fmla="*/ 73360 w 384038"/>
                  <a:gd name="connsiteY8" fmla="*/ 7030 h 366334"/>
                  <a:gd name="connsiteX9" fmla="*/ 71843 w 384038"/>
                  <a:gd name="connsiteY9" fmla="*/ 15163 h 366334"/>
                  <a:gd name="connsiteX10" fmla="*/ 72188 w 384038"/>
                  <a:gd name="connsiteY10" fmla="*/ 15232 h 366334"/>
                  <a:gd name="connsiteX11" fmla="*/ 120934 w 384038"/>
                  <a:gd name="connsiteY11" fmla="*/ 28190 h 366334"/>
                  <a:gd name="connsiteX12" fmla="*/ 121279 w 384038"/>
                  <a:gd name="connsiteY12" fmla="*/ 28328 h 366334"/>
                  <a:gd name="connsiteX13" fmla="*/ 123830 w 384038"/>
                  <a:gd name="connsiteY13" fmla="*/ 20815 h 366334"/>
                  <a:gd name="connsiteX14" fmla="*/ 73705 w 384038"/>
                  <a:gd name="connsiteY14" fmla="*/ 7168 h 366334"/>
                  <a:gd name="connsiteX15" fmla="*/ 73360 w 384038"/>
                  <a:gd name="connsiteY15" fmla="*/ 7030 h 366334"/>
                  <a:gd name="connsiteX16" fmla="*/ 379626 w 384038"/>
                  <a:gd name="connsiteY16" fmla="*/ 322567 h 366334"/>
                  <a:gd name="connsiteX17" fmla="*/ 374869 w 384038"/>
                  <a:gd name="connsiteY17" fmla="*/ 322981 h 366334"/>
                  <a:gd name="connsiteX18" fmla="*/ 371421 w 384038"/>
                  <a:gd name="connsiteY18" fmla="*/ 323532 h 366334"/>
                  <a:gd name="connsiteX19" fmla="*/ 371490 w 384038"/>
                  <a:gd name="connsiteY19" fmla="*/ 323877 h 366334"/>
                  <a:gd name="connsiteX20" fmla="*/ 375972 w 384038"/>
                  <a:gd name="connsiteY20" fmla="*/ 366334 h 366334"/>
                  <a:gd name="connsiteX21" fmla="*/ 384039 w 384038"/>
                  <a:gd name="connsiteY21" fmla="*/ 366334 h 366334"/>
                  <a:gd name="connsiteX22" fmla="*/ 379626 w 384038"/>
                  <a:gd name="connsiteY22" fmla="*/ 322567 h 366334"/>
                  <a:gd name="connsiteX23" fmla="*/ 69 w 384038"/>
                  <a:gd name="connsiteY23" fmla="*/ 8064 h 366334"/>
                  <a:gd name="connsiteX24" fmla="*/ 46678 w 384038"/>
                  <a:gd name="connsiteY24" fmla="*/ 11166 h 366334"/>
                  <a:gd name="connsiteX25" fmla="*/ 47367 w 384038"/>
                  <a:gd name="connsiteY25" fmla="*/ 8202 h 366334"/>
                  <a:gd name="connsiteX26" fmla="*/ 47988 w 384038"/>
                  <a:gd name="connsiteY26" fmla="*/ 3308 h 366334"/>
                  <a:gd name="connsiteX27" fmla="*/ 0 w 384038"/>
                  <a:gd name="connsiteY27" fmla="*/ 0 h 366334"/>
                  <a:gd name="connsiteX28" fmla="*/ 0 w 384038"/>
                  <a:gd name="connsiteY28" fmla="*/ 8064 h 366334"/>
                  <a:gd name="connsiteX29" fmla="*/ 148238 w 384038"/>
                  <a:gd name="connsiteY29" fmla="*/ 29569 h 366334"/>
                  <a:gd name="connsiteX30" fmla="*/ 146031 w 384038"/>
                  <a:gd name="connsiteY30" fmla="*/ 33980 h 366334"/>
                  <a:gd name="connsiteX31" fmla="*/ 144790 w 384038"/>
                  <a:gd name="connsiteY31" fmla="*/ 37081 h 366334"/>
                  <a:gd name="connsiteX32" fmla="*/ 147893 w 384038"/>
                  <a:gd name="connsiteY32" fmla="*/ 38460 h 366334"/>
                  <a:gd name="connsiteX33" fmla="*/ 190227 w 384038"/>
                  <a:gd name="connsiteY33" fmla="*/ 59895 h 366334"/>
                  <a:gd name="connsiteX34" fmla="*/ 194570 w 384038"/>
                  <a:gd name="connsiteY34" fmla="*/ 53279 h 366334"/>
                  <a:gd name="connsiteX35" fmla="*/ 150444 w 384038"/>
                  <a:gd name="connsiteY35" fmla="*/ 30603 h 366334"/>
                  <a:gd name="connsiteX36" fmla="*/ 148238 w 384038"/>
                  <a:gd name="connsiteY36" fmla="*/ 29569 h 366334"/>
                  <a:gd name="connsiteX37" fmla="*/ 276342 w 384038"/>
                  <a:gd name="connsiteY37" fmla="*/ 116758 h 366334"/>
                  <a:gd name="connsiteX38" fmla="*/ 273240 w 384038"/>
                  <a:gd name="connsiteY38" fmla="*/ 119309 h 366334"/>
                  <a:gd name="connsiteX39" fmla="*/ 270206 w 384038"/>
                  <a:gd name="connsiteY39" fmla="*/ 122272 h 366334"/>
                  <a:gd name="connsiteX40" fmla="*/ 276618 w 384038"/>
                  <a:gd name="connsiteY40" fmla="*/ 129440 h 366334"/>
                  <a:gd name="connsiteX41" fmla="*/ 302818 w 384038"/>
                  <a:gd name="connsiteY41" fmla="*/ 161215 h 366334"/>
                  <a:gd name="connsiteX42" fmla="*/ 308058 w 384038"/>
                  <a:gd name="connsiteY42" fmla="*/ 157837 h 366334"/>
                  <a:gd name="connsiteX43" fmla="*/ 309437 w 384038"/>
                  <a:gd name="connsiteY43" fmla="*/ 156872 h 366334"/>
                  <a:gd name="connsiteX44" fmla="*/ 282341 w 384038"/>
                  <a:gd name="connsiteY44" fmla="*/ 123513 h 366334"/>
                  <a:gd name="connsiteX45" fmla="*/ 276342 w 384038"/>
                  <a:gd name="connsiteY45" fmla="*/ 116758 h 366334"/>
                  <a:gd name="connsiteX46" fmla="*/ 320676 w 384038"/>
                  <a:gd name="connsiteY46" fmla="*/ 179962 h 366334"/>
                  <a:gd name="connsiteX47" fmla="*/ 317366 w 384038"/>
                  <a:gd name="connsiteY47" fmla="*/ 182030 h 366334"/>
                  <a:gd name="connsiteX48" fmla="*/ 317573 w 384038"/>
                  <a:gd name="connsiteY48" fmla="*/ 182306 h 366334"/>
                  <a:gd name="connsiteX49" fmla="*/ 341705 w 384038"/>
                  <a:gd name="connsiteY49" fmla="*/ 226624 h 366334"/>
                  <a:gd name="connsiteX50" fmla="*/ 347634 w 384038"/>
                  <a:gd name="connsiteY50" fmla="*/ 224281 h 366334"/>
                  <a:gd name="connsiteX51" fmla="*/ 349013 w 384038"/>
                  <a:gd name="connsiteY51" fmla="*/ 223660 h 366334"/>
                  <a:gd name="connsiteX52" fmla="*/ 324537 w 384038"/>
                  <a:gd name="connsiteY52" fmla="*/ 177826 h 366334"/>
                  <a:gd name="connsiteX53" fmla="*/ 320676 w 384038"/>
                  <a:gd name="connsiteY53" fmla="*/ 179962 h 366334"/>
                  <a:gd name="connsiteX54" fmla="*/ 216772 w 384038"/>
                  <a:gd name="connsiteY54" fmla="*/ 66581 h 366334"/>
                  <a:gd name="connsiteX55" fmla="*/ 212014 w 384038"/>
                  <a:gd name="connsiteY55" fmla="*/ 72922 h 366334"/>
                  <a:gd name="connsiteX56" fmla="*/ 211807 w 384038"/>
                  <a:gd name="connsiteY56" fmla="*/ 73198 h 366334"/>
                  <a:gd name="connsiteX57" fmla="*/ 222081 w 384038"/>
                  <a:gd name="connsiteY57" fmla="*/ 80780 h 366334"/>
                  <a:gd name="connsiteX58" fmla="*/ 251590 w 384038"/>
                  <a:gd name="connsiteY58" fmla="*/ 104765 h 366334"/>
                  <a:gd name="connsiteX59" fmla="*/ 257175 w 384038"/>
                  <a:gd name="connsiteY59" fmla="*/ 99114 h 366334"/>
                  <a:gd name="connsiteX60" fmla="*/ 226631 w 384038"/>
                  <a:gd name="connsiteY60" fmla="*/ 73887 h 366334"/>
                  <a:gd name="connsiteX61" fmla="*/ 216772 w 384038"/>
                  <a:gd name="connsiteY61" fmla="*/ 66581 h 3663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</a:cxnLst>
                <a:rect l="l" t="t" r="r" b="b"/>
                <a:pathLst>
                  <a:path w="384038" h="366334">
                    <a:moveTo>
                      <a:pt x="359493" y="247371"/>
                    </a:moveTo>
                    <a:cubicBezTo>
                      <a:pt x="359080" y="247164"/>
                      <a:pt x="351978" y="249921"/>
                      <a:pt x="351978" y="249921"/>
                    </a:cubicBezTo>
                    <a:lnTo>
                      <a:pt x="351633" y="250059"/>
                    </a:lnTo>
                    <a:lnTo>
                      <a:pt x="351771" y="250403"/>
                    </a:lnTo>
                    <a:cubicBezTo>
                      <a:pt x="358252" y="267083"/>
                      <a:pt x="363010" y="282798"/>
                      <a:pt x="366526" y="298650"/>
                    </a:cubicBezTo>
                    <a:cubicBezTo>
                      <a:pt x="366940" y="298926"/>
                      <a:pt x="370525" y="298099"/>
                      <a:pt x="370525" y="298099"/>
                    </a:cubicBezTo>
                    <a:lnTo>
                      <a:pt x="374317" y="297203"/>
                    </a:lnTo>
                    <a:cubicBezTo>
                      <a:pt x="371008" y="280592"/>
                      <a:pt x="366043" y="264464"/>
                      <a:pt x="359493" y="247371"/>
                    </a:cubicBezTo>
                    <a:close/>
                    <a:moveTo>
                      <a:pt x="73360" y="7030"/>
                    </a:moveTo>
                    <a:lnTo>
                      <a:pt x="71843" y="15163"/>
                    </a:lnTo>
                    <a:lnTo>
                      <a:pt x="72188" y="15232"/>
                    </a:lnTo>
                    <a:cubicBezTo>
                      <a:pt x="89287" y="18610"/>
                      <a:pt x="105697" y="22952"/>
                      <a:pt x="120934" y="28190"/>
                    </a:cubicBezTo>
                    <a:lnTo>
                      <a:pt x="121279" y="28328"/>
                    </a:lnTo>
                    <a:lnTo>
                      <a:pt x="123830" y="20815"/>
                    </a:lnTo>
                    <a:cubicBezTo>
                      <a:pt x="108041" y="15094"/>
                      <a:pt x="91287" y="10614"/>
                      <a:pt x="73705" y="7168"/>
                    </a:cubicBezTo>
                    <a:lnTo>
                      <a:pt x="73360" y="7030"/>
                    </a:lnTo>
                    <a:close/>
                    <a:moveTo>
                      <a:pt x="379626" y="322567"/>
                    </a:moveTo>
                    <a:cubicBezTo>
                      <a:pt x="379212" y="322292"/>
                      <a:pt x="374869" y="322981"/>
                      <a:pt x="374869" y="322981"/>
                    </a:cubicBezTo>
                    <a:lnTo>
                      <a:pt x="371421" y="323532"/>
                    </a:lnTo>
                    <a:lnTo>
                      <a:pt x="371490" y="323877"/>
                    </a:lnTo>
                    <a:cubicBezTo>
                      <a:pt x="373903" y="337593"/>
                      <a:pt x="375351" y="351860"/>
                      <a:pt x="375972" y="366334"/>
                    </a:cubicBezTo>
                    <a:lnTo>
                      <a:pt x="384039" y="366334"/>
                    </a:lnTo>
                    <a:cubicBezTo>
                      <a:pt x="383625" y="351309"/>
                      <a:pt x="382108" y="336628"/>
                      <a:pt x="379626" y="322567"/>
                    </a:cubicBezTo>
                    <a:close/>
                    <a:moveTo>
                      <a:pt x="69" y="8064"/>
                    </a:moveTo>
                    <a:cubicBezTo>
                      <a:pt x="15100" y="8409"/>
                      <a:pt x="30613" y="9305"/>
                      <a:pt x="46678" y="11166"/>
                    </a:cubicBezTo>
                    <a:cubicBezTo>
                      <a:pt x="47091" y="10890"/>
                      <a:pt x="47367" y="8202"/>
                      <a:pt x="47367" y="8202"/>
                    </a:cubicBezTo>
                    <a:lnTo>
                      <a:pt x="47988" y="3308"/>
                    </a:lnTo>
                    <a:cubicBezTo>
                      <a:pt x="31164" y="1034"/>
                      <a:pt x="15168" y="69"/>
                      <a:pt x="0" y="0"/>
                    </a:cubicBezTo>
                    <a:lnTo>
                      <a:pt x="0" y="8064"/>
                    </a:lnTo>
                    <a:close/>
                    <a:moveTo>
                      <a:pt x="148238" y="29569"/>
                    </a:moveTo>
                    <a:cubicBezTo>
                      <a:pt x="147755" y="29775"/>
                      <a:pt x="146031" y="33980"/>
                      <a:pt x="146031" y="33980"/>
                    </a:cubicBezTo>
                    <a:lnTo>
                      <a:pt x="144790" y="37081"/>
                    </a:lnTo>
                    <a:lnTo>
                      <a:pt x="147893" y="38460"/>
                    </a:lnTo>
                    <a:cubicBezTo>
                      <a:pt x="160510" y="44112"/>
                      <a:pt x="176230" y="51211"/>
                      <a:pt x="190227" y="59895"/>
                    </a:cubicBezTo>
                    <a:cubicBezTo>
                      <a:pt x="190709" y="59758"/>
                      <a:pt x="194570" y="53279"/>
                      <a:pt x="194570" y="53279"/>
                    </a:cubicBezTo>
                    <a:cubicBezTo>
                      <a:pt x="180022" y="43836"/>
                      <a:pt x="163613" y="36461"/>
                      <a:pt x="150444" y="30603"/>
                    </a:cubicBezTo>
                    <a:lnTo>
                      <a:pt x="148238" y="29569"/>
                    </a:lnTo>
                    <a:close/>
                    <a:moveTo>
                      <a:pt x="276342" y="116758"/>
                    </a:moveTo>
                    <a:cubicBezTo>
                      <a:pt x="275860" y="116758"/>
                      <a:pt x="273240" y="119309"/>
                      <a:pt x="273240" y="119309"/>
                    </a:cubicBezTo>
                    <a:lnTo>
                      <a:pt x="270206" y="122272"/>
                    </a:lnTo>
                    <a:lnTo>
                      <a:pt x="276618" y="129440"/>
                    </a:lnTo>
                    <a:cubicBezTo>
                      <a:pt x="286478" y="140331"/>
                      <a:pt x="295303" y="150256"/>
                      <a:pt x="302818" y="161215"/>
                    </a:cubicBezTo>
                    <a:cubicBezTo>
                      <a:pt x="303301" y="161284"/>
                      <a:pt x="308058" y="157837"/>
                      <a:pt x="308058" y="157837"/>
                    </a:cubicBezTo>
                    <a:lnTo>
                      <a:pt x="309437" y="156872"/>
                    </a:lnTo>
                    <a:cubicBezTo>
                      <a:pt x="301095" y="144259"/>
                      <a:pt x="290752" y="132749"/>
                      <a:pt x="282341" y="123513"/>
                    </a:cubicBezTo>
                    <a:lnTo>
                      <a:pt x="276342" y="116758"/>
                    </a:lnTo>
                    <a:close/>
                    <a:moveTo>
                      <a:pt x="320676" y="179962"/>
                    </a:moveTo>
                    <a:lnTo>
                      <a:pt x="317366" y="182030"/>
                    </a:lnTo>
                    <a:lnTo>
                      <a:pt x="317573" y="182306"/>
                    </a:lnTo>
                    <a:cubicBezTo>
                      <a:pt x="325985" y="195953"/>
                      <a:pt x="334741" y="210771"/>
                      <a:pt x="341705" y="226624"/>
                    </a:cubicBezTo>
                    <a:cubicBezTo>
                      <a:pt x="342188" y="226762"/>
                      <a:pt x="347634" y="224281"/>
                      <a:pt x="347634" y="224281"/>
                    </a:cubicBezTo>
                    <a:lnTo>
                      <a:pt x="349013" y="223660"/>
                    </a:lnTo>
                    <a:cubicBezTo>
                      <a:pt x="342050" y="206912"/>
                      <a:pt x="333155" y="191817"/>
                      <a:pt x="324537" y="177826"/>
                    </a:cubicBezTo>
                    <a:cubicBezTo>
                      <a:pt x="324054" y="177757"/>
                      <a:pt x="320676" y="179962"/>
                      <a:pt x="320676" y="179962"/>
                    </a:cubicBezTo>
                    <a:close/>
                    <a:moveTo>
                      <a:pt x="216772" y="66581"/>
                    </a:moveTo>
                    <a:cubicBezTo>
                      <a:pt x="216289" y="66650"/>
                      <a:pt x="212014" y="72922"/>
                      <a:pt x="212014" y="72922"/>
                    </a:cubicBezTo>
                    <a:lnTo>
                      <a:pt x="211807" y="73198"/>
                    </a:lnTo>
                    <a:lnTo>
                      <a:pt x="222081" y="80780"/>
                    </a:lnTo>
                    <a:cubicBezTo>
                      <a:pt x="233043" y="88775"/>
                      <a:pt x="242765" y="96150"/>
                      <a:pt x="251590" y="104765"/>
                    </a:cubicBezTo>
                    <a:cubicBezTo>
                      <a:pt x="252073" y="104765"/>
                      <a:pt x="257175" y="99114"/>
                      <a:pt x="257175" y="99114"/>
                    </a:cubicBezTo>
                    <a:cubicBezTo>
                      <a:pt x="248074" y="89809"/>
                      <a:pt x="238007" y="82158"/>
                      <a:pt x="226631" y="73887"/>
                    </a:cubicBezTo>
                    <a:lnTo>
                      <a:pt x="216772" y="66581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  <p:grpSp>
          <p:nvGrpSpPr>
            <p:cNvPr id="110" name="Group 109">
              <a:extLst>
                <a:ext uri="{FF2B5EF4-FFF2-40B4-BE49-F238E27FC236}">
                  <a16:creationId xmlns:a16="http://schemas.microsoft.com/office/drawing/2014/main" id="{24BC8585-C672-1D4F-9376-E61E250F192E}"/>
                </a:ext>
              </a:extLst>
            </p:cNvPr>
            <p:cNvGrpSpPr>
              <a:grpSpLocks noChangeAspect="1"/>
            </p:cNvGrpSpPr>
            <p:nvPr/>
          </p:nvGrpSpPr>
          <p:grpSpPr>
            <a:xfrm rot="16200000">
              <a:off x="4281620" y="1389718"/>
              <a:ext cx="1032959" cy="1032613"/>
              <a:chOff x="2877933" y="791668"/>
              <a:chExt cx="495803" cy="495637"/>
            </a:xfrm>
          </p:grpSpPr>
          <p:grpSp>
            <p:nvGrpSpPr>
              <p:cNvPr id="111" name="Graphic 4">
                <a:extLst>
                  <a:ext uri="{FF2B5EF4-FFF2-40B4-BE49-F238E27FC236}">
                    <a16:creationId xmlns:a16="http://schemas.microsoft.com/office/drawing/2014/main" id="{0DDF382F-2E8F-D140-91BD-897ED8875351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2877933" y="791737"/>
                <a:ext cx="495803" cy="495568"/>
                <a:chOff x="2877933" y="791737"/>
                <a:chExt cx="495803" cy="495568"/>
              </a:xfrm>
            </p:grpSpPr>
            <p:sp>
              <p:nvSpPr>
                <p:cNvPr id="113" name="Freeform 112">
                  <a:extLst>
                    <a:ext uri="{FF2B5EF4-FFF2-40B4-BE49-F238E27FC236}">
                      <a16:creationId xmlns:a16="http://schemas.microsoft.com/office/drawing/2014/main" id="{67CDCD8E-0384-874B-B771-36FADA4816A7}"/>
                    </a:ext>
                  </a:extLst>
                </p:cNvPr>
                <p:cNvSpPr/>
                <p:nvPr/>
              </p:nvSpPr>
              <p:spPr>
                <a:xfrm>
                  <a:off x="2878002" y="791737"/>
                  <a:ext cx="495734" cy="495568"/>
                </a:xfrm>
                <a:custGeom>
                  <a:avLst/>
                  <a:gdLst>
                    <a:gd name="connsiteX0" fmla="*/ 495734 w 495734"/>
                    <a:gd name="connsiteY0" fmla="*/ 0 h 495568"/>
                    <a:gd name="connsiteX1" fmla="*/ 261657 w 495734"/>
                    <a:gd name="connsiteY1" fmla="*/ 0 h 495568"/>
                    <a:gd name="connsiteX2" fmla="*/ 0 w 495734"/>
                    <a:gd name="connsiteY2" fmla="*/ 261569 h 495568"/>
                    <a:gd name="connsiteX3" fmla="*/ 0 w 495734"/>
                    <a:gd name="connsiteY3" fmla="*/ 495568 h 495568"/>
                    <a:gd name="connsiteX4" fmla="*/ 495734 w 495734"/>
                    <a:gd name="connsiteY4" fmla="*/ 0 h 4955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95734" h="495568">
                      <a:moveTo>
                        <a:pt x="495734" y="0"/>
                      </a:moveTo>
                      <a:lnTo>
                        <a:pt x="261657" y="0"/>
                      </a:lnTo>
                      <a:cubicBezTo>
                        <a:pt x="261657" y="144190"/>
                        <a:pt x="144308" y="261569"/>
                        <a:pt x="0" y="261569"/>
                      </a:cubicBezTo>
                      <a:lnTo>
                        <a:pt x="0" y="495568"/>
                      </a:lnTo>
                      <a:cubicBezTo>
                        <a:pt x="273309" y="495568"/>
                        <a:pt x="495734" y="273217"/>
                        <a:pt x="495734" y="0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 w="68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 dirty="0"/>
                </a:p>
              </p:txBody>
            </p:sp>
            <p:sp>
              <p:nvSpPr>
                <p:cNvPr id="114" name="Freeform 113">
                  <a:extLst>
                    <a:ext uri="{FF2B5EF4-FFF2-40B4-BE49-F238E27FC236}">
                      <a16:creationId xmlns:a16="http://schemas.microsoft.com/office/drawing/2014/main" id="{123B0E82-F843-6E42-B51D-253C96EFE2FC}"/>
                    </a:ext>
                  </a:extLst>
                </p:cNvPr>
                <p:cNvSpPr/>
                <p:nvPr/>
              </p:nvSpPr>
              <p:spPr>
                <a:xfrm>
                  <a:off x="2877933" y="791737"/>
                  <a:ext cx="482702" cy="482541"/>
                </a:xfrm>
                <a:custGeom>
                  <a:avLst/>
                  <a:gdLst>
                    <a:gd name="connsiteX0" fmla="*/ 283030 w 482702"/>
                    <a:gd name="connsiteY0" fmla="*/ 0 h 482541"/>
                    <a:gd name="connsiteX1" fmla="*/ 274757 w 482702"/>
                    <a:gd name="connsiteY1" fmla="*/ 0 h 482541"/>
                    <a:gd name="connsiteX2" fmla="*/ 0 w 482702"/>
                    <a:gd name="connsiteY2" fmla="*/ 274665 h 482541"/>
                    <a:gd name="connsiteX3" fmla="*/ 0 w 482702"/>
                    <a:gd name="connsiteY3" fmla="*/ 282936 h 482541"/>
                    <a:gd name="connsiteX4" fmla="*/ 283030 w 482702"/>
                    <a:gd name="connsiteY4" fmla="*/ 0 h 482541"/>
                    <a:gd name="connsiteX5" fmla="*/ 482703 w 482702"/>
                    <a:gd name="connsiteY5" fmla="*/ 0 h 482541"/>
                    <a:gd name="connsiteX6" fmla="*/ 474429 w 482702"/>
                    <a:gd name="connsiteY6" fmla="*/ 0 h 482541"/>
                    <a:gd name="connsiteX7" fmla="*/ 0 w 482702"/>
                    <a:gd name="connsiteY7" fmla="*/ 474270 h 482541"/>
                    <a:gd name="connsiteX8" fmla="*/ 0 w 482702"/>
                    <a:gd name="connsiteY8" fmla="*/ 482541 h 482541"/>
                    <a:gd name="connsiteX9" fmla="*/ 482703 w 482702"/>
                    <a:gd name="connsiteY9" fmla="*/ 0 h 4825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482702" h="482541">
                      <a:moveTo>
                        <a:pt x="283030" y="0"/>
                      </a:moveTo>
                      <a:lnTo>
                        <a:pt x="274757" y="0"/>
                      </a:lnTo>
                      <a:cubicBezTo>
                        <a:pt x="274757" y="151427"/>
                        <a:pt x="151478" y="274665"/>
                        <a:pt x="0" y="274665"/>
                      </a:cubicBezTo>
                      <a:lnTo>
                        <a:pt x="0" y="282936"/>
                      </a:lnTo>
                      <a:cubicBezTo>
                        <a:pt x="156098" y="282867"/>
                        <a:pt x="283030" y="155976"/>
                        <a:pt x="283030" y="0"/>
                      </a:cubicBezTo>
                      <a:close/>
                      <a:moveTo>
                        <a:pt x="482703" y="0"/>
                      </a:moveTo>
                      <a:lnTo>
                        <a:pt x="474429" y="0"/>
                      </a:lnTo>
                      <a:cubicBezTo>
                        <a:pt x="474429" y="261500"/>
                        <a:pt x="261588" y="474270"/>
                        <a:pt x="0" y="474270"/>
                      </a:cubicBezTo>
                      <a:lnTo>
                        <a:pt x="0" y="482541"/>
                      </a:lnTo>
                      <a:cubicBezTo>
                        <a:pt x="266207" y="482472"/>
                        <a:pt x="482703" y="266049"/>
                        <a:pt x="482703" y="0"/>
                      </a:cubicBezTo>
                      <a:close/>
                    </a:path>
                  </a:pathLst>
                </a:custGeom>
                <a:solidFill>
                  <a:srgbClr val="E4E4E4"/>
                </a:solidFill>
                <a:ln w="68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 dirty="0"/>
                </a:p>
              </p:txBody>
            </p:sp>
          </p:grpSp>
          <p:sp>
            <p:nvSpPr>
              <p:cNvPr id="112" name="Freeform 111">
                <a:extLst>
                  <a:ext uri="{FF2B5EF4-FFF2-40B4-BE49-F238E27FC236}">
                    <a16:creationId xmlns:a16="http://schemas.microsoft.com/office/drawing/2014/main" id="{2DA85A6E-B094-8745-B816-25F2B7115E25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895584" y="791668"/>
                <a:ext cx="366388" cy="383910"/>
              </a:xfrm>
              <a:custGeom>
                <a:avLst/>
                <a:gdLst>
                  <a:gd name="connsiteX0" fmla="*/ 119004 w 366388"/>
                  <a:gd name="connsiteY0" fmla="*/ 359304 h 383910"/>
                  <a:gd name="connsiteX1" fmla="*/ 116453 w 366388"/>
                  <a:gd name="connsiteY1" fmla="*/ 351791 h 383910"/>
                  <a:gd name="connsiteX2" fmla="*/ 116315 w 366388"/>
                  <a:gd name="connsiteY2" fmla="*/ 351447 h 383910"/>
                  <a:gd name="connsiteX3" fmla="*/ 115970 w 366388"/>
                  <a:gd name="connsiteY3" fmla="*/ 351584 h 383910"/>
                  <a:gd name="connsiteX4" fmla="*/ 67707 w 366388"/>
                  <a:gd name="connsiteY4" fmla="*/ 366334 h 383910"/>
                  <a:gd name="connsiteX5" fmla="*/ 68258 w 366388"/>
                  <a:gd name="connsiteY5" fmla="*/ 370332 h 383910"/>
                  <a:gd name="connsiteX6" fmla="*/ 69155 w 366388"/>
                  <a:gd name="connsiteY6" fmla="*/ 374123 h 383910"/>
                  <a:gd name="connsiteX7" fmla="*/ 119004 w 366388"/>
                  <a:gd name="connsiteY7" fmla="*/ 359304 h 383910"/>
                  <a:gd name="connsiteX8" fmla="*/ 359425 w 366388"/>
                  <a:gd name="connsiteY8" fmla="*/ 73336 h 383910"/>
                  <a:gd name="connsiteX9" fmla="*/ 351289 w 366388"/>
                  <a:gd name="connsiteY9" fmla="*/ 71819 h 383910"/>
                  <a:gd name="connsiteX10" fmla="*/ 351220 w 366388"/>
                  <a:gd name="connsiteY10" fmla="*/ 72164 h 383910"/>
                  <a:gd name="connsiteX11" fmla="*/ 338258 w 366388"/>
                  <a:gd name="connsiteY11" fmla="*/ 120894 h 383910"/>
                  <a:gd name="connsiteX12" fmla="*/ 338119 w 366388"/>
                  <a:gd name="connsiteY12" fmla="*/ 121238 h 383910"/>
                  <a:gd name="connsiteX13" fmla="*/ 345635 w 366388"/>
                  <a:gd name="connsiteY13" fmla="*/ 123789 h 383910"/>
                  <a:gd name="connsiteX14" fmla="*/ 359286 w 366388"/>
                  <a:gd name="connsiteY14" fmla="*/ 73680 h 383910"/>
                  <a:gd name="connsiteX15" fmla="*/ 359425 w 366388"/>
                  <a:gd name="connsiteY15" fmla="*/ 73336 h 383910"/>
                  <a:gd name="connsiteX16" fmla="*/ 43782 w 366388"/>
                  <a:gd name="connsiteY16" fmla="*/ 379499 h 383910"/>
                  <a:gd name="connsiteX17" fmla="*/ 43368 w 366388"/>
                  <a:gd name="connsiteY17" fmla="*/ 374743 h 383910"/>
                  <a:gd name="connsiteX18" fmla="*/ 42816 w 366388"/>
                  <a:gd name="connsiteY18" fmla="*/ 371297 h 383910"/>
                  <a:gd name="connsiteX19" fmla="*/ 42472 w 366388"/>
                  <a:gd name="connsiteY19" fmla="*/ 371366 h 383910"/>
                  <a:gd name="connsiteX20" fmla="*/ 0 w 366388"/>
                  <a:gd name="connsiteY20" fmla="*/ 375846 h 383910"/>
                  <a:gd name="connsiteX21" fmla="*/ 0 w 366388"/>
                  <a:gd name="connsiteY21" fmla="*/ 383910 h 383910"/>
                  <a:gd name="connsiteX22" fmla="*/ 43782 w 366388"/>
                  <a:gd name="connsiteY22" fmla="*/ 379499 h 383910"/>
                  <a:gd name="connsiteX23" fmla="*/ 358390 w 366388"/>
                  <a:gd name="connsiteY23" fmla="*/ 69 h 383910"/>
                  <a:gd name="connsiteX24" fmla="*/ 355219 w 366388"/>
                  <a:gd name="connsiteY24" fmla="*/ 46662 h 383910"/>
                  <a:gd name="connsiteX25" fmla="*/ 358183 w 366388"/>
                  <a:gd name="connsiteY25" fmla="*/ 47351 h 383910"/>
                  <a:gd name="connsiteX26" fmla="*/ 363079 w 366388"/>
                  <a:gd name="connsiteY26" fmla="*/ 47972 h 383910"/>
                  <a:gd name="connsiteX27" fmla="*/ 366388 w 366388"/>
                  <a:gd name="connsiteY27" fmla="*/ 0 h 383910"/>
                  <a:gd name="connsiteX28" fmla="*/ 358390 w 366388"/>
                  <a:gd name="connsiteY28" fmla="*/ 0 h 383910"/>
                  <a:gd name="connsiteX29" fmla="*/ 336878 w 366388"/>
                  <a:gd name="connsiteY29" fmla="*/ 148188 h 383910"/>
                  <a:gd name="connsiteX30" fmla="*/ 332466 w 366388"/>
                  <a:gd name="connsiteY30" fmla="*/ 145982 h 383910"/>
                  <a:gd name="connsiteX31" fmla="*/ 329363 w 366388"/>
                  <a:gd name="connsiteY31" fmla="*/ 144673 h 383910"/>
                  <a:gd name="connsiteX32" fmla="*/ 327984 w 366388"/>
                  <a:gd name="connsiteY32" fmla="*/ 147774 h 383910"/>
                  <a:gd name="connsiteX33" fmla="*/ 306542 w 366388"/>
                  <a:gd name="connsiteY33" fmla="*/ 190094 h 383910"/>
                  <a:gd name="connsiteX34" fmla="*/ 313160 w 366388"/>
                  <a:gd name="connsiteY34" fmla="*/ 194436 h 383910"/>
                  <a:gd name="connsiteX35" fmla="*/ 335844 w 366388"/>
                  <a:gd name="connsiteY35" fmla="*/ 150325 h 383910"/>
                  <a:gd name="connsiteX36" fmla="*/ 336878 w 366388"/>
                  <a:gd name="connsiteY36" fmla="*/ 148188 h 383910"/>
                  <a:gd name="connsiteX37" fmla="*/ 249660 w 366388"/>
                  <a:gd name="connsiteY37" fmla="*/ 276250 h 383910"/>
                  <a:gd name="connsiteX38" fmla="*/ 247109 w 366388"/>
                  <a:gd name="connsiteY38" fmla="*/ 273148 h 383910"/>
                  <a:gd name="connsiteX39" fmla="*/ 244144 w 366388"/>
                  <a:gd name="connsiteY39" fmla="*/ 270116 h 383910"/>
                  <a:gd name="connsiteX40" fmla="*/ 236973 w 366388"/>
                  <a:gd name="connsiteY40" fmla="*/ 276526 h 383910"/>
                  <a:gd name="connsiteX41" fmla="*/ 205188 w 366388"/>
                  <a:gd name="connsiteY41" fmla="*/ 302717 h 383910"/>
                  <a:gd name="connsiteX42" fmla="*/ 208567 w 366388"/>
                  <a:gd name="connsiteY42" fmla="*/ 307955 h 383910"/>
                  <a:gd name="connsiteX43" fmla="*/ 209532 w 366388"/>
                  <a:gd name="connsiteY43" fmla="*/ 309334 h 383910"/>
                  <a:gd name="connsiteX44" fmla="*/ 242903 w 366388"/>
                  <a:gd name="connsiteY44" fmla="*/ 282246 h 383910"/>
                  <a:gd name="connsiteX45" fmla="*/ 249660 w 366388"/>
                  <a:gd name="connsiteY45" fmla="*/ 276250 h 383910"/>
                  <a:gd name="connsiteX46" fmla="*/ 186504 w 366388"/>
                  <a:gd name="connsiteY46" fmla="*/ 320568 h 383910"/>
                  <a:gd name="connsiteX47" fmla="*/ 184435 w 366388"/>
                  <a:gd name="connsiteY47" fmla="*/ 317260 h 383910"/>
                  <a:gd name="connsiteX48" fmla="*/ 184159 w 366388"/>
                  <a:gd name="connsiteY48" fmla="*/ 317467 h 383910"/>
                  <a:gd name="connsiteX49" fmla="*/ 139826 w 366388"/>
                  <a:gd name="connsiteY49" fmla="*/ 341590 h 383910"/>
                  <a:gd name="connsiteX50" fmla="*/ 142170 w 366388"/>
                  <a:gd name="connsiteY50" fmla="*/ 347518 h 383910"/>
                  <a:gd name="connsiteX51" fmla="*/ 142791 w 366388"/>
                  <a:gd name="connsiteY51" fmla="*/ 348896 h 383910"/>
                  <a:gd name="connsiteX52" fmla="*/ 188641 w 366388"/>
                  <a:gd name="connsiteY52" fmla="*/ 324428 h 383910"/>
                  <a:gd name="connsiteX53" fmla="*/ 186504 w 366388"/>
                  <a:gd name="connsiteY53" fmla="*/ 320568 h 383910"/>
                  <a:gd name="connsiteX54" fmla="*/ 299854 w 366388"/>
                  <a:gd name="connsiteY54" fmla="*/ 216630 h 383910"/>
                  <a:gd name="connsiteX55" fmla="*/ 293511 w 366388"/>
                  <a:gd name="connsiteY55" fmla="*/ 211874 h 383910"/>
                  <a:gd name="connsiteX56" fmla="*/ 293235 w 366388"/>
                  <a:gd name="connsiteY56" fmla="*/ 211668 h 383910"/>
                  <a:gd name="connsiteX57" fmla="*/ 285650 w 366388"/>
                  <a:gd name="connsiteY57" fmla="*/ 221937 h 383910"/>
                  <a:gd name="connsiteX58" fmla="*/ 261656 w 366388"/>
                  <a:gd name="connsiteY58" fmla="*/ 251437 h 383910"/>
                  <a:gd name="connsiteX59" fmla="*/ 267310 w 366388"/>
                  <a:gd name="connsiteY59" fmla="*/ 257020 h 383910"/>
                  <a:gd name="connsiteX60" fmla="*/ 292545 w 366388"/>
                  <a:gd name="connsiteY60" fmla="*/ 226486 h 383910"/>
                  <a:gd name="connsiteX61" fmla="*/ 299854 w 366388"/>
                  <a:gd name="connsiteY61" fmla="*/ 216630 h 3839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</a:cxnLst>
                <a:rect l="l" t="t" r="r" b="b"/>
                <a:pathLst>
                  <a:path w="366388" h="383910">
                    <a:moveTo>
                      <a:pt x="119004" y="359304"/>
                    </a:moveTo>
                    <a:cubicBezTo>
                      <a:pt x="119210" y="358890"/>
                      <a:pt x="116453" y="351791"/>
                      <a:pt x="116453" y="351791"/>
                    </a:cubicBezTo>
                    <a:lnTo>
                      <a:pt x="116315" y="351447"/>
                    </a:lnTo>
                    <a:lnTo>
                      <a:pt x="115970" y="351584"/>
                    </a:lnTo>
                    <a:cubicBezTo>
                      <a:pt x="99285" y="358063"/>
                      <a:pt x="83565" y="362819"/>
                      <a:pt x="67707" y="366334"/>
                    </a:cubicBezTo>
                    <a:cubicBezTo>
                      <a:pt x="67431" y="366748"/>
                      <a:pt x="68258" y="370332"/>
                      <a:pt x="68258" y="370332"/>
                    </a:cubicBezTo>
                    <a:lnTo>
                      <a:pt x="69155" y="374123"/>
                    </a:lnTo>
                    <a:cubicBezTo>
                      <a:pt x="85771" y="370883"/>
                      <a:pt x="101974" y="365921"/>
                      <a:pt x="119004" y="359304"/>
                    </a:cubicBezTo>
                    <a:close/>
                    <a:moveTo>
                      <a:pt x="359425" y="73336"/>
                    </a:moveTo>
                    <a:lnTo>
                      <a:pt x="351289" y="71819"/>
                    </a:lnTo>
                    <a:lnTo>
                      <a:pt x="351220" y="72164"/>
                    </a:lnTo>
                    <a:cubicBezTo>
                      <a:pt x="347841" y="89257"/>
                      <a:pt x="343498" y="105661"/>
                      <a:pt x="338258" y="120894"/>
                    </a:cubicBezTo>
                    <a:lnTo>
                      <a:pt x="338119" y="121238"/>
                    </a:lnTo>
                    <a:lnTo>
                      <a:pt x="345635" y="123789"/>
                    </a:lnTo>
                    <a:cubicBezTo>
                      <a:pt x="351358" y="108005"/>
                      <a:pt x="355839" y="91256"/>
                      <a:pt x="359286" y="73680"/>
                    </a:cubicBezTo>
                    <a:lnTo>
                      <a:pt x="359425" y="73336"/>
                    </a:lnTo>
                    <a:close/>
                    <a:moveTo>
                      <a:pt x="43782" y="379499"/>
                    </a:moveTo>
                    <a:cubicBezTo>
                      <a:pt x="44057" y="379085"/>
                      <a:pt x="43368" y="374743"/>
                      <a:pt x="43368" y="374743"/>
                    </a:cubicBezTo>
                    <a:lnTo>
                      <a:pt x="42816" y="371297"/>
                    </a:lnTo>
                    <a:lnTo>
                      <a:pt x="42472" y="371366"/>
                    </a:lnTo>
                    <a:cubicBezTo>
                      <a:pt x="28751" y="373778"/>
                      <a:pt x="14479" y="375226"/>
                      <a:pt x="0" y="375846"/>
                    </a:cubicBezTo>
                    <a:lnTo>
                      <a:pt x="0" y="383910"/>
                    </a:lnTo>
                    <a:cubicBezTo>
                      <a:pt x="15031" y="383497"/>
                      <a:pt x="29716" y="381980"/>
                      <a:pt x="43782" y="379499"/>
                    </a:cubicBezTo>
                    <a:close/>
                    <a:moveTo>
                      <a:pt x="358390" y="69"/>
                    </a:moveTo>
                    <a:cubicBezTo>
                      <a:pt x="358045" y="15026"/>
                      <a:pt x="357149" y="30603"/>
                      <a:pt x="355219" y="46662"/>
                    </a:cubicBezTo>
                    <a:cubicBezTo>
                      <a:pt x="355494" y="47007"/>
                      <a:pt x="358183" y="47351"/>
                      <a:pt x="358183" y="47351"/>
                    </a:cubicBezTo>
                    <a:lnTo>
                      <a:pt x="363079" y="47972"/>
                    </a:lnTo>
                    <a:cubicBezTo>
                      <a:pt x="365354" y="31154"/>
                      <a:pt x="366319" y="15163"/>
                      <a:pt x="366388" y="0"/>
                    </a:cubicBezTo>
                    <a:lnTo>
                      <a:pt x="358390" y="0"/>
                    </a:lnTo>
                    <a:close/>
                    <a:moveTo>
                      <a:pt x="336878" y="148188"/>
                    </a:moveTo>
                    <a:cubicBezTo>
                      <a:pt x="336672" y="147705"/>
                      <a:pt x="332466" y="145982"/>
                      <a:pt x="332466" y="145982"/>
                    </a:cubicBezTo>
                    <a:lnTo>
                      <a:pt x="329363" y="144673"/>
                    </a:lnTo>
                    <a:lnTo>
                      <a:pt x="327984" y="147774"/>
                    </a:lnTo>
                    <a:cubicBezTo>
                      <a:pt x="322331" y="160388"/>
                      <a:pt x="315229" y="176102"/>
                      <a:pt x="306542" y="190094"/>
                    </a:cubicBezTo>
                    <a:cubicBezTo>
                      <a:pt x="306679" y="190577"/>
                      <a:pt x="313160" y="194436"/>
                      <a:pt x="313160" y="194436"/>
                    </a:cubicBezTo>
                    <a:cubicBezTo>
                      <a:pt x="322606" y="179893"/>
                      <a:pt x="329984" y="163489"/>
                      <a:pt x="335844" y="150325"/>
                    </a:cubicBezTo>
                    <a:lnTo>
                      <a:pt x="336878" y="148188"/>
                    </a:lnTo>
                    <a:close/>
                    <a:moveTo>
                      <a:pt x="249660" y="276250"/>
                    </a:moveTo>
                    <a:cubicBezTo>
                      <a:pt x="249660" y="275767"/>
                      <a:pt x="247109" y="273148"/>
                      <a:pt x="247109" y="273148"/>
                    </a:cubicBezTo>
                    <a:lnTo>
                      <a:pt x="244144" y="270116"/>
                    </a:lnTo>
                    <a:lnTo>
                      <a:pt x="236973" y="276526"/>
                    </a:lnTo>
                    <a:cubicBezTo>
                      <a:pt x="226079" y="286382"/>
                      <a:pt x="216151" y="295204"/>
                      <a:pt x="205188" y="302717"/>
                    </a:cubicBezTo>
                    <a:cubicBezTo>
                      <a:pt x="205119" y="303199"/>
                      <a:pt x="208567" y="307955"/>
                      <a:pt x="208567" y="307955"/>
                    </a:cubicBezTo>
                    <a:lnTo>
                      <a:pt x="209532" y="309334"/>
                    </a:lnTo>
                    <a:cubicBezTo>
                      <a:pt x="222150" y="300994"/>
                      <a:pt x="233664" y="290655"/>
                      <a:pt x="242903" y="282246"/>
                    </a:cubicBezTo>
                    <a:lnTo>
                      <a:pt x="249660" y="276250"/>
                    </a:lnTo>
                    <a:close/>
                    <a:moveTo>
                      <a:pt x="186504" y="320568"/>
                    </a:moveTo>
                    <a:lnTo>
                      <a:pt x="184435" y="317260"/>
                    </a:lnTo>
                    <a:lnTo>
                      <a:pt x="184159" y="317467"/>
                    </a:lnTo>
                    <a:cubicBezTo>
                      <a:pt x="170508" y="325876"/>
                      <a:pt x="155684" y="334629"/>
                      <a:pt x="139826" y="341590"/>
                    </a:cubicBezTo>
                    <a:cubicBezTo>
                      <a:pt x="139688" y="342073"/>
                      <a:pt x="142170" y="347518"/>
                      <a:pt x="142170" y="347518"/>
                    </a:cubicBezTo>
                    <a:lnTo>
                      <a:pt x="142791" y="348896"/>
                    </a:lnTo>
                    <a:cubicBezTo>
                      <a:pt x="159545" y="341935"/>
                      <a:pt x="174644" y="333044"/>
                      <a:pt x="188641" y="324428"/>
                    </a:cubicBezTo>
                    <a:cubicBezTo>
                      <a:pt x="188641" y="323946"/>
                      <a:pt x="186504" y="320568"/>
                      <a:pt x="186504" y="320568"/>
                    </a:cubicBezTo>
                    <a:close/>
                    <a:moveTo>
                      <a:pt x="299854" y="216630"/>
                    </a:moveTo>
                    <a:cubicBezTo>
                      <a:pt x="299785" y="216148"/>
                      <a:pt x="293511" y="211874"/>
                      <a:pt x="293511" y="211874"/>
                    </a:cubicBezTo>
                    <a:lnTo>
                      <a:pt x="293235" y="211668"/>
                    </a:lnTo>
                    <a:lnTo>
                      <a:pt x="285650" y="221937"/>
                    </a:lnTo>
                    <a:cubicBezTo>
                      <a:pt x="277652" y="232896"/>
                      <a:pt x="270275" y="242615"/>
                      <a:pt x="261656" y="251437"/>
                    </a:cubicBezTo>
                    <a:cubicBezTo>
                      <a:pt x="261656" y="251920"/>
                      <a:pt x="267310" y="257020"/>
                      <a:pt x="267310" y="257020"/>
                    </a:cubicBezTo>
                    <a:cubicBezTo>
                      <a:pt x="276618" y="247922"/>
                      <a:pt x="284271" y="237859"/>
                      <a:pt x="292545" y="226486"/>
                    </a:cubicBezTo>
                    <a:lnTo>
                      <a:pt x="299854" y="216630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</p:grp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4EB07EEB-5330-EA4F-AD65-4B9871467541}"/>
              </a:ext>
            </a:extLst>
          </p:cNvPr>
          <p:cNvGrpSpPr>
            <a:grpSpLocks noChangeAspect="1"/>
          </p:cNvGrpSpPr>
          <p:nvPr/>
        </p:nvGrpSpPr>
        <p:grpSpPr>
          <a:xfrm rot="16200000">
            <a:off x="4945825" y="2832041"/>
            <a:ext cx="2556873" cy="439200"/>
            <a:chOff x="515508" y="1450725"/>
            <a:chExt cx="1362269" cy="233999"/>
          </a:xfrm>
        </p:grpSpPr>
        <p:sp>
          <p:nvSpPr>
            <p:cNvPr id="120" name="Freeform 119">
              <a:extLst>
                <a:ext uri="{FF2B5EF4-FFF2-40B4-BE49-F238E27FC236}">
                  <a16:creationId xmlns:a16="http://schemas.microsoft.com/office/drawing/2014/main" id="{221605D0-EA8F-2140-9588-FD7CE15A64F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15508" y="1450725"/>
              <a:ext cx="1362269" cy="233999"/>
            </a:xfrm>
            <a:custGeom>
              <a:avLst/>
              <a:gdLst>
                <a:gd name="connsiteX0" fmla="*/ 0 w 1362269"/>
                <a:gd name="connsiteY0" fmla="*/ 0 h 233999"/>
                <a:gd name="connsiteX1" fmla="*/ 1362269 w 1362269"/>
                <a:gd name="connsiteY1" fmla="*/ 0 h 233999"/>
                <a:gd name="connsiteX2" fmla="*/ 1362269 w 1362269"/>
                <a:gd name="connsiteY2" fmla="*/ 233999 h 233999"/>
                <a:gd name="connsiteX3" fmla="*/ 0 w 1362269"/>
                <a:gd name="connsiteY3" fmla="*/ 233999 h 233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2269" h="233999">
                  <a:moveTo>
                    <a:pt x="0" y="0"/>
                  </a:moveTo>
                  <a:lnTo>
                    <a:pt x="1362269" y="0"/>
                  </a:lnTo>
                  <a:lnTo>
                    <a:pt x="1362269" y="233999"/>
                  </a:lnTo>
                  <a:lnTo>
                    <a:pt x="0" y="233999"/>
                  </a:lnTo>
                  <a:close/>
                </a:path>
              </a:pathLst>
            </a:custGeom>
            <a:solidFill>
              <a:schemeClr val="tx2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121" name="Freeform 120">
              <a:extLst>
                <a:ext uri="{FF2B5EF4-FFF2-40B4-BE49-F238E27FC236}">
                  <a16:creationId xmlns:a16="http://schemas.microsoft.com/office/drawing/2014/main" id="{79D33D0D-2C2A-B245-BE86-F2C108ABDA0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53801" y="1563761"/>
              <a:ext cx="613152" cy="7995"/>
            </a:xfrm>
            <a:custGeom>
              <a:avLst/>
              <a:gdLst>
                <a:gd name="connsiteX0" fmla="*/ 559649 w 613152"/>
                <a:gd name="connsiteY0" fmla="*/ 0 h 7995"/>
                <a:gd name="connsiteX1" fmla="*/ 559649 w 613152"/>
                <a:gd name="connsiteY1" fmla="*/ 7995 h 7995"/>
                <a:gd name="connsiteX2" fmla="*/ 613152 w 613152"/>
                <a:gd name="connsiteY2" fmla="*/ 7995 h 7995"/>
                <a:gd name="connsiteX3" fmla="*/ 613152 w 613152"/>
                <a:gd name="connsiteY3" fmla="*/ 0 h 7995"/>
                <a:gd name="connsiteX4" fmla="*/ 559649 w 613152"/>
                <a:gd name="connsiteY4" fmla="*/ 0 h 7995"/>
                <a:gd name="connsiteX5" fmla="*/ 479049 w 613152"/>
                <a:gd name="connsiteY5" fmla="*/ 0 h 7995"/>
                <a:gd name="connsiteX6" fmla="*/ 479049 w 613152"/>
                <a:gd name="connsiteY6" fmla="*/ 7995 h 7995"/>
                <a:gd name="connsiteX7" fmla="*/ 532552 w 613152"/>
                <a:gd name="connsiteY7" fmla="*/ 7995 h 7995"/>
                <a:gd name="connsiteX8" fmla="*/ 532552 w 613152"/>
                <a:gd name="connsiteY8" fmla="*/ 0 h 7995"/>
                <a:gd name="connsiteX9" fmla="*/ 479049 w 613152"/>
                <a:gd name="connsiteY9" fmla="*/ 0 h 7995"/>
                <a:gd name="connsiteX10" fmla="*/ 398449 w 613152"/>
                <a:gd name="connsiteY10" fmla="*/ 0 h 7995"/>
                <a:gd name="connsiteX11" fmla="*/ 398449 w 613152"/>
                <a:gd name="connsiteY11" fmla="*/ 7995 h 7995"/>
                <a:gd name="connsiteX12" fmla="*/ 451952 w 613152"/>
                <a:gd name="connsiteY12" fmla="*/ 7995 h 7995"/>
                <a:gd name="connsiteX13" fmla="*/ 451952 w 613152"/>
                <a:gd name="connsiteY13" fmla="*/ 0 h 7995"/>
                <a:gd name="connsiteX14" fmla="*/ 398449 w 613152"/>
                <a:gd name="connsiteY14" fmla="*/ 0 h 7995"/>
                <a:gd name="connsiteX15" fmla="*/ 317918 w 613152"/>
                <a:gd name="connsiteY15" fmla="*/ 0 h 7995"/>
                <a:gd name="connsiteX16" fmla="*/ 317918 w 613152"/>
                <a:gd name="connsiteY16" fmla="*/ 7995 h 7995"/>
                <a:gd name="connsiteX17" fmla="*/ 371421 w 613152"/>
                <a:gd name="connsiteY17" fmla="*/ 7995 h 7995"/>
                <a:gd name="connsiteX18" fmla="*/ 371421 w 613152"/>
                <a:gd name="connsiteY18" fmla="*/ 0 h 7995"/>
                <a:gd name="connsiteX19" fmla="*/ 317918 w 613152"/>
                <a:gd name="connsiteY19" fmla="*/ 0 h 7995"/>
                <a:gd name="connsiteX20" fmla="*/ 237318 w 613152"/>
                <a:gd name="connsiteY20" fmla="*/ 0 h 7995"/>
                <a:gd name="connsiteX21" fmla="*/ 237318 w 613152"/>
                <a:gd name="connsiteY21" fmla="*/ 7995 h 7995"/>
                <a:gd name="connsiteX22" fmla="*/ 290822 w 613152"/>
                <a:gd name="connsiteY22" fmla="*/ 7995 h 7995"/>
                <a:gd name="connsiteX23" fmla="*/ 290822 w 613152"/>
                <a:gd name="connsiteY23" fmla="*/ 0 h 7995"/>
                <a:gd name="connsiteX24" fmla="*/ 237318 w 613152"/>
                <a:gd name="connsiteY24" fmla="*/ 0 h 7995"/>
                <a:gd name="connsiteX25" fmla="*/ 156787 w 613152"/>
                <a:gd name="connsiteY25" fmla="*/ 0 h 7995"/>
                <a:gd name="connsiteX26" fmla="*/ 156787 w 613152"/>
                <a:gd name="connsiteY26" fmla="*/ 7995 h 7995"/>
                <a:gd name="connsiteX27" fmla="*/ 210291 w 613152"/>
                <a:gd name="connsiteY27" fmla="*/ 7995 h 7995"/>
                <a:gd name="connsiteX28" fmla="*/ 210291 w 613152"/>
                <a:gd name="connsiteY28" fmla="*/ 0 h 7995"/>
                <a:gd name="connsiteX29" fmla="*/ 156787 w 613152"/>
                <a:gd name="connsiteY29" fmla="*/ 0 h 7995"/>
                <a:gd name="connsiteX30" fmla="*/ 76187 w 613152"/>
                <a:gd name="connsiteY30" fmla="*/ 0 h 7995"/>
                <a:gd name="connsiteX31" fmla="*/ 76187 w 613152"/>
                <a:gd name="connsiteY31" fmla="*/ 7995 h 7995"/>
                <a:gd name="connsiteX32" fmla="*/ 129691 w 613152"/>
                <a:gd name="connsiteY32" fmla="*/ 7995 h 7995"/>
                <a:gd name="connsiteX33" fmla="*/ 129691 w 613152"/>
                <a:gd name="connsiteY33" fmla="*/ 0 h 7995"/>
                <a:gd name="connsiteX34" fmla="*/ 76187 w 613152"/>
                <a:gd name="connsiteY34" fmla="*/ 0 h 7995"/>
                <a:gd name="connsiteX35" fmla="*/ 0 w 613152"/>
                <a:gd name="connsiteY35" fmla="*/ 0 h 7995"/>
                <a:gd name="connsiteX36" fmla="*/ 0 w 613152"/>
                <a:gd name="connsiteY36" fmla="*/ 7995 h 7995"/>
                <a:gd name="connsiteX37" fmla="*/ 49091 w 613152"/>
                <a:gd name="connsiteY37" fmla="*/ 7995 h 7995"/>
                <a:gd name="connsiteX38" fmla="*/ 49091 w 613152"/>
                <a:gd name="connsiteY38" fmla="*/ 0 h 7995"/>
                <a:gd name="connsiteX39" fmla="*/ 0 w 613152"/>
                <a:gd name="connsiteY39" fmla="*/ 0 h 7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613152" h="7995">
                  <a:moveTo>
                    <a:pt x="559649" y="0"/>
                  </a:moveTo>
                  <a:cubicBezTo>
                    <a:pt x="559649" y="1792"/>
                    <a:pt x="559649" y="6203"/>
                    <a:pt x="559649" y="7995"/>
                  </a:cubicBezTo>
                  <a:cubicBezTo>
                    <a:pt x="562200" y="7995"/>
                    <a:pt x="610601" y="7995"/>
                    <a:pt x="613152" y="7995"/>
                  </a:cubicBezTo>
                  <a:cubicBezTo>
                    <a:pt x="613152" y="6203"/>
                    <a:pt x="613152" y="1792"/>
                    <a:pt x="613152" y="0"/>
                  </a:cubicBezTo>
                  <a:cubicBezTo>
                    <a:pt x="610532" y="0"/>
                    <a:pt x="562200" y="0"/>
                    <a:pt x="559649" y="0"/>
                  </a:cubicBezTo>
                  <a:close/>
                  <a:moveTo>
                    <a:pt x="479049" y="0"/>
                  </a:moveTo>
                  <a:cubicBezTo>
                    <a:pt x="479049" y="1792"/>
                    <a:pt x="479049" y="6203"/>
                    <a:pt x="479049" y="7995"/>
                  </a:cubicBezTo>
                  <a:cubicBezTo>
                    <a:pt x="481600" y="7995"/>
                    <a:pt x="530001" y="7995"/>
                    <a:pt x="532552" y="7995"/>
                  </a:cubicBezTo>
                  <a:cubicBezTo>
                    <a:pt x="532552" y="6203"/>
                    <a:pt x="532552" y="1792"/>
                    <a:pt x="532552" y="0"/>
                  </a:cubicBezTo>
                  <a:cubicBezTo>
                    <a:pt x="530001" y="0"/>
                    <a:pt x="481600" y="0"/>
                    <a:pt x="479049" y="0"/>
                  </a:cubicBezTo>
                  <a:close/>
                  <a:moveTo>
                    <a:pt x="398449" y="0"/>
                  </a:moveTo>
                  <a:cubicBezTo>
                    <a:pt x="398449" y="1792"/>
                    <a:pt x="398449" y="6203"/>
                    <a:pt x="398449" y="7995"/>
                  </a:cubicBezTo>
                  <a:cubicBezTo>
                    <a:pt x="401000" y="7995"/>
                    <a:pt x="449401" y="7995"/>
                    <a:pt x="451952" y="7995"/>
                  </a:cubicBezTo>
                  <a:cubicBezTo>
                    <a:pt x="451952" y="6203"/>
                    <a:pt x="451952" y="1792"/>
                    <a:pt x="451952" y="0"/>
                  </a:cubicBezTo>
                  <a:cubicBezTo>
                    <a:pt x="449401" y="0"/>
                    <a:pt x="401069" y="0"/>
                    <a:pt x="398449" y="0"/>
                  </a:cubicBezTo>
                  <a:close/>
                  <a:moveTo>
                    <a:pt x="317918" y="0"/>
                  </a:moveTo>
                  <a:cubicBezTo>
                    <a:pt x="317918" y="1792"/>
                    <a:pt x="317918" y="6203"/>
                    <a:pt x="317918" y="7995"/>
                  </a:cubicBezTo>
                  <a:cubicBezTo>
                    <a:pt x="320469" y="7995"/>
                    <a:pt x="368870" y="7995"/>
                    <a:pt x="371421" y="7995"/>
                  </a:cubicBezTo>
                  <a:cubicBezTo>
                    <a:pt x="371421" y="6203"/>
                    <a:pt x="371421" y="1792"/>
                    <a:pt x="371421" y="0"/>
                  </a:cubicBezTo>
                  <a:cubicBezTo>
                    <a:pt x="368801" y="0"/>
                    <a:pt x="320469" y="0"/>
                    <a:pt x="317918" y="0"/>
                  </a:cubicBezTo>
                  <a:close/>
                  <a:moveTo>
                    <a:pt x="237318" y="0"/>
                  </a:moveTo>
                  <a:cubicBezTo>
                    <a:pt x="237318" y="1792"/>
                    <a:pt x="237318" y="6203"/>
                    <a:pt x="237318" y="7995"/>
                  </a:cubicBezTo>
                  <a:cubicBezTo>
                    <a:pt x="239869" y="7995"/>
                    <a:pt x="288270" y="7995"/>
                    <a:pt x="290822" y="7995"/>
                  </a:cubicBezTo>
                  <a:cubicBezTo>
                    <a:pt x="290822" y="6203"/>
                    <a:pt x="290822" y="1792"/>
                    <a:pt x="290822" y="0"/>
                  </a:cubicBezTo>
                  <a:cubicBezTo>
                    <a:pt x="288270" y="0"/>
                    <a:pt x="239869" y="0"/>
                    <a:pt x="237318" y="0"/>
                  </a:cubicBezTo>
                  <a:close/>
                  <a:moveTo>
                    <a:pt x="156787" y="0"/>
                  </a:moveTo>
                  <a:cubicBezTo>
                    <a:pt x="156787" y="1792"/>
                    <a:pt x="156787" y="6203"/>
                    <a:pt x="156787" y="7995"/>
                  </a:cubicBezTo>
                  <a:cubicBezTo>
                    <a:pt x="159338" y="7995"/>
                    <a:pt x="207740" y="7995"/>
                    <a:pt x="210291" y="7995"/>
                  </a:cubicBezTo>
                  <a:cubicBezTo>
                    <a:pt x="210291" y="6203"/>
                    <a:pt x="210291" y="1792"/>
                    <a:pt x="210291" y="0"/>
                  </a:cubicBezTo>
                  <a:cubicBezTo>
                    <a:pt x="207671" y="0"/>
                    <a:pt x="159338" y="0"/>
                    <a:pt x="156787" y="0"/>
                  </a:cubicBezTo>
                  <a:close/>
                  <a:moveTo>
                    <a:pt x="76187" y="0"/>
                  </a:moveTo>
                  <a:cubicBezTo>
                    <a:pt x="76187" y="1792"/>
                    <a:pt x="76187" y="6203"/>
                    <a:pt x="76187" y="7995"/>
                  </a:cubicBezTo>
                  <a:cubicBezTo>
                    <a:pt x="78738" y="7995"/>
                    <a:pt x="127140" y="7995"/>
                    <a:pt x="129691" y="7995"/>
                  </a:cubicBezTo>
                  <a:cubicBezTo>
                    <a:pt x="129691" y="6203"/>
                    <a:pt x="129691" y="1792"/>
                    <a:pt x="129691" y="0"/>
                  </a:cubicBezTo>
                  <a:cubicBezTo>
                    <a:pt x="127071" y="0"/>
                    <a:pt x="78738" y="0"/>
                    <a:pt x="76187" y="0"/>
                  </a:cubicBezTo>
                  <a:close/>
                  <a:moveTo>
                    <a:pt x="0" y="0"/>
                  </a:moveTo>
                  <a:cubicBezTo>
                    <a:pt x="0" y="1792"/>
                    <a:pt x="0" y="6203"/>
                    <a:pt x="0" y="7995"/>
                  </a:cubicBezTo>
                  <a:cubicBezTo>
                    <a:pt x="2551" y="7995"/>
                    <a:pt x="46540" y="7995"/>
                    <a:pt x="49091" y="7995"/>
                  </a:cubicBezTo>
                  <a:cubicBezTo>
                    <a:pt x="49091" y="6203"/>
                    <a:pt x="49091" y="1792"/>
                    <a:pt x="49091" y="0"/>
                  </a:cubicBezTo>
                  <a:cubicBezTo>
                    <a:pt x="46540" y="0"/>
                    <a:pt x="2551" y="0"/>
                    <a:pt x="0" y="0"/>
                  </a:cubicBezTo>
                  <a:close/>
                </a:path>
              </a:pathLst>
            </a:custGeom>
            <a:solidFill>
              <a:srgbClr val="E4E4E4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122" name="Freeform 121">
              <a:extLst>
                <a:ext uri="{FF2B5EF4-FFF2-40B4-BE49-F238E27FC236}">
                  <a16:creationId xmlns:a16="http://schemas.microsoft.com/office/drawing/2014/main" id="{ED745375-2275-FD4D-B33D-B58FECA89A0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13207" y="1563761"/>
              <a:ext cx="613083" cy="7995"/>
            </a:xfrm>
            <a:custGeom>
              <a:avLst/>
              <a:gdLst>
                <a:gd name="connsiteX0" fmla="*/ 559580 w 613083"/>
                <a:gd name="connsiteY0" fmla="*/ 0 h 7995"/>
                <a:gd name="connsiteX1" fmla="*/ 559580 w 613083"/>
                <a:gd name="connsiteY1" fmla="*/ 7995 h 7995"/>
                <a:gd name="connsiteX2" fmla="*/ 613083 w 613083"/>
                <a:gd name="connsiteY2" fmla="*/ 7995 h 7995"/>
                <a:gd name="connsiteX3" fmla="*/ 613083 w 613083"/>
                <a:gd name="connsiteY3" fmla="*/ 0 h 7995"/>
                <a:gd name="connsiteX4" fmla="*/ 559580 w 613083"/>
                <a:gd name="connsiteY4" fmla="*/ 0 h 7995"/>
                <a:gd name="connsiteX5" fmla="*/ 478980 w 613083"/>
                <a:gd name="connsiteY5" fmla="*/ 0 h 7995"/>
                <a:gd name="connsiteX6" fmla="*/ 478980 w 613083"/>
                <a:gd name="connsiteY6" fmla="*/ 7995 h 7995"/>
                <a:gd name="connsiteX7" fmla="*/ 532483 w 613083"/>
                <a:gd name="connsiteY7" fmla="*/ 7995 h 7995"/>
                <a:gd name="connsiteX8" fmla="*/ 532483 w 613083"/>
                <a:gd name="connsiteY8" fmla="*/ 0 h 7995"/>
                <a:gd name="connsiteX9" fmla="*/ 478980 w 613083"/>
                <a:gd name="connsiteY9" fmla="*/ 0 h 7995"/>
                <a:gd name="connsiteX10" fmla="*/ 398449 w 613083"/>
                <a:gd name="connsiteY10" fmla="*/ 0 h 7995"/>
                <a:gd name="connsiteX11" fmla="*/ 398449 w 613083"/>
                <a:gd name="connsiteY11" fmla="*/ 7995 h 7995"/>
                <a:gd name="connsiteX12" fmla="*/ 451952 w 613083"/>
                <a:gd name="connsiteY12" fmla="*/ 7995 h 7995"/>
                <a:gd name="connsiteX13" fmla="*/ 451952 w 613083"/>
                <a:gd name="connsiteY13" fmla="*/ 0 h 7995"/>
                <a:gd name="connsiteX14" fmla="*/ 398449 w 613083"/>
                <a:gd name="connsiteY14" fmla="*/ 0 h 7995"/>
                <a:gd name="connsiteX15" fmla="*/ 317849 w 613083"/>
                <a:gd name="connsiteY15" fmla="*/ 0 h 7995"/>
                <a:gd name="connsiteX16" fmla="*/ 317849 w 613083"/>
                <a:gd name="connsiteY16" fmla="*/ 7995 h 7995"/>
                <a:gd name="connsiteX17" fmla="*/ 371352 w 613083"/>
                <a:gd name="connsiteY17" fmla="*/ 7995 h 7995"/>
                <a:gd name="connsiteX18" fmla="*/ 371352 w 613083"/>
                <a:gd name="connsiteY18" fmla="*/ 0 h 7995"/>
                <a:gd name="connsiteX19" fmla="*/ 317849 w 613083"/>
                <a:gd name="connsiteY19" fmla="*/ 0 h 7995"/>
                <a:gd name="connsiteX20" fmla="*/ 237249 w 613083"/>
                <a:gd name="connsiteY20" fmla="*/ 0 h 7995"/>
                <a:gd name="connsiteX21" fmla="*/ 237249 w 613083"/>
                <a:gd name="connsiteY21" fmla="*/ 7995 h 7995"/>
                <a:gd name="connsiteX22" fmla="*/ 290753 w 613083"/>
                <a:gd name="connsiteY22" fmla="*/ 7995 h 7995"/>
                <a:gd name="connsiteX23" fmla="*/ 290753 w 613083"/>
                <a:gd name="connsiteY23" fmla="*/ 0 h 7995"/>
                <a:gd name="connsiteX24" fmla="*/ 237249 w 613083"/>
                <a:gd name="connsiteY24" fmla="*/ 0 h 7995"/>
                <a:gd name="connsiteX25" fmla="*/ 156718 w 613083"/>
                <a:gd name="connsiteY25" fmla="*/ 0 h 7995"/>
                <a:gd name="connsiteX26" fmla="*/ 156718 w 613083"/>
                <a:gd name="connsiteY26" fmla="*/ 7995 h 7995"/>
                <a:gd name="connsiteX27" fmla="*/ 210222 w 613083"/>
                <a:gd name="connsiteY27" fmla="*/ 7995 h 7995"/>
                <a:gd name="connsiteX28" fmla="*/ 210222 w 613083"/>
                <a:gd name="connsiteY28" fmla="*/ 0 h 7995"/>
                <a:gd name="connsiteX29" fmla="*/ 156718 w 613083"/>
                <a:gd name="connsiteY29" fmla="*/ 0 h 7995"/>
                <a:gd name="connsiteX30" fmla="*/ 76118 w 613083"/>
                <a:gd name="connsiteY30" fmla="*/ 0 h 7995"/>
                <a:gd name="connsiteX31" fmla="*/ 76118 w 613083"/>
                <a:gd name="connsiteY31" fmla="*/ 7995 h 7995"/>
                <a:gd name="connsiteX32" fmla="*/ 129622 w 613083"/>
                <a:gd name="connsiteY32" fmla="*/ 7995 h 7995"/>
                <a:gd name="connsiteX33" fmla="*/ 129622 w 613083"/>
                <a:gd name="connsiteY33" fmla="*/ 0 h 7995"/>
                <a:gd name="connsiteX34" fmla="*/ 76118 w 613083"/>
                <a:gd name="connsiteY34" fmla="*/ 0 h 7995"/>
                <a:gd name="connsiteX35" fmla="*/ 0 w 613083"/>
                <a:gd name="connsiteY35" fmla="*/ 0 h 7995"/>
                <a:gd name="connsiteX36" fmla="*/ 0 w 613083"/>
                <a:gd name="connsiteY36" fmla="*/ 7995 h 7995"/>
                <a:gd name="connsiteX37" fmla="*/ 49091 w 613083"/>
                <a:gd name="connsiteY37" fmla="*/ 7995 h 7995"/>
                <a:gd name="connsiteX38" fmla="*/ 49091 w 613083"/>
                <a:gd name="connsiteY38" fmla="*/ 0 h 7995"/>
                <a:gd name="connsiteX39" fmla="*/ 0 w 613083"/>
                <a:gd name="connsiteY39" fmla="*/ 0 h 7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613083" h="7995">
                  <a:moveTo>
                    <a:pt x="559580" y="0"/>
                  </a:moveTo>
                  <a:cubicBezTo>
                    <a:pt x="559580" y="1792"/>
                    <a:pt x="559580" y="6203"/>
                    <a:pt x="559580" y="7995"/>
                  </a:cubicBezTo>
                  <a:cubicBezTo>
                    <a:pt x="562131" y="7995"/>
                    <a:pt x="610532" y="7995"/>
                    <a:pt x="613083" y="7995"/>
                  </a:cubicBezTo>
                  <a:cubicBezTo>
                    <a:pt x="613083" y="6203"/>
                    <a:pt x="613083" y="1792"/>
                    <a:pt x="613083" y="0"/>
                  </a:cubicBezTo>
                  <a:cubicBezTo>
                    <a:pt x="610532" y="0"/>
                    <a:pt x="562131" y="0"/>
                    <a:pt x="559580" y="0"/>
                  </a:cubicBezTo>
                  <a:close/>
                  <a:moveTo>
                    <a:pt x="478980" y="0"/>
                  </a:moveTo>
                  <a:cubicBezTo>
                    <a:pt x="478980" y="1792"/>
                    <a:pt x="478980" y="6203"/>
                    <a:pt x="478980" y="7995"/>
                  </a:cubicBezTo>
                  <a:cubicBezTo>
                    <a:pt x="481531" y="7995"/>
                    <a:pt x="529932" y="7995"/>
                    <a:pt x="532483" y="7995"/>
                  </a:cubicBezTo>
                  <a:cubicBezTo>
                    <a:pt x="532483" y="6203"/>
                    <a:pt x="532483" y="1792"/>
                    <a:pt x="532483" y="0"/>
                  </a:cubicBezTo>
                  <a:cubicBezTo>
                    <a:pt x="529932" y="0"/>
                    <a:pt x="481531" y="0"/>
                    <a:pt x="478980" y="0"/>
                  </a:cubicBezTo>
                  <a:close/>
                  <a:moveTo>
                    <a:pt x="398449" y="0"/>
                  </a:moveTo>
                  <a:cubicBezTo>
                    <a:pt x="398449" y="1792"/>
                    <a:pt x="398449" y="6203"/>
                    <a:pt x="398449" y="7995"/>
                  </a:cubicBezTo>
                  <a:cubicBezTo>
                    <a:pt x="401000" y="7995"/>
                    <a:pt x="449401" y="7995"/>
                    <a:pt x="451952" y="7995"/>
                  </a:cubicBezTo>
                  <a:cubicBezTo>
                    <a:pt x="451952" y="6203"/>
                    <a:pt x="451952" y="1792"/>
                    <a:pt x="451952" y="0"/>
                  </a:cubicBezTo>
                  <a:cubicBezTo>
                    <a:pt x="449332" y="0"/>
                    <a:pt x="401000" y="0"/>
                    <a:pt x="398449" y="0"/>
                  </a:cubicBezTo>
                  <a:close/>
                  <a:moveTo>
                    <a:pt x="317849" y="0"/>
                  </a:moveTo>
                  <a:cubicBezTo>
                    <a:pt x="317849" y="1792"/>
                    <a:pt x="317849" y="6203"/>
                    <a:pt x="317849" y="7995"/>
                  </a:cubicBezTo>
                  <a:cubicBezTo>
                    <a:pt x="320400" y="7995"/>
                    <a:pt x="368801" y="7995"/>
                    <a:pt x="371352" y="7995"/>
                  </a:cubicBezTo>
                  <a:cubicBezTo>
                    <a:pt x="371352" y="6203"/>
                    <a:pt x="371352" y="1792"/>
                    <a:pt x="371352" y="0"/>
                  </a:cubicBezTo>
                  <a:cubicBezTo>
                    <a:pt x="368801" y="0"/>
                    <a:pt x="320400" y="0"/>
                    <a:pt x="317849" y="0"/>
                  </a:cubicBezTo>
                  <a:close/>
                  <a:moveTo>
                    <a:pt x="237249" y="0"/>
                  </a:moveTo>
                  <a:cubicBezTo>
                    <a:pt x="237249" y="1792"/>
                    <a:pt x="237249" y="6203"/>
                    <a:pt x="237249" y="7995"/>
                  </a:cubicBezTo>
                  <a:cubicBezTo>
                    <a:pt x="239800" y="7995"/>
                    <a:pt x="288201" y="7995"/>
                    <a:pt x="290753" y="7995"/>
                  </a:cubicBezTo>
                  <a:cubicBezTo>
                    <a:pt x="290753" y="6203"/>
                    <a:pt x="290753" y="1792"/>
                    <a:pt x="290753" y="0"/>
                  </a:cubicBezTo>
                  <a:cubicBezTo>
                    <a:pt x="288201" y="0"/>
                    <a:pt x="239869" y="0"/>
                    <a:pt x="237249" y="0"/>
                  </a:cubicBezTo>
                  <a:close/>
                  <a:moveTo>
                    <a:pt x="156718" y="0"/>
                  </a:moveTo>
                  <a:cubicBezTo>
                    <a:pt x="156718" y="1792"/>
                    <a:pt x="156718" y="6203"/>
                    <a:pt x="156718" y="7995"/>
                  </a:cubicBezTo>
                  <a:cubicBezTo>
                    <a:pt x="159269" y="7995"/>
                    <a:pt x="207671" y="7995"/>
                    <a:pt x="210222" y="7995"/>
                  </a:cubicBezTo>
                  <a:cubicBezTo>
                    <a:pt x="210222" y="6203"/>
                    <a:pt x="210222" y="1792"/>
                    <a:pt x="210222" y="0"/>
                  </a:cubicBezTo>
                  <a:cubicBezTo>
                    <a:pt x="207602" y="0"/>
                    <a:pt x="159269" y="0"/>
                    <a:pt x="156718" y="0"/>
                  </a:cubicBezTo>
                  <a:close/>
                  <a:moveTo>
                    <a:pt x="76118" y="0"/>
                  </a:moveTo>
                  <a:cubicBezTo>
                    <a:pt x="76118" y="1792"/>
                    <a:pt x="76118" y="6203"/>
                    <a:pt x="76118" y="7995"/>
                  </a:cubicBezTo>
                  <a:cubicBezTo>
                    <a:pt x="78669" y="7995"/>
                    <a:pt x="127071" y="7995"/>
                    <a:pt x="129622" y="7995"/>
                  </a:cubicBezTo>
                  <a:cubicBezTo>
                    <a:pt x="129622" y="6203"/>
                    <a:pt x="129622" y="1792"/>
                    <a:pt x="129622" y="0"/>
                  </a:cubicBezTo>
                  <a:cubicBezTo>
                    <a:pt x="127071" y="0"/>
                    <a:pt x="78669" y="0"/>
                    <a:pt x="76118" y="0"/>
                  </a:cubicBezTo>
                  <a:close/>
                  <a:moveTo>
                    <a:pt x="0" y="0"/>
                  </a:moveTo>
                  <a:cubicBezTo>
                    <a:pt x="0" y="1792"/>
                    <a:pt x="0" y="6203"/>
                    <a:pt x="0" y="7995"/>
                  </a:cubicBezTo>
                  <a:cubicBezTo>
                    <a:pt x="2551" y="7995"/>
                    <a:pt x="46540" y="7995"/>
                    <a:pt x="49091" y="7995"/>
                  </a:cubicBezTo>
                  <a:cubicBezTo>
                    <a:pt x="49091" y="6203"/>
                    <a:pt x="49091" y="1792"/>
                    <a:pt x="49091" y="0"/>
                  </a:cubicBezTo>
                  <a:cubicBezTo>
                    <a:pt x="46540" y="0"/>
                    <a:pt x="2551" y="0"/>
                    <a:pt x="0" y="0"/>
                  </a:cubicBezTo>
                  <a:close/>
                </a:path>
              </a:pathLst>
            </a:custGeom>
            <a:solidFill>
              <a:srgbClr val="E4E4E4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123" name="Freeform 122">
              <a:extLst>
                <a:ext uri="{FF2B5EF4-FFF2-40B4-BE49-F238E27FC236}">
                  <a16:creationId xmlns:a16="http://schemas.microsoft.com/office/drawing/2014/main" id="{F269D44B-7EA7-2940-A794-4BEC1C18EDF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28264" y="1563761"/>
              <a:ext cx="53503" cy="7995"/>
            </a:xfrm>
            <a:custGeom>
              <a:avLst/>
              <a:gdLst>
                <a:gd name="connsiteX0" fmla="*/ 0 w 53503"/>
                <a:gd name="connsiteY0" fmla="*/ 0 h 7995"/>
                <a:gd name="connsiteX1" fmla="*/ 0 w 53503"/>
                <a:gd name="connsiteY1" fmla="*/ 7995 h 7995"/>
                <a:gd name="connsiteX2" fmla="*/ 53503 w 53503"/>
                <a:gd name="connsiteY2" fmla="*/ 7995 h 7995"/>
                <a:gd name="connsiteX3" fmla="*/ 53503 w 53503"/>
                <a:gd name="connsiteY3" fmla="*/ 0 h 7995"/>
                <a:gd name="connsiteX4" fmla="*/ 0 w 53503"/>
                <a:gd name="connsiteY4" fmla="*/ 0 h 7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503" h="7995">
                  <a:moveTo>
                    <a:pt x="0" y="0"/>
                  </a:moveTo>
                  <a:cubicBezTo>
                    <a:pt x="0" y="1792"/>
                    <a:pt x="0" y="6203"/>
                    <a:pt x="0" y="7995"/>
                  </a:cubicBezTo>
                  <a:cubicBezTo>
                    <a:pt x="2551" y="7995"/>
                    <a:pt x="50952" y="7995"/>
                    <a:pt x="53503" y="7995"/>
                  </a:cubicBezTo>
                  <a:cubicBezTo>
                    <a:pt x="53503" y="6203"/>
                    <a:pt x="53503" y="1792"/>
                    <a:pt x="53503" y="0"/>
                  </a:cubicBezTo>
                  <a:cubicBezTo>
                    <a:pt x="50952" y="0"/>
                    <a:pt x="2551" y="0"/>
                    <a:pt x="0" y="0"/>
                  </a:cubicBezTo>
                  <a:close/>
                </a:path>
              </a:pathLst>
            </a:custGeom>
            <a:solidFill>
              <a:srgbClr val="E4E4E4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grpSp>
          <p:nvGrpSpPr>
            <p:cNvPr id="124" name="Graphic 4">
              <a:extLst>
                <a:ext uri="{FF2B5EF4-FFF2-40B4-BE49-F238E27FC236}">
                  <a16:creationId xmlns:a16="http://schemas.microsoft.com/office/drawing/2014/main" id="{59D032DA-EB96-7747-AD23-DD664789A410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15508" y="1463821"/>
              <a:ext cx="1362269" cy="207807"/>
              <a:chOff x="515508" y="1463821"/>
              <a:chExt cx="1362269" cy="207807"/>
            </a:xfrm>
            <a:solidFill>
              <a:srgbClr val="E4E4E4"/>
            </a:solidFill>
          </p:grpSpPr>
          <p:sp>
            <p:nvSpPr>
              <p:cNvPr id="125" name="Freeform 124">
                <a:extLst>
                  <a:ext uri="{FF2B5EF4-FFF2-40B4-BE49-F238E27FC236}">
                    <a16:creationId xmlns:a16="http://schemas.microsoft.com/office/drawing/2014/main" id="{2EE8AA35-56F8-9B4A-9844-34D58D8D5D6B}"/>
                  </a:ext>
                </a:extLst>
              </p:cNvPr>
              <p:cNvSpPr/>
              <p:nvPr/>
            </p:nvSpPr>
            <p:spPr>
              <a:xfrm>
                <a:off x="515508" y="1663357"/>
                <a:ext cx="1362269" cy="8270"/>
              </a:xfrm>
              <a:custGeom>
                <a:avLst/>
                <a:gdLst>
                  <a:gd name="connsiteX0" fmla="*/ 0 w 1362269"/>
                  <a:gd name="connsiteY0" fmla="*/ 0 h 8270"/>
                  <a:gd name="connsiteX1" fmla="*/ 1362269 w 1362269"/>
                  <a:gd name="connsiteY1" fmla="*/ 0 h 8270"/>
                  <a:gd name="connsiteX2" fmla="*/ 1362269 w 1362269"/>
                  <a:gd name="connsiteY2" fmla="*/ 8271 h 8270"/>
                  <a:gd name="connsiteX3" fmla="*/ 0 w 1362269"/>
                  <a:gd name="connsiteY3" fmla="*/ 8271 h 8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62269" h="8270">
                    <a:moveTo>
                      <a:pt x="0" y="0"/>
                    </a:moveTo>
                    <a:lnTo>
                      <a:pt x="1362269" y="0"/>
                    </a:lnTo>
                    <a:lnTo>
                      <a:pt x="1362269" y="8271"/>
                    </a:lnTo>
                    <a:lnTo>
                      <a:pt x="0" y="8271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  <p:sp>
            <p:nvSpPr>
              <p:cNvPr id="126" name="Freeform 125">
                <a:extLst>
                  <a:ext uri="{FF2B5EF4-FFF2-40B4-BE49-F238E27FC236}">
                    <a16:creationId xmlns:a16="http://schemas.microsoft.com/office/drawing/2014/main" id="{082B9E8C-1CE6-574E-B8A8-364503F61008}"/>
                  </a:ext>
                </a:extLst>
              </p:cNvPr>
              <p:cNvSpPr/>
              <p:nvPr/>
            </p:nvSpPr>
            <p:spPr>
              <a:xfrm>
                <a:off x="515508" y="1463821"/>
                <a:ext cx="1362269" cy="8270"/>
              </a:xfrm>
              <a:custGeom>
                <a:avLst/>
                <a:gdLst>
                  <a:gd name="connsiteX0" fmla="*/ 0 w 1362269"/>
                  <a:gd name="connsiteY0" fmla="*/ 0 h 8270"/>
                  <a:gd name="connsiteX1" fmla="*/ 1362269 w 1362269"/>
                  <a:gd name="connsiteY1" fmla="*/ 0 h 8270"/>
                  <a:gd name="connsiteX2" fmla="*/ 1362269 w 1362269"/>
                  <a:gd name="connsiteY2" fmla="*/ 8271 h 8270"/>
                  <a:gd name="connsiteX3" fmla="*/ 0 w 1362269"/>
                  <a:gd name="connsiteY3" fmla="*/ 8271 h 8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62269" h="8270">
                    <a:moveTo>
                      <a:pt x="0" y="0"/>
                    </a:moveTo>
                    <a:lnTo>
                      <a:pt x="1362269" y="0"/>
                    </a:lnTo>
                    <a:lnTo>
                      <a:pt x="1362269" y="8271"/>
                    </a:lnTo>
                    <a:lnTo>
                      <a:pt x="0" y="8271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</p:grpSp>
      <p:grpSp>
        <p:nvGrpSpPr>
          <p:cNvPr id="153" name="Group 152">
            <a:extLst>
              <a:ext uri="{FF2B5EF4-FFF2-40B4-BE49-F238E27FC236}">
                <a16:creationId xmlns:a16="http://schemas.microsoft.com/office/drawing/2014/main" id="{512192E3-FBB9-B744-8CA8-68D9A4E80661}"/>
              </a:ext>
            </a:extLst>
          </p:cNvPr>
          <p:cNvGrpSpPr>
            <a:grpSpLocks noChangeAspect="1"/>
          </p:cNvGrpSpPr>
          <p:nvPr/>
        </p:nvGrpSpPr>
        <p:grpSpPr>
          <a:xfrm flipH="1">
            <a:off x="7421337" y="2761803"/>
            <a:ext cx="929163" cy="928850"/>
            <a:chOff x="2877933" y="261637"/>
            <a:chExt cx="495803" cy="495636"/>
          </a:xfrm>
        </p:grpSpPr>
        <p:grpSp>
          <p:nvGrpSpPr>
            <p:cNvPr id="159" name="Graphic 4">
              <a:extLst>
                <a:ext uri="{FF2B5EF4-FFF2-40B4-BE49-F238E27FC236}">
                  <a16:creationId xmlns:a16="http://schemas.microsoft.com/office/drawing/2014/main" id="{44B8A6C9-7685-A84B-A913-BD7F93A053F4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878002" y="261637"/>
              <a:ext cx="495734" cy="495636"/>
              <a:chOff x="2878002" y="261637"/>
              <a:chExt cx="495734" cy="495636"/>
            </a:xfrm>
          </p:grpSpPr>
          <p:sp>
            <p:nvSpPr>
              <p:cNvPr id="161" name="Freeform 160">
                <a:extLst>
                  <a:ext uri="{FF2B5EF4-FFF2-40B4-BE49-F238E27FC236}">
                    <a16:creationId xmlns:a16="http://schemas.microsoft.com/office/drawing/2014/main" id="{7234414B-080B-744C-A3DE-5FB0B9B2E423}"/>
                  </a:ext>
                </a:extLst>
              </p:cNvPr>
              <p:cNvSpPr/>
              <p:nvPr/>
            </p:nvSpPr>
            <p:spPr>
              <a:xfrm>
                <a:off x="2878002" y="261637"/>
                <a:ext cx="495734" cy="495568"/>
              </a:xfrm>
              <a:custGeom>
                <a:avLst/>
                <a:gdLst>
                  <a:gd name="connsiteX0" fmla="*/ 0 w 495734"/>
                  <a:gd name="connsiteY0" fmla="*/ 0 h 495568"/>
                  <a:gd name="connsiteX1" fmla="*/ 0 w 495734"/>
                  <a:gd name="connsiteY1" fmla="*/ 233999 h 495568"/>
                  <a:gd name="connsiteX2" fmla="*/ 261657 w 495734"/>
                  <a:gd name="connsiteY2" fmla="*/ 495568 h 495568"/>
                  <a:gd name="connsiteX3" fmla="*/ 495734 w 495734"/>
                  <a:gd name="connsiteY3" fmla="*/ 495568 h 495568"/>
                  <a:gd name="connsiteX4" fmla="*/ 0 w 495734"/>
                  <a:gd name="connsiteY4" fmla="*/ 0 h 4955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95734" h="495568">
                    <a:moveTo>
                      <a:pt x="0" y="0"/>
                    </a:moveTo>
                    <a:lnTo>
                      <a:pt x="0" y="233999"/>
                    </a:lnTo>
                    <a:cubicBezTo>
                      <a:pt x="144239" y="233999"/>
                      <a:pt x="261657" y="351309"/>
                      <a:pt x="261657" y="495568"/>
                    </a:cubicBezTo>
                    <a:lnTo>
                      <a:pt x="495734" y="495568"/>
                    </a:lnTo>
                    <a:cubicBezTo>
                      <a:pt x="495734" y="222351"/>
                      <a:pt x="273309" y="0"/>
                      <a:pt x="0" y="0"/>
                    </a:cubicBezTo>
                    <a:close/>
                  </a:path>
                </a:pathLst>
              </a:custGeom>
              <a:solidFill>
                <a:schemeClr val="tx2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  <p:sp>
            <p:nvSpPr>
              <p:cNvPr id="162" name="Freeform 161">
                <a:extLst>
                  <a:ext uri="{FF2B5EF4-FFF2-40B4-BE49-F238E27FC236}">
                    <a16:creationId xmlns:a16="http://schemas.microsoft.com/office/drawing/2014/main" id="{D6B08A94-D691-764D-ADA8-5808D9CE3A98}"/>
                  </a:ext>
                </a:extLst>
              </p:cNvPr>
              <p:cNvSpPr/>
              <p:nvPr/>
            </p:nvSpPr>
            <p:spPr>
              <a:xfrm>
                <a:off x="2878002" y="274733"/>
                <a:ext cx="482703" cy="482541"/>
              </a:xfrm>
              <a:custGeom>
                <a:avLst/>
                <a:gdLst>
                  <a:gd name="connsiteX0" fmla="*/ 0 w 482703"/>
                  <a:gd name="connsiteY0" fmla="*/ 199606 h 482541"/>
                  <a:gd name="connsiteX1" fmla="*/ 0 w 482703"/>
                  <a:gd name="connsiteY1" fmla="*/ 207877 h 482541"/>
                  <a:gd name="connsiteX2" fmla="*/ 274757 w 482703"/>
                  <a:gd name="connsiteY2" fmla="*/ 482541 h 482541"/>
                  <a:gd name="connsiteX3" fmla="*/ 283031 w 482703"/>
                  <a:gd name="connsiteY3" fmla="*/ 482541 h 482541"/>
                  <a:gd name="connsiteX4" fmla="*/ 0 w 482703"/>
                  <a:gd name="connsiteY4" fmla="*/ 199606 h 482541"/>
                  <a:gd name="connsiteX5" fmla="*/ 0 w 482703"/>
                  <a:gd name="connsiteY5" fmla="*/ 0 h 482541"/>
                  <a:gd name="connsiteX6" fmla="*/ 0 w 482703"/>
                  <a:gd name="connsiteY6" fmla="*/ 8271 h 482541"/>
                  <a:gd name="connsiteX7" fmla="*/ 474429 w 482703"/>
                  <a:gd name="connsiteY7" fmla="*/ 482541 h 482541"/>
                  <a:gd name="connsiteX8" fmla="*/ 482703 w 482703"/>
                  <a:gd name="connsiteY8" fmla="*/ 482541 h 482541"/>
                  <a:gd name="connsiteX9" fmla="*/ 0 w 482703"/>
                  <a:gd name="connsiteY9" fmla="*/ 0 h 4825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82703" h="482541">
                    <a:moveTo>
                      <a:pt x="0" y="199606"/>
                    </a:moveTo>
                    <a:lnTo>
                      <a:pt x="0" y="207877"/>
                    </a:lnTo>
                    <a:cubicBezTo>
                      <a:pt x="151478" y="207877"/>
                      <a:pt x="274757" y="331114"/>
                      <a:pt x="274757" y="482541"/>
                    </a:cubicBezTo>
                    <a:lnTo>
                      <a:pt x="283031" y="482541"/>
                    </a:lnTo>
                    <a:cubicBezTo>
                      <a:pt x="282962" y="326496"/>
                      <a:pt x="156029" y="199606"/>
                      <a:pt x="0" y="199606"/>
                    </a:cubicBezTo>
                    <a:close/>
                    <a:moveTo>
                      <a:pt x="0" y="0"/>
                    </a:moveTo>
                    <a:lnTo>
                      <a:pt x="0" y="8271"/>
                    </a:lnTo>
                    <a:cubicBezTo>
                      <a:pt x="261588" y="8271"/>
                      <a:pt x="474429" y="221041"/>
                      <a:pt x="474429" y="482541"/>
                    </a:cubicBezTo>
                    <a:lnTo>
                      <a:pt x="482703" y="482541"/>
                    </a:lnTo>
                    <a:cubicBezTo>
                      <a:pt x="482634" y="216492"/>
                      <a:pt x="266138" y="0"/>
                      <a:pt x="0" y="0"/>
                    </a:cubicBez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  <p:sp>
          <p:nvSpPr>
            <p:cNvPr id="160" name="Freeform 159">
              <a:extLst>
                <a:ext uri="{FF2B5EF4-FFF2-40B4-BE49-F238E27FC236}">
                  <a16:creationId xmlns:a16="http://schemas.microsoft.com/office/drawing/2014/main" id="{4B85496C-E126-8648-8B66-83BE802B83B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877933" y="373295"/>
              <a:ext cx="384038" cy="366334"/>
            </a:xfrm>
            <a:custGeom>
              <a:avLst/>
              <a:gdLst>
                <a:gd name="connsiteX0" fmla="*/ 359493 w 384038"/>
                <a:gd name="connsiteY0" fmla="*/ 247371 h 366334"/>
                <a:gd name="connsiteX1" fmla="*/ 351978 w 384038"/>
                <a:gd name="connsiteY1" fmla="*/ 249921 h 366334"/>
                <a:gd name="connsiteX2" fmla="*/ 351633 w 384038"/>
                <a:gd name="connsiteY2" fmla="*/ 250059 h 366334"/>
                <a:gd name="connsiteX3" fmla="*/ 351771 w 384038"/>
                <a:gd name="connsiteY3" fmla="*/ 250403 h 366334"/>
                <a:gd name="connsiteX4" fmla="*/ 366526 w 384038"/>
                <a:gd name="connsiteY4" fmla="*/ 298650 h 366334"/>
                <a:gd name="connsiteX5" fmla="*/ 370525 w 384038"/>
                <a:gd name="connsiteY5" fmla="*/ 298099 h 366334"/>
                <a:gd name="connsiteX6" fmla="*/ 374317 w 384038"/>
                <a:gd name="connsiteY6" fmla="*/ 297203 h 366334"/>
                <a:gd name="connsiteX7" fmla="*/ 359493 w 384038"/>
                <a:gd name="connsiteY7" fmla="*/ 247371 h 366334"/>
                <a:gd name="connsiteX8" fmla="*/ 73360 w 384038"/>
                <a:gd name="connsiteY8" fmla="*/ 7030 h 366334"/>
                <a:gd name="connsiteX9" fmla="*/ 71843 w 384038"/>
                <a:gd name="connsiteY9" fmla="*/ 15163 h 366334"/>
                <a:gd name="connsiteX10" fmla="*/ 72188 w 384038"/>
                <a:gd name="connsiteY10" fmla="*/ 15232 h 366334"/>
                <a:gd name="connsiteX11" fmla="*/ 120934 w 384038"/>
                <a:gd name="connsiteY11" fmla="*/ 28190 h 366334"/>
                <a:gd name="connsiteX12" fmla="*/ 121279 w 384038"/>
                <a:gd name="connsiteY12" fmla="*/ 28328 h 366334"/>
                <a:gd name="connsiteX13" fmla="*/ 123830 w 384038"/>
                <a:gd name="connsiteY13" fmla="*/ 20815 h 366334"/>
                <a:gd name="connsiteX14" fmla="*/ 73705 w 384038"/>
                <a:gd name="connsiteY14" fmla="*/ 7168 h 366334"/>
                <a:gd name="connsiteX15" fmla="*/ 73360 w 384038"/>
                <a:gd name="connsiteY15" fmla="*/ 7030 h 366334"/>
                <a:gd name="connsiteX16" fmla="*/ 379626 w 384038"/>
                <a:gd name="connsiteY16" fmla="*/ 322567 h 366334"/>
                <a:gd name="connsiteX17" fmla="*/ 374869 w 384038"/>
                <a:gd name="connsiteY17" fmla="*/ 322981 h 366334"/>
                <a:gd name="connsiteX18" fmla="*/ 371421 w 384038"/>
                <a:gd name="connsiteY18" fmla="*/ 323532 h 366334"/>
                <a:gd name="connsiteX19" fmla="*/ 371490 w 384038"/>
                <a:gd name="connsiteY19" fmla="*/ 323877 h 366334"/>
                <a:gd name="connsiteX20" fmla="*/ 375972 w 384038"/>
                <a:gd name="connsiteY20" fmla="*/ 366334 h 366334"/>
                <a:gd name="connsiteX21" fmla="*/ 384039 w 384038"/>
                <a:gd name="connsiteY21" fmla="*/ 366334 h 366334"/>
                <a:gd name="connsiteX22" fmla="*/ 379626 w 384038"/>
                <a:gd name="connsiteY22" fmla="*/ 322567 h 366334"/>
                <a:gd name="connsiteX23" fmla="*/ 69 w 384038"/>
                <a:gd name="connsiteY23" fmla="*/ 8064 h 366334"/>
                <a:gd name="connsiteX24" fmla="*/ 46678 w 384038"/>
                <a:gd name="connsiteY24" fmla="*/ 11166 h 366334"/>
                <a:gd name="connsiteX25" fmla="*/ 47367 w 384038"/>
                <a:gd name="connsiteY25" fmla="*/ 8202 h 366334"/>
                <a:gd name="connsiteX26" fmla="*/ 47988 w 384038"/>
                <a:gd name="connsiteY26" fmla="*/ 3308 h 366334"/>
                <a:gd name="connsiteX27" fmla="*/ 0 w 384038"/>
                <a:gd name="connsiteY27" fmla="*/ 0 h 366334"/>
                <a:gd name="connsiteX28" fmla="*/ 0 w 384038"/>
                <a:gd name="connsiteY28" fmla="*/ 8064 h 366334"/>
                <a:gd name="connsiteX29" fmla="*/ 148238 w 384038"/>
                <a:gd name="connsiteY29" fmla="*/ 29569 h 366334"/>
                <a:gd name="connsiteX30" fmla="*/ 146031 w 384038"/>
                <a:gd name="connsiteY30" fmla="*/ 33980 h 366334"/>
                <a:gd name="connsiteX31" fmla="*/ 144790 w 384038"/>
                <a:gd name="connsiteY31" fmla="*/ 37081 h 366334"/>
                <a:gd name="connsiteX32" fmla="*/ 147893 w 384038"/>
                <a:gd name="connsiteY32" fmla="*/ 38460 h 366334"/>
                <a:gd name="connsiteX33" fmla="*/ 190227 w 384038"/>
                <a:gd name="connsiteY33" fmla="*/ 59895 h 366334"/>
                <a:gd name="connsiteX34" fmla="*/ 194570 w 384038"/>
                <a:gd name="connsiteY34" fmla="*/ 53279 h 366334"/>
                <a:gd name="connsiteX35" fmla="*/ 150444 w 384038"/>
                <a:gd name="connsiteY35" fmla="*/ 30603 h 366334"/>
                <a:gd name="connsiteX36" fmla="*/ 148238 w 384038"/>
                <a:gd name="connsiteY36" fmla="*/ 29569 h 366334"/>
                <a:gd name="connsiteX37" fmla="*/ 276342 w 384038"/>
                <a:gd name="connsiteY37" fmla="*/ 116758 h 366334"/>
                <a:gd name="connsiteX38" fmla="*/ 273240 w 384038"/>
                <a:gd name="connsiteY38" fmla="*/ 119309 h 366334"/>
                <a:gd name="connsiteX39" fmla="*/ 270206 w 384038"/>
                <a:gd name="connsiteY39" fmla="*/ 122272 h 366334"/>
                <a:gd name="connsiteX40" fmla="*/ 276618 w 384038"/>
                <a:gd name="connsiteY40" fmla="*/ 129440 h 366334"/>
                <a:gd name="connsiteX41" fmla="*/ 302818 w 384038"/>
                <a:gd name="connsiteY41" fmla="*/ 161215 h 366334"/>
                <a:gd name="connsiteX42" fmla="*/ 308058 w 384038"/>
                <a:gd name="connsiteY42" fmla="*/ 157837 h 366334"/>
                <a:gd name="connsiteX43" fmla="*/ 309437 w 384038"/>
                <a:gd name="connsiteY43" fmla="*/ 156872 h 366334"/>
                <a:gd name="connsiteX44" fmla="*/ 282341 w 384038"/>
                <a:gd name="connsiteY44" fmla="*/ 123513 h 366334"/>
                <a:gd name="connsiteX45" fmla="*/ 276342 w 384038"/>
                <a:gd name="connsiteY45" fmla="*/ 116758 h 366334"/>
                <a:gd name="connsiteX46" fmla="*/ 320676 w 384038"/>
                <a:gd name="connsiteY46" fmla="*/ 179962 h 366334"/>
                <a:gd name="connsiteX47" fmla="*/ 317366 w 384038"/>
                <a:gd name="connsiteY47" fmla="*/ 182030 h 366334"/>
                <a:gd name="connsiteX48" fmla="*/ 317573 w 384038"/>
                <a:gd name="connsiteY48" fmla="*/ 182306 h 366334"/>
                <a:gd name="connsiteX49" fmla="*/ 341705 w 384038"/>
                <a:gd name="connsiteY49" fmla="*/ 226624 h 366334"/>
                <a:gd name="connsiteX50" fmla="*/ 347634 w 384038"/>
                <a:gd name="connsiteY50" fmla="*/ 224281 h 366334"/>
                <a:gd name="connsiteX51" fmla="*/ 349013 w 384038"/>
                <a:gd name="connsiteY51" fmla="*/ 223660 h 366334"/>
                <a:gd name="connsiteX52" fmla="*/ 324537 w 384038"/>
                <a:gd name="connsiteY52" fmla="*/ 177826 h 366334"/>
                <a:gd name="connsiteX53" fmla="*/ 320676 w 384038"/>
                <a:gd name="connsiteY53" fmla="*/ 179962 h 366334"/>
                <a:gd name="connsiteX54" fmla="*/ 216772 w 384038"/>
                <a:gd name="connsiteY54" fmla="*/ 66581 h 366334"/>
                <a:gd name="connsiteX55" fmla="*/ 212014 w 384038"/>
                <a:gd name="connsiteY55" fmla="*/ 72922 h 366334"/>
                <a:gd name="connsiteX56" fmla="*/ 211807 w 384038"/>
                <a:gd name="connsiteY56" fmla="*/ 73198 h 366334"/>
                <a:gd name="connsiteX57" fmla="*/ 222081 w 384038"/>
                <a:gd name="connsiteY57" fmla="*/ 80780 h 366334"/>
                <a:gd name="connsiteX58" fmla="*/ 251590 w 384038"/>
                <a:gd name="connsiteY58" fmla="*/ 104765 h 366334"/>
                <a:gd name="connsiteX59" fmla="*/ 257175 w 384038"/>
                <a:gd name="connsiteY59" fmla="*/ 99114 h 366334"/>
                <a:gd name="connsiteX60" fmla="*/ 226631 w 384038"/>
                <a:gd name="connsiteY60" fmla="*/ 73887 h 366334"/>
                <a:gd name="connsiteX61" fmla="*/ 216772 w 384038"/>
                <a:gd name="connsiteY61" fmla="*/ 66581 h 366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384038" h="366334">
                  <a:moveTo>
                    <a:pt x="359493" y="247371"/>
                  </a:moveTo>
                  <a:cubicBezTo>
                    <a:pt x="359080" y="247164"/>
                    <a:pt x="351978" y="249921"/>
                    <a:pt x="351978" y="249921"/>
                  </a:cubicBezTo>
                  <a:lnTo>
                    <a:pt x="351633" y="250059"/>
                  </a:lnTo>
                  <a:lnTo>
                    <a:pt x="351771" y="250403"/>
                  </a:lnTo>
                  <a:cubicBezTo>
                    <a:pt x="358252" y="267083"/>
                    <a:pt x="363010" y="282798"/>
                    <a:pt x="366526" y="298650"/>
                  </a:cubicBezTo>
                  <a:cubicBezTo>
                    <a:pt x="366940" y="298926"/>
                    <a:pt x="370525" y="298099"/>
                    <a:pt x="370525" y="298099"/>
                  </a:cubicBezTo>
                  <a:lnTo>
                    <a:pt x="374317" y="297203"/>
                  </a:lnTo>
                  <a:cubicBezTo>
                    <a:pt x="371008" y="280592"/>
                    <a:pt x="366043" y="264464"/>
                    <a:pt x="359493" y="247371"/>
                  </a:cubicBezTo>
                  <a:close/>
                  <a:moveTo>
                    <a:pt x="73360" y="7030"/>
                  </a:moveTo>
                  <a:lnTo>
                    <a:pt x="71843" y="15163"/>
                  </a:lnTo>
                  <a:lnTo>
                    <a:pt x="72188" y="15232"/>
                  </a:lnTo>
                  <a:cubicBezTo>
                    <a:pt x="89287" y="18610"/>
                    <a:pt x="105697" y="22952"/>
                    <a:pt x="120934" y="28190"/>
                  </a:cubicBezTo>
                  <a:lnTo>
                    <a:pt x="121279" y="28328"/>
                  </a:lnTo>
                  <a:lnTo>
                    <a:pt x="123830" y="20815"/>
                  </a:lnTo>
                  <a:cubicBezTo>
                    <a:pt x="108041" y="15094"/>
                    <a:pt x="91287" y="10614"/>
                    <a:pt x="73705" y="7168"/>
                  </a:cubicBezTo>
                  <a:lnTo>
                    <a:pt x="73360" y="7030"/>
                  </a:lnTo>
                  <a:close/>
                  <a:moveTo>
                    <a:pt x="379626" y="322567"/>
                  </a:moveTo>
                  <a:cubicBezTo>
                    <a:pt x="379212" y="322292"/>
                    <a:pt x="374869" y="322981"/>
                    <a:pt x="374869" y="322981"/>
                  </a:cubicBezTo>
                  <a:lnTo>
                    <a:pt x="371421" y="323532"/>
                  </a:lnTo>
                  <a:lnTo>
                    <a:pt x="371490" y="323877"/>
                  </a:lnTo>
                  <a:cubicBezTo>
                    <a:pt x="373903" y="337593"/>
                    <a:pt x="375351" y="351860"/>
                    <a:pt x="375972" y="366334"/>
                  </a:cubicBezTo>
                  <a:lnTo>
                    <a:pt x="384039" y="366334"/>
                  </a:lnTo>
                  <a:cubicBezTo>
                    <a:pt x="383625" y="351309"/>
                    <a:pt x="382108" y="336628"/>
                    <a:pt x="379626" y="322567"/>
                  </a:cubicBezTo>
                  <a:close/>
                  <a:moveTo>
                    <a:pt x="69" y="8064"/>
                  </a:moveTo>
                  <a:cubicBezTo>
                    <a:pt x="15100" y="8409"/>
                    <a:pt x="30613" y="9305"/>
                    <a:pt x="46678" y="11166"/>
                  </a:cubicBezTo>
                  <a:cubicBezTo>
                    <a:pt x="47091" y="10890"/>
                    <a:pt x="47367" y="8202"/>
                    <a:pt x="47367" y="8202"/>
                  </a:cubicBezTo>
                  <a:lnTo>
                    <a:pt x="47988" y="3308"/>
                  </a:lnTo>
                  <a:cubicBezTo>
                    <a:pt x="31164" y="1034"/>
                    <a:pt x="15168" y="69"/>
                    <a:pt x="0" y="0"/>
                  </a:cubicBezTo>
                  <a:lnTo>
                    <a:pt x="0" y="8064"/>
                  </a:lnTo>
                  <a:close/>
                  <a:moveTo>
                    <a:pt x="148238" y="29569"/>
                  </a:moveTo>
                  <a:cubicBezTo>
                    <a:pt x="147755" y="29775"/>
                    <a:pt x="146031" y="33980"/>
                    <a:pt x="146031" y="33980"/>
                  </a:cubicBezTo>
                  <a:lnTo>
                    <a:pt x="144790" y="37081"/>
                  </a:lnTo>
                  <a:lnTo>
                    <a:pt x="147893" y="38460"/>
                  </a:lnTo>
                  <a:cubicBezTo>
                    <a:pt x="160510" y="44112"/>
                    <a:pt x="176230" y="51211"/>
                    <a:pt x="190227" y="59895"/>
                  </a:cubicBezTo>
                  <a:cubicBezTo>
                    <a:pt x="190709" y="59758"/>
                    <a:pt x="194570" y="53279"/>
                    <a:pt x="194570" y="53279"/>
                  </a:cubicBezTo>
                  <a:cubicBezTo>
                    <a:pt x="180022" y="43836"/>
                    <a:pt x="163613" y="36461"/>
                    <a:pt x="150444" y="30603"/>
                  </a:cubicBezTo>
                  <a:lnTo>
                    <a:pt x="148238" y="29569"/>
                  </a:lnTo>
                  <a:close/>
                  <a:moveTo>
                    <a:pt x="276342" y="116758"/>
                  </a:moveTo>
                  <a:cubicBezTo>
                    <a:pt x="275860" y="116758"/>
                    <a:pt x="273240" y="119309"/>
                    <a:pt x="273240" y="119309"/>
                  </a:cubicBezTo>
                  <a:lnTo>
                    <a:pt x="270206" y="122272"/>
                  </a:lnTo>
                  <a:lnTo>
                    <a:pt x="276618" y="129440"/>
                  </a:lnTo>
                  <a:cubicBezTo>
                    <a:pt x="286478" y="140331"/>
                    <a:pt x="295303" y="150256"/>
                    <a:pt x="302818" y="161215"/>
                  </a:cubicBezTo>
                  <a:cubicBezTo>
                    <a:pt x="303301" y="161284"/>
                    <a:pt x="308058" y="157837"/>
                    <a:pt x="308058" y="157837"/>
                  </a:cubicBezTo>
                  <a:lnTo>
                    <a:pt x="309437" y="156872"/>
                  </a:lnTo>
                  <a:cubicBezTo>
                    <a:pt x="301095" y="144259"/>
                    <a:pt x="290752" y="132749"/>
                    <a:pt x="282341" y="123513"/>
                  </a:cubicBezTo>
                  <a:lnTo>
                    <a:pt x="276342" y="116758"/>
                  </a:lnTo>
                  <a:close/>
                  <a:moveTo>
                    <a:pt x="320676" y="179962"/>
                  </a:moveTo>
                  <a:lnTo>
                    <a:pt x="317366" y="182030"/>
                  </a:lnTo>
                  <a:lnTo>
                    <a:pt x="317573" y="182306"/>
                  </a:lnTo>
                  <a:cubicBezTo>
                    <a:pt x="325985" y="195953"/>
                    <a:pt x="334741" y="210771"/>
                    <a:pt x="341705" y="226624"/>
                  </a:cubicBezTo>
                  <a:cubicBezTo>
                    <a:pt x="342188" y="226762"/>
                    <a:pt x="347634" y="224281"/>
                    <a:pt x="347634" y="224281"/>
                  </a:cubicBezTo>
                  <a:lnTo>
                    <a:pt x="349013" y="223660"/>
                  </a:lnTo>
                  <a:cubicBezTo>
                    <a:pt x="342050" y="206912"/>
                    <a:pt x="333155" y="191817"/>
                    <a:pt x="324537" y="177826"/>
                  </a:cubicBezTo>
                  <a:cubicBezTo>
                    <a:pt x="324054" y="177757"/>
                    <a:pt x="320676" y="179962"/>
                    <a:pt x="320676" y="179962"/>
                  </a:cubicBezTo>
                  <a:close/>
                  <a:moveTo>
                    <a:pt x="216772" y="66581"/>
                  </a:moveTo>
                  <a:cubicBezTo>
                    <a:pt x="216289" y="66650"/>
                    <a:pt x="212014" y="72922"/>
                    <a:pt x="212014" y="72922"/>
                  </a:cubicBezTo>
                  <a:lnTo>
                    <a:pt x="211807" y="73198"/>
                  </a:lnTo>
                  <a:lnTo>
                    <a:pt x="222081" y="80780"/>
                  </a:lnTo>
                  <a:cubicBezTo>
                    <a:pt x="233043" y="88775"/>
                    <a:pt x="242765" y="96150"/>
                    <a:pt x="251590" y="104765"/>
                  </a:cubicBezTo>
                  <a:cubicBezTo>
                    <a:pt x="252073" y="104765"/>
                    <a:pt x="257175" y="99114"/>
                    <a:pt x="257175" y="99114"/>
                  </a:cubicBezTo>
                  <a:cubicBezTo>
                    <a:pt x="248074" y="89809"/>
                    <a:pt x="238007" y="82158"/>
                    <a:pt x="226631" y="73887"/>
                  </a:cubicBezTo>
                  <a:lnTo>
                    <a:pt x="216772" y="66581"/>
                  </a:lnTo>
                  <a:close/>
                </a:path>
              </a:pathLst>
            </a:custGeom>
            <a:solidFill>
              <a:srgbClr val="E4E4E4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</p:grpSp>
      <p:grpSp>
        <p:nvGrpSpPr>
          <p:cNvPr id="201" name="Group 200">
            <a:extLst>
              <a:ext uri="{FF2B5EF4-FFF2-40B4-BE49-F238E27FC236}">
                <a16:creationId xmlns:a16="http://schemas.microsoft.com/office/drawing/2014/main" id="{FF2C7962-A9A6-2C48-836C-CC4B4C866492}"/>
              </a:ext>
            </a:extLst>
          </p:cNvPr>
          <p:cNvGrpSpPr>
            <a:grpSpLocks noChangeAspect="1"/>
          </p:cNvGrpSpPr>
          <p:nvPr/>
        </p:nvGrpSpPr>
        <p:grpSpPr>
          <a:xfrm rot="16200000" flipH="1">
            <a:off x="9784038" y="3473845"/>
            <a:ext cx="929163" cy="946602"/>
            <a:chOff x="2877933" y="791668"/>
            <a:chExt cx="495803" cy="495637"/>
          </a:xfrm>
        </p:grpSpPr>
        <p:grpSp>
          <p:nvGrpSpPr>
            <p:cNvPr id="202" name="Graphic 4">
              <a:extLst>
                <a:ext uri="{FF2B5EF4-FFF2-40B4-BE49-F238E27FC236}">
                  <a16:creationId xmlns:a16="http://schemas.microsoft.com/office/drawing/2014/main" id="{E2B0F64F-E0B4-C04F-9879-00F16C28329A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877933" y="791737"/>
              <a:ext cx="495803" cy="495568"/>
              <a:chOff x="2877933" y="791737"/>
              <a:chExt cx="495803" cy="495568"/>
            </a:xfrm>
          </p:grpSpPr>
          <p:sp>
            <p:nvSpPr>
              <p:cNvPr id="204" name="Freeform 203">
                <a:extLst>
                  <a:ext uri="{FF2B5EF4-FFF2-40B4-BE49-F238E27FC236}">
                    <a16:creationId xmlns:a16="http://schemas.microsoft.com/office/drawing/2014/main" id="{F5637067-3E91-354E-B705-8CD224835DAB}"/>
                  </a:ext>
                </a:extLst>
              </p:cNvPr>
              <p:cNvSpPr/>
              <p:nvPr/>
            </p:nvSpPr>
            <p:spPr>
              <a:xfrm>
                <a:off x="2878002" y="791737"/>
                <a:ext cx="495734" cy="495568"/>
              </a:xfrm>
              <a:custGeom>
                <a:avLst/>
                <a:gdLst>
                  <a:gd name="connsiteX0" fmla="*/ 495734 w 495734"/>
                  <a:gd name="connsiteY0" fmla="*/ 0 h 495568"/>
                  <a:gd name="connsiteX1" fmla="*/ 261657 w 495734"/>
                  <a:gd name="connsiteY1" fmla="*/ 0 h 495568"/>
                  <a:gd name="connsiteX2" fmla="*/ 0 w 495734"/>
                  <a:gd name="connsiteY2" fmla="*/ 261569 h 495568"/>
                  <a:gd name="connsiteX3" fmla="*/ 0 w 495734"/>
                  <a:gd name="connsiteY3" fmla="*/ 495568 h 495568"/>
                  <a:gd name="connsiteX4" fmla="*/ 495734 w 495734"/>
                  <a:gd name="connsiteY4" fmla="*/ 0 h 4955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95734" h="495568">
                    <a:moveTo>
                      <a:pt x="495734" y="0"/>
                    </a:moveTo>
                    <a:lnTo>
                      <a:pt x="261657" y="0"/>
                    </a:lnTo>
                    <a:cubicBezTo>
                      <a:pt x="261657" y="144190"/>
                      <a:pt x="144308" y="261569"/>
                      <a:pt x="0" y="261569"/>
                    </a:cubicBezTo>
                    <a:lnTo>
                      <a:pt x="0" y="495568"/>
                    </a:lnTo>
                    <a:cubicBezTo>
                      <a:pt x="273309" y="495568"/>
                      <a:pt x="495734" y="273217"/>
                      <a:pt x="495734" y="0"/>
                    </a:cubicBezTo>
                    <a:close/>
                  </a:path>
                </a:pathLst>
              </a:custGeom>
              <a:solidFill>
                <a:schemeClr val="tx2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  <p:sp>
            <p:nvSpPr>
              <p:cNvPr id="205" name="Freeform 204">
                <a:extLst>
                  <a:ext uri="{FF2B5EF4-FFF2-40B4-BE49-F238E27FC236}">
                    <a16:creationId xmlns:a16="http://schemas.microsoft.com/office/drawing/2014/main" id="{F1CA3C5B-8A31-2140-8BDF-888A6493FCF9}"/>
                  </a:ext>
                </a:extLst>
              </p:cNvPr>
              <p:cNvSpPr/>
              <p:nvPr/>
            </p:nvSpPr>
            <p:spPr>
              <a:xfrm>
                <a:off x="2877933" y="791737"/>
                <a:ext cx="482702" cy="482541"/>
              </a:xfrm>
              <a:custGeom>
                <a:avLst/>
                <a:gdLst>
                  <a:gd name="connsiteX0" fmla="*/ 283030 w 482702"/>
                  <a:gd name="connsiteY0" fmla="*/ 0 h 482541"/>
                  <a:gd name="connsiteX1" fmla="*/ 274757 w 482702"/>
                  <a:gd name="connsiteY1" fmla="*/ 0 h 482541"/>
                  <a:gd name="connsiteX2" fmla="*/ 0 w 482702"/>
                  <a:gd name="connsiteY2" fmla="*/ 274665 h 482541"/>
                  <a:gd name="connsiteX3" fmla="*/ 0 w 482702"/>
                  <a:gd name="connsiteY3" fmla="*/ 282936 h 482541"/>
                  <a:gd name="connsiteX4" fmla="*/ 283030 w 482702"/>
                  <a:gd name="connsiteY4" fmla="*/ 0 h 482541"/>
                  <a:gd name="connsiteX5" fmla="*/ 482703 w 482702"/>
                  <a:gd name="connsiteY5" fmla="*/ 0 h 482541"/>
                  <a:gd name="connsiteX6" fmla="*/ 474429 w 482702"/>
                  <a:gd name="connsiteY6" fmla="*/ 0 h 482541"/>
                  <a:gd name="connsiteX7" fmla="*/ 0 w 482702"/>
                  <a:gd name="connsiteY7" fmla="*/ 474270 h 482541"/>
                  <a:gd name="connsiteX8" fmla="*/ 0 w 482702"/>
                  <a:gd name="connsiteY8" fmla="*/ 482541 h 482541"/>
                  <a:gd name="connsiteX9" fmla="*/ 482703 w 482702"/>
                  <a:gd name="connsiteY9" fmla="*/ 0 h 4825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82702" h="482541">
                    <a:moveTo>
                      <a:pt x="283030" y="0"/>
                    </a:moveTo>
                    <a:lnTo>
                      <a:pt x="274757" y="0"/>
                    </a:lnTo>
                    <a:cubicBezTo>
                      <a:pt x="274757" y="151427"/>
                      <a:pt x="151478" y="274665"/>
                      <a:pt x="0" y="274665"/>
                    </a:cubicBezTo>
                    <a:lnTo>
                      <a:pt x="0" y="282936"/>
                    </a:lnTo>
                    <a:cubicBezTo>
                      <a:pt x="156098" y="282867"/>
                      <a:pt x="283030" y="155976"/>
                      <a:pt x="283030" y="0"/>
                    </a:cubicBezTo>
                    <a:close/>
                    <a:moveTo>
                      <a:pt x="482703" y="0"/>
                    </a:moveTo>
                    <a:lnTo>
                      <a:pt x="474429" y="0"/>
                    </a:lnTo>
                    <a:cubicBezTo>
                      <a:pt x="474429" y="261500"/>
                      <a:pt x="261588" y="474270"/>
                      <a:pt x="0" y="474270"/>
                    </a:cubicBezTo>
                    <a:lnTo>
                      <a:pt x="0" y="482541"/>
                    </a:lnTo>
                    <a:cubicBezTo>
                      <a:pt x="266207" y="482472"/>
                      <a:pt x="482703" y="266049"/>
                      <a:pt x="482703" y="0"/>
                    </a:cubicBez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  <p:sp>
          <p:nvSpPr>
            <p:cNvPr id="203" name="Freeform 202">
              <a:extLst>
                <a:ext uri="{FF2B5EF4-FFF2-40B4-BE49-F238E27FC236}">
                  <a16:creationId xmlns:a16="http://schemas.microsoft.com/office/drawing/2014/main" id="{E5BAB2D3-79EE-D84F-A4B1-B6A442FD95A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895584" y="791668"/>
              <a:ext cx="366388" cy="383910"/>
            </a:xfrm>
            <a:custGeom>
              <a:avLst/>
              <a:gdLst>
                <a:gd name="connsiteX0" fmla="*/ 119004 w 366388"/>
                <a:gd name="connsiteY0" fmla="*/ 359304 h 383910"/>
                <a:gd name="connsiteX1" fmla="*/ 116453 w 366388"/>
                <a:gd name="connsiteY1" fmla="*/ 351791 h 383910"/>
                <a:gd name="connsiteX2" fmla="*/ 116315 w 366388"/>
                <a:gd name="connsiteY2" fmla="*/ 351447 h 383910"/>
                <a:gd name="connsiteX3" fmla="*/ 115970 w 366388"/>
                <a:gd name="connsiteY3" fmla="*/ 351584 h 383910"/>
                <a:gd name="connsiteX4" fmla="*/ 67707 w 366388"/>
                <a:gd name="connsiteY4" fmla="*/ 366334 h 383910"/>
                <a:gd name="connsiteX5" fmla="*/ 68258 w 366388"/>
                <a:gd name="connsiteY5" fmla="*/ 370332 h 383910"/>
                <a:gd name="connsiteX6" fmla="*/ 69155 w 366388"/>
                <a:gd name="connsiteY6" fmla="*/ 374123 h 383910"/>
                <a:gd name="connsiteX7" fmla="*/ 119004 w 366388"/>
                <a:gd name="connsiteY7" fmla="*/ 359304 h 383910"/>
                <a:gd name="connsiteX8" fmla="*/ 359425 w 366388"/>
                <a:gd name="connsiteY8" fmla="*/ 73336 h 383910"/>
                <a:gd name="connsiteX9" fmla="*/ 351289 w 366388"/>
                <a:gd name="connsiteY9" fmla="*/ 71819 h 383910"/>
                <a:gd name="connsiteX10" fmla="*/ 351220 w 366388"/>
                <a:gd name="connsiteY10" fmla="*/ 72164 h 383910"/>
                <a:gd name="connsiteX11" fmla="*/ 338258 w 366388"/>
                <a:gd name="connsiteY11" fmla="*/ 120894 h 383910"/>
                <a:gd name="connsiteX12" fmla="*/ 338119 w 366388"/>
                <a:gd name="connsiteY12" fmla="*/ 121238 h 383910"/>
                <a:gd name="connsiteX13" fmla="*/ 345635 w 366388"/>
                <a:gd name="connsiteY13" fmla="*/ 123789 h 383910"/>
                <a:gd name="connsiteX14" fmla="*/ 359286 w 366388"/>
                <a:gd name="connsiteY14" fmla="*/ 73680 h 383910"/>
                <a:gd name="connsiteX15" fmla="*/ 359425 w 366388"/>
                <a:gd name="connsiteY15" fmla="*/ 73336 h 383910"/>
                <a:gd name="connsiteX16" fmla="*/ 43782 w 366388"/>
                <a:gd name="connsiteY16" fmla="*/ 379499 h 383910"/>
                <a:gd name="connsiteX17" fmla="*/ 43368 w 366388"/>
                <a:gd name="connsiteY17" fmla="*/ 374743 h 383910"/>
                <a:gd name="connsiteX18" fmla="*/ 42816 w 366388"/>
                <a:gd name="connsiteY18" fmla="*/ 371297 h 383910"/>
                <a:gd name="connsiteX19" fmla="*/ 42472 w 366388"/>
                <a:gd name="connsiteY19" fmla="*/ 371366 h 383910"/>
                <a:gd name="connsiteX20" fmla="*/ 0 w 366388"/>
                <a:gd name="connsiteY20" fmla="*/ 375846 h 383910"/>
                <a:gd name="connsiteX21" fmla="*/ 0 w 366388"/>
                <a:gd name="connsiteY21" fmla="*/ 383910 h 383910"/>
                <a:gd name="connsiteX22" fmla="*/ 43782 w 366388"/>
                <a:gd name="connsiteY22" fmla="*/ 379499 h 383910"/>
                <a:gd name="connsiteX23" fmla="*/ 358390 w 366388"/>
                <a:gd name="connsiteY23" fmla="*/ 69 h 383910"/>
                <a:gd name="connsiteX24" fmla="*/ 355219 w 366388"/>
                <a:gd name="connsiteY24" fmla="*/ 46662 h 383910"/>
                <a:gd name="connsiteX25" fmla="*/ 358183 w 366388"/>
                <a:gd name="connsiteY25" fmla="*/ 47351 h 383910"/>
                <a:gd name="connsiteX26" fmla="*/ 363079 w 366388"/>
                <a:gd name="connsiteY26" fmla="*/ 47972 h 383910"/>
                <a:gd name="connsiteX27" fmla="*/ 366388 w 366388"/>
                <a:gd name="connsiteY27" fmla="*/ 0 h 383910"/>
                <a:gd name="connsiteX28" fmla="*/ 358390 w 366388"/>
                <a:gd name="connsiteY28" fmla="*/ 0 h 383910"/>
                <a:gd name="connsiteX29" fmla="*/ 336878 w 366388"/>
                <a:gd name="connsiteY29" fmla="*/ 148188 h 383910"/>
                <a:gd name="connsiteX30" fmla="*/ 332466 w 366388"/>
                <a:gd name="connsiteY30" fmla="*/ 145982 h 383910"/>
                <a:gd name="connsiteX31" fmla="*/ 329363 w 366388"/>
                <a:gd name="connsiteY31" fmla="*/ 144673 h 383910"/>
                <a:gd name="connsiteX32" fmla="*/ 327984 w 366388"/>
                <a:gd name="connsiteY32" fmla="*/ 147774 h 383910"/>
                <a:gd name="connsiteX33" fmla="*/ 306542 w 366388"/>
                <a:gd name="connsiteY33" fmla="*/ 190094 h 383910"/>
                <a:gd name="connsiteX34" fmla="*/ 313160 w 366388"/>
                <a:gd name="connsiteY34" fmla="*/ 194436 h 383910"/>
                <a:gd name="connsiteX35" fmla="*/ 335844 w 366388"/>
                <a:gd name="connsiteY35" fmla="*/ 150325 h 383910"/>
                <a:gd name="connsiteX36" fmla="*/ 336878 w 366388"/>
                <a:gd name="connsiteY36" fmla="*/ 148188 h 383910"/>
                <a:gd name="connsiteX37" fmla="*/ 249660 w 366388"/>
                <a:gd name="connsiteY37" fmla="*/ 276250 h 383910"/>
                <a:gd name="connsiteX38" fmla="*/ 247109 w 366388"/>
                <a:gd name="connsiteY38" fmla="*/ 273148 h 383910"/>
                <a:gd name="connsiteX39" fmla="*/ 244144 w 366388"/>
                <a:gd name="connsiteY39" fmla="*/ 270116 h 383910"/>
                <a:gd name="connsiteX40" fmla="*/ 236973 w 366388"/>
                <a:gd name="connsiteY40" fmla="*/ 276526 h 383910"/>
                <a:gd name="connsiteX41" fmla="*/ 205188 w 366388"/>
                <a:gd name="connsiteY41" fmla="*/ 302717 h 383910"/>
                <a:gd name="connsiteX42" fmla="*/ 208567 w 366388"/>
                <a:gd name="connsiteY42" fmla="*/ 307955 h 383910"/>
                <a:gd name="connsiteX43" fmla="*/ 209532 w 366388"/>
                <a:gd name="connsiteY43" fmla="*/ 309334 h 383910"/>
                <a:gd name="connsiteX44" fmla="*/ 242903 w 366388"/>
                <a:gd name="connsiteY44" fmla="*/ 282246 h 383910"/>
                <a:gd name="connsiteX45" fmla="*/ 249660 w 366388"/>
                <a:gd name="connsiteY45" fmla="*/ 276250 h 383910"/>
                <a:gd name="connsiteX46" fmla="*/ 186504 w 366388"/>
                <a:gd name="connsiteY46" fmla="*/ 320568 h 383910"/>
                <a:gd name="connsiteX47" fmla="*/ 184435 w 366388"/>
                <a:gd name="connsiteY47" fmla="*/ 317260 h 383910"/>
                <a:gd name="connsiteX48" fmla="*/ 184159 w 366388"/>
                <a:gd name="connsiteY48" fmla="*/ 317467 h 383910"/>
                <a:gd name="connsiteX49" fmla="*/ 139826 w 366388"/>
                <a:gd name="connsiteY49" fmla="*/ 341590 h 383910"/>
                <a:gd name="connsiteX50" fmla="*/ 142170 w 366388"/>
                <a:gd name="connsiteY50" fmla="*/ 347518 h 383910"/>
                <a:gd name="connsiteX51" fmla="*/ 142791 w 366388"/>
                <a:gd name="connsiteY51" fmla="*/ 348896 h 383910"/>
                <a:gd name="connsiteX52" fmla="*/ 188641 w 366388"/>
                <a:gd name="connsiteY52" fmla="*/ 324428 h 383910"/>
                <a:gd name="connsiteX53" fmla="*/ 186504 w 366388"/>
                <a:gd name="connsiteY53" fmla="*/ 320568 h 383910"/>
                <a:gd name="connsiteX54" fmla="*/ 299854 w 366388"/>
                <a:gd name="connsiteY54" fmla="*/ 216630 h 383910"/>
                <a:gd name="connsiteX55" fmla="*/ 293511 w 366388"/>
                <a:gd name="connsiteY55" fmla="*/ 211874 h 383910"/>
                <a:gd name="connsiteX56" fmla="*/ 293235 w 366388"/>
                <a:gd name="connsiteY56" fmla="*/ 211668 h 383910"/>
                <a:gd name="connsiteX57" fmla="*/ 285650 w 366388"/>
                <a:gd name="connsiteY57" fmla="*/ 221937 h 383910"/>
                <a:gd name="connsiteX58" fmla="*/ 261656 w 366388"/>
                <a:gd name="connsiteY58" fmla="*/ 251437 h 383910"/>
                <a:gd name="connsiteX59" fmla="*/ 267310 w 366388"/>
                <a:gd name="connsiteY59" fmla="*/ 257020 h 383910"/>
                <a:gd name="connsiteX60" fmla="*/ 292545 w 366388"/>
                <a:gd name="connsiteY60" fmla="*/ 226486 h 383910"/>
                <a:gd name="connsiteX61" fmla="*/ 299854 w 366388"/>
                <a:gd name="connsiteY61" fmla="*/ 216630 h 383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366388" h="383910">
                  <a:moveTo>
                    <a:pt x="119004" y="359304"/>
                  </a:moveTo>
                  <a:cubicBezTo>
                    <a:pt x="119210" y="358890"/>
                    <a:pt x="116453" y="351791"/>
                    <a:pt x="116453" y="351791"/>
                  </a:cubicBezTo>
                  <a:lnTo>
                    <a:pt x="116315" y="351447"/>
                  </a:lnTo>
                  <a:lnTo>
                    <a:pt x="115970" y="351584"/>
                  </a:lnTo>
                  <a:cubicBezTo>
                    <a:pt x="99285" y="358063"/>
                    <a:pt x="83565" y="362819"/>
                    <a:pt x="67707" y="366334"/>
                  </a:cubicBezTo>
                  <a:cubicBezTo>
                    <a:pt x="67431" y="366748"/>
                    <a:pt x="68258" y="370332"/>
                    <a:pt x="68258" y="370332"/>
                  </a:cubicBezTo>
                  <a:lnTo>
                    <a:pt x="69155" y="374123"/>
                  </a:lnTo>
                  <a:cubicBezTo>
                    <a:pt x="85771" y="370883"/>
                    <a:pt x="101974" y="365921"/>
                    <a:pt x="119004" y="359304"/>
                  </a:cubicBezTo>
                  <a:close/>
                  <a:moveTo>
                    <a:pt x="359425" y="73336"/>
                  </a:moveTo>
                  <a:lnTo>
                    <a:pt x="351289" y="71819"/>
                  </a:lnTo>
                  <a:lnTo>
                    <a:pt x="351220" y="72164"/>
                  </a:lnTo>
                  <a:cubicBezTo>
                    <a:pt x="347841" y="89257"/>
                    <a:pt x="343498" y="105661"/>
                    <a:pt x="338258" y="120894"/>
                  </a:cubicBezTo>
                  <a:lnTo>
                    <a:pt x="338119" y="121238"/>
                  </a:lnTo>
                  <a:lnTo>
                    <a:pt x="345635" y="123789"/>
                  </a:lnTo>
                  <a:cubicBezTo>
                    <a:pt x="351358" y="108005"/>
                    <a:pt x="355839" y="91256"/>
                    <a:pt x="359286" y="73680"/>
                  </a:cubicBezTo>
                  <a:lnTo>
                    <a:pt x="359425" y="73336"/>
                  </a:lnTo>
                  <a:close/>
                  <a:moveTo>
                    <a:pt x="43782" y="379499"/>
                  </a:moveTo>
                  <a:cubicBezTo>
                    <a:pt x="44057" y="379085"/>
                    <a:pt x="43368" y="374743"/>
                    <a:pt x="43368" y="374743"/>
                  </a:cubicBezTo>
                  <a:lnTo>
                    <a:pt x="42816" y="371297"/>
                  </a:lnTo>
                  <a:lnTo>
                    <a:pt x="42472" y="371366"/>
                  </a:lnTo>
                  <a:cubicBezTo>
                    <a:pt x="28751" y="373778"/>
                    <a:pt x="14479" y="375226"/>
                    <a:pt x="0" y="375846"/>
                  </a:cubicBezTo>
                  <a:lnTo>
                    <a:pt x="0" y="383910"/>
                  </a:lnTo>
                  <a:cubicBezTo>
                    <a:pt x="15031" y="383497"/>
                    <a:pt x="29716" y="381980"/>
                    <a:pt x="43782" y="379499"/>
                  </a:cubicBezTo>
                  <a:close/>
                  <a:moveTo>
                    <a:pt x="358390" y="69"/>
                  </a:moveTo>
                  <a:cubicBezTo>
                    <a:pt x="358045" y="15026"/>
                    <a:pt x="357149" y="30603"/>
                    <a:pt x="355219" y="46662"/>
                  </a:cubicBezTo>
                  <a:cubicBezTo>
                    <a:pt x="355494" y="47007"/>
                    <a:pt x="358183" y="47351"/>
                    <a:pt x="358183" y="47351"/>
                  </a:cubicBezTo>
                  <a:lnTo>
                    <a:pt x="363079" y="47972"/>
                  </a:lnTo>
                  <a:cubicBezTo>
                    <a:pt x="365354" y="31154"/>
                    <a:pt x="366319" y="15163"/>
                    <a:pt x="366388" y="0"/>
                  </a:cubicBezTo>
                  <a:lnTo>
                    <a:pt x="358390" y="0"/>
                  </a:lnTo>
                  <a:close/>
                  <a:moveTo>
                    <a:pt x="336878" y="148188"/>
                  </a:moveTo>
                  <a:cubicBezTo>
                    <a:pt x="336672" y="147705"/>
                    <a:pt x="332466" y="145982"/>
                    <a:pt x="332466" y="145982"/>
                  </a:cubicBezTo>
                  <a:lnTo>
                    <a:pt x="329363" y="144673"/>
                  </a:lnTo>
                  <a:lnTo>
                    <a:pt x="327984" y="147774"/>
                  </a:lnTo>
                  <a:cubicBezTo>
                    <a:pt x="322331" y="160388"/>
                    <a:pt x="315229" y="176102"/>
                    <a:pt x="306542" y="190094"/>
                  </a:cubicBezTo>
                  <a:cubicBezTo>
                    <a:pt x="306679" y="190577"/>
                    <a:pt x="313160" y="194436"/>
                    <a:pt x="313160" y="194436"/>
                  </a:cubicBezTo>
                  <a:cubicBezTo>
                    <a:pt x="322606" y="179893"/>
                    <a:pt x="329984" y="163489"/>
                    <a:pt x="335844" y="150325"/>
                  </a:cubicBezTo>
                  <a:lnTo>
                    <a:pt x="336878" y="148188"/>
                  </a:lnTo>
                  <a:close/>
                  <a:moveTo>
                    <a:pt x="249660" y="276250"/>
                  </a:moveTo>
                  <a:cubicBezTo>
                    <a:pt x="249660" y="275767"/>
                    <a:pt x="247109" y="273148"/>
                    <a:pt x="247109" y="273148"/>
                  </a:cubicBezTo>
                  <a:lnTo>
                    <a:pt x="244144" y="270116"/>
                  </a:lnTo>
                  <a:lnTo>
                    <a:pt x="236973" y="276526"/>
                  </a:lnTo>
                  <a:cubicBezTo>
                    <a:pt x="226079" y="286382"/>
                    <a:pt x="216151" y="295204"/>
                    <a:pt x="205188" y="302717"/>
                  </a:cubicBezTo>
                  <a:cubicBezTo>
                    <a:pt x="205119" y="303199"/>
                    <a:pt x="208567" y="307955"/>
                    <a:pt x="208567" y="307955"/>
                  </a:cubicBezTo>
                  <a:lnTo>
                    <a:pt x="209532" y="309334"/>
                  </a:lnTo>
                  <a:cubicBezTo>
                    <a:pt x="222150" y="300994"/>
                    <a:pt x="233664" y="290655"/>
                    <a:pt x="242903" y="282246"/>
                  </a:cubicBezTo>
                  <a:lnTo>
                    <a:pt x="249660" y="276250"/>
                  </a:lnTo>
                  <a:close/>
                  <a:moveTo>
                    <a:pt x="186504" y="320568"/>
                  </a:moveTo>
                  <a:lnTo>
                    <a:pt x="184435" y="317260"/>
                  </a:lnTo>
                  <a:lnTo>
                    <a:pt x="184159" y="317467"/>
                  </a:lnTo>
                  <a:cubicBezTo>
                    <a:pt x="170508" y="325876"/>
                    <a:pt x="155684" y="334629"/>
                    <a:pt x="139826" y="341590"/>
                  </a:cubicBezTo>
                  <a:cubicBezTo>
                    <a:pt x="139688" y="342073"/>
                    <a:pt x="142170" y="347518"/>
                    <a:pt x="142170" y="347518"/>
                  </a:cubicBezTo>
                  <a:lnTo>
                    <a:pt x="142791" y="348896"/>
                  </a:lnTo>
                  <a:cubicBezTo>
                    <a:pt x="159545" y="341935"/>
                    <a:pt x="174644" y="333044"/>
                    <a:pt x="188641" y="324428"/>
                  </a:cubicBezTo>
                  <a:cubicBezTo>
                    <a:pt x="188641" y="323946"/>
                    <a:pt x="186504" y="320568"/>
                    <a:pt x="186504" y="320568"/>
                  </a:cubicBezTo>
                  <a:close/>
                  <a:moveTo>
                    <a:pt x="299854" y="216630"/>
                  </a:moveTo>
                  <a:cubicBezTo>
                    <a:pt x="299785" y="216148"/>
                    <a:pt x="293511" y="211874"/>
                    <a:pt x="293511" y="211874"/>
                  </a:cubicBezTo>
                  <a:lnTo>
                    <a:pt x="293235" y="211668"/>
                  </a:lnTo>
                  <a:lnTo>
                    <a:pt x="285650" y="221937"/>
                  </a:lnTo>
                  <a:cubicBezTo>
                    <a:pt x="277652" y="232896"/>
                    <a:pt x="270275" y="242615"/>
                    <a:pt x="261656" y="251437"/>
                  </a:cubicBezTo>
                  <a:cubicBezTo>
                    <a:pt x="261656" y="251920"/>
                    <a:pt x="267310" y="257020"/>
                    <a:pt x="267310" y="257020"/>
                  </a:cubicBezTo>
                  <a:cubicBezTo>
                    <a:pt x="276618" y="247922"/>
                    <a:pt x="284271" y="237859"/>
                    <a:pt x="292545" y="226486"/>
                  </a:cubicBezTo>
                  <a:lnTo>
                    <a:pt x="299854" y="216630"/>
                  </a:lnTo>
                  <a:close/>
                </a:path>
              </a:pathLst>
            </a:custGeom>
            <a:solidFill>
              <a:srgbClr val="E4E4E4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</p:grpSp>
      <p:grpSp>
        <p:nvGrpSpPr>
          <p:cNvPr id="243" name="Group 242">
            <a:extLst>
              <a:ext uri="{FF2B5EF4-FFF2-40B4-BE49-F238E27FC236}">
                <a16:creationId xmlns:a16="http://schemas.microsoft.com/office/drawing/2014/main" id="{7B2D3F7B-9076-904C-AC8D-C14207268825}"/>
              </a:ext>
            </a:extLst>
          </p:cNvPr>
          <p:cNvGrpSpPr>
            <a:grpSpLocks noChangeAspect="1"/>
          </p:cNvGrpSpPr>
          <p:nvPr/>
        </p:nvGrpSpPr>
        <p:grpSpPr>
          <a:xfrm rot="10800000">
            <a:off x="8856149" y="3973027"/>
            <a:ext cx="929163" cy="928852"/>
            <a:chOff x="2877933" y="791668"/>
            <a:chExt cx="495803" cy="495637"/>
          </a:xfrm>
        </p:grpSpPr>
        <p:grpSp>
          <p:nvGrpSpPr>
            <p:cNvPr id="244" name="Graphic 4">
              <a:extLst>
                <a:ext uri="{FF2B5EF4-FFF2-40B4-BE49-F238E27FC236}">
                  <a16:creationId xmlns:a16="http://schemas.microsoft.com/office/drawing/2014/main" id="{51857E3D-DF65-D14C-899A-2E03FBF41962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877933" y="791737"/>
              <a:ext cx="495803" cy="495568"/>
              <a:chOff x="2877933" y="791737"/>
              <a:chExt cx="495803" cy="495568"/>
            </a:xfrm>
          </p:grpSpPr>
          <p:sp>
            <p:nvSpPr>
              <p:cNvPr id="246" name="Freeform 245">
                <a:extLst>
                  <a:ext uri="{FF2B5EF4-FFF2-40B4-BE49-F238E27FC236}">
                    <a16:creationId xmlns:a16="http://schemas.microsoft.com/office/drawing/2014/main" id="{9DE3B12D-16F3-EA44-BFB7-4352AAF656A1}"/>
                  </a:ext>
                </a:extLst>
              </p:cNvPr>
              <p:cNvSpPr/>
              <p:nvPr/>
            </p:nvSpPr>
            <p:spPr>
              <a:xfrm>
                <a:off x="2878002" y="791737"/>
                <a:ext cx="495734" cy="495568"/>
              </a:xfrm>
              <a:custGeom>
                <a:avLst/>
                <a:gdLst>
                  <a:gd name="connsiteX0" fmla="*/ 495734 w 495734"/>
                  <a:gd name="connsiteY0" fmla="*/ 0 h 495568"/>
                  <a:gd name="connsiteX1" fmla="*/ 261657 w 495734"/>
                  <a:gd name="connsiteY1" fmla="*/ 0 h 495568"/>
                  <a:gd name="connsiteX2" fmla="*/ 0 w 495734"/>
                  <a:gd name="connsiteY2" fmla="*/ 261569 h 495568"/>
                  <a:gd name="connsiteX3" fmla="*/ 0 w 495734"/>
                  <a:gd name="connsiteY3" fmla="*/ 495568 h 495568"/>
                  <a:gd name="connsiteX4" fmla="*/ 495734 w 495734"/>
                  <a:gd name="connsiteY4" fmla="*/ 0 h 4955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95734" h="495568">
                    <a:moveTo>
                      <a:pt x="495734" y="0"/>
                    </a:moveTo>
                    <a:lnTo>
                      <a:pt x="261657" y="0"/>
                    </a:lnTo>
                    <a:cubicBezTo>
                      <a:pt x="261657" y="144190"/>
                      <a:pt x="144308" y="261569"/>
                      <a:pt x="0" y="261569"/>
                    </a:cubicBezTo>
                    <a:lnTo>
                      <a:pt x="0" y="495568"/>
                    </a:lnTo>
                    <a:cubicBezTo>
                      <a:pt x="273309" y="495568"/>
                      <a:pt x="495734" y="273217"/>
                      <a:pt x="495734" y="0"/>
                    </a:cubicBezTo>
                    <a:close/>
                  </a:path>
                </a:pathLst>
              </a:custGeom>
              <a:solidFill>
                <a:schemeClr val="tx2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  <p:sp>
            <p:nvSpPr>
              <p:cNvPr id="247" name="Freeform 246">
                <a:extLst>
                  <a:ext uri="{FF2B5EF4-FFF2-40B4-BE49-F238E27FC236}">
                    <a16:creationId xmlns:a16="http://schemas.microsoft.com/office/drawing/2014/main" id="{5D7BBFD6-C1D5-374A-9FD9-D2A490845834}"/>
                  </a:ext>
                </a:extLst>
              </p:cNvPr>
              <p:cNvSpPr/>
              <p:nvPr/>
            </p:nvSpPr>
            <p:spPr>
              <a:xfrm>
                <a:off x="2877933" y="791737"/>
                <a:ext cx="482702" cy="482541"/>
              </a:xfrm>
              <a:custGeom>
                <a:avLst/>
                <a:gdLst>
                  <a:gd name="connsiteX0" fmla="*/ 283030 w 482702"/>
                  <a:gd name="connsiteY0" fmla="*/ 0 h 482541"/>
                  <a:gd name="connsiteX1" fmla="*/ 274757 w 482702"/>
                  <a:gd name="connsiteY1" fmla="*/ 0 h 482541"/>
                  <a:gd name="connsiteX2" fmla="*/ 0 w 482702"/>
                  <a:gd name="connsiteY2" fmla="*/ 274665 h 482541"/>
                  <a:gd name="connsiteX3" fmla="*/ 0 w 482702"/>
                  <a:gd name="connsiteY3" fmla="*/ 282936 h 482541"/>
                  <a:gd name="connsiteX4" fmla="*/ 283030 w 482702"/>
                  <a:gd name="connsiteY4" fmla="*/ 0 h 482541"/>
                  <a:gd name="connsiteX5" fmla="*/ 482703 w 482702"/>
                  <a:gd name="connsiteY5" fmla="*/ 0 h 482541"/>
                  <a:gd name="connsiteX6" fmla="*/ 474429 w 482702"/>
                  <a:gd name="connsiteY6" fmla="*/ 0 h 482541"/>
                  <a:gd name="connsiteX7" fmla="*/ 0 w 482702"/>
                  <a:gd name="connsiteY7" fmla="*/ 474270 h 482541"/>
                  <a:gd name="connsiteX8" fmla="*/ 0 w 482702"/>
                  <a:gd name="connsiteY8" fmla="*/ 482541 h 482541"/>
                  <a:gd name="connsiteX9" fmla="*/ 482703 w 482702"/>
                  <a:gd name="connsiteY9" fmla="*/ 0 h 4825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82702" h="482541">
                    <a:moveTo>
                      <a:pt x="283030" y="0"/>
                    </a:moveTo>
                    <a:lnTo>
                      <a:pt x="274757" y="0"/>
                    </a:lnTo>
                    <a:cubicBezTo>
                      <a:pt x="274757" y="151427"/>
                      <a:pt x="151478" y="274665"/>
                      <a:pt x="0" y="274665"/>
                    </a:cubicBezTo>
                    <a:lnTo>
                      <a:pt x="0" y="282936"/>
                    </a:lnTo>
                    <a:cubicBezTo>
                      <a:pt x="156098" y="282867"/>
                      <a:pt x="283030" y="155976"/>
                      <a:pt x="283030" y="0"/>
                    </a:cubicBezTo>
                    <a:close/>
                    <a:moveTo>
                      <a:pt x="482703" y="0"/>
                    </a:moveTo>
                    <a:lnTo>
                      <a:pt x="474429" y="0"/>
                    </a:lnTo>
                    <a:cubicBezTo>
                      <a:pt x="474429" y="261500"/>
                      <a:pt x="261588" y="474270"/>
                      <a:pt x="0" y="474270"/>
                    </a:cubicBezTo>
                    <a:lnTo>
                      <a:pt x="0" y="482541"/>
                    </a:lnTo>
                    <a:cubicBezTo>
                      <a:pt x="266207" y="482472"/>
                      <a:pt x="482703" y="266049"/>
                      <a:pt x="482703" y="0"/>
                    </a:cubicBez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  <p:sp>
          <p:nvSpPr>
            <p:cNvPr id="245" name="Freeform 244">
              <a:extLst>
                <a:ext uri="{FF2B5EF4-FFF2-40B4-BE49-F238E27FC236}">
                  <a16:creationId xmlns:a16="http://schemas.microsoft.com/office/drawing/2014/main" id="{07D3E694-691D-6F44-A500-166143B6C83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895584" y="791668"/>
              <a:ext cx="366388" cy="383910"/>
            </a:xfrm>
            <a:custGeom>
              <a:avLst/>
              <a:gdLst>
                <a:gd name="connsiteX0" fmla="*/ 119004 w 366388"/>
                <a:gd name="connsiteY0" fmla="*/ 359304 h 383910"/>
                <a:gd name="connsiteX1" fmla="*/ 116453 w 366388"/>
                <a:gd name="connsiteY1" fmla="*/ 351791 h 383910"/>
                <a:gd name="connsiteX2" fmla="*/ 116315 w 366388"/>
                <a:gd name="connsiteY2" fmla="*/ 351447 h 383910"/>
                <a:gd name="connsiteX3" fmla="*/ 115970 w 366388"/>
                <a:gd name="connsiteY3" fmla="*/ 351584 h 383910"/>
                <a:gd name="connsiteX4" fmla="*/ 67707 w 366388"/>
                <a:gd name="connsiteY4" fmla="*/ 366334 h 383910"/>
                <a:gd name="connsiteX5" fmla="*/ 68258 w 366388"/>
                <a:gd name="connsiteY5" fmla="*/ 370332 h 383910"/>
                <a:gd name="connsiteX6" fmla="*/ 69155 w 366388"/>
                <a:gd name="connsiteY6" fmla="*/ 374123 h 383910"/>
                <a:gd name="connsiteX7" fmla="*/ 119004 w 366388"/>
                <a:gd name="connsiteY7" fmla="*/ 359304 h 383910"/>
                <a:gd name="connsiteX8" fmla="*/ 359425 w 366388"/>
                <a:gd name="connsiteY8" fmla="*/ 73336 h 383910"/>
                <a:gd name="connsiteX9" fmla="*/ 351289 w 366388"/>
                <a:gd name="connsiteY9" fmla="*/ 71819 h 383910"/>
                <a:gd name="connsiteX10" fmla="*/ 351220 w 366388"/>
                <a:gd name="connsiteY10" fmla="*/ 72164 h 383910"/>
                <a:gd name="connsiteX11" fmla="*/ 338258 w 366388"/>
                <a:gd name="connsiteY11" fmla="*/ 120894 h 383910"/>
                <a:gd name="connsiteX12" fmla="*/ 338119 w 366388"/>
                <a:gd name="connsiteY12" fmla="*/ 121238 h 383910"/>
                <a:gd name="connsiteX13" fmla="*/ 345635 w 366388"/>
                <a:gd name="connsiteY13" fmla="*/ 123789 h 383910"/>
                <a:gd name="connsiteX14" fmla="*/ 359286 w 366388"/>
                <a:gd name="connsiteY14" fmla="*/ 73680 h 383910"/>
                <a:gd name="connsiteX15" fmla="*/ 359425 w 366388"/>
                <a:gd name="connsiteY15" fmla="*/ 73336 h 383910"/>
                <a:gd name="connsiteX16" fmla="*/ 43782 w 366388"/>
                <a:gd name="connsiteY16" fmla="*/ 379499 h 383910"/>
                <a:gd name="connsiteX17" fmla="*/ 43368 w 366388"/>
                <a:gd name="connsiteY17" fmla="*/ 374743 h 383910"/>
                <a:gd name="connsiteX18" fmla="*/ 42816 w 366388"/>
                <a:gd name="connsiteY18" fmla="*/ 371297 h 383910"/>
                <a:gd name="connsiteX19" fmla="*/ 42472 w 366388"/>
                <a:gd name="connsiteY19" fmla="*/ 371366 h 383910"/>
                <a:gd name="connsiteX20" fmla="*/ 0 w 366388"/>
                <a:gd name="connsiteY20" fmla="*/ 375846 h 383910"/>
                <a:gd name="connsiteX21" fmla="*/ 0 w 366388"/>
                <a:gd name="connsiteY21" fmla="*/ 383910 h 383910"/>
                <a:gd name="connsiteX22" fmla="*/ 43782 w 366388"/>
                <a:gd name="connsiteY22" fmla="*/ 379499 h 383910"/>
                <a:gd name="connsiteX23" fmla="*/ 358390 w 366388"/>
                <a:gd name="connsiteY23" fmla="*/ 69 h 383910"/>
                <a:gd name="connsiteX24" fmla="*/ 355219 w 366388"/>
                <a:gd name="connsiteY24" fmla="*/ 46662 h 383910"/>
                <a:gd name="connsiteX25" fmla="*/ 358183 w 366388"/>
                <a:gd name="connsiteY25" fmla="*/ 47351 h 383910"/>
                <a:gd name="connsiteX26" fmla="*/ 363079 w 366388"/>
                <a:gd name="connsiteY26" fmla="*/ 47972 h 383910"/>
                <a:gd name="connsiteX27" fmla="*/ 366388 w 366388"/>
                <a:gd name="connsiteY27" fmla="*/ 0 h 383910"/>
                <a:gd name="connsiteX28" fmla="*/ 358390 w 366388"/>
                <a:gd name="connsiteY28" fmla="*/ 0 h 383910"/>
                <a:gd name="connsiteX29" fmla="*/ 336878 w 366388"/>
                <a:gd name="connsiteY29" fmla="*/ 148188 h 383910"/>
                <a:gd name="connsiteX30" fmla="*/ 332466 w 366388"/>
                <a:gd name="connsiteY30" fmla="*/ 145982 h 383910"/>
                <a:gd name="connsiteX31" fmla="*/ 329363 w 366388"/>
                <a:gd name="connsiteY31" fmla="*/ 144673 h 383910"/>
                <a:gd name="connsiteX32" fmla="*/ 327984 w 366388"/>
                <a:gd name="connsiteY32" fmla="*/ 147774 h 383910"/>
                <a:gd name="connsiteX33" fmla="*/ 306542 w 366388"/>
                <a:gd name="connsiteY33" fmla="*/ 190094 h 383910"/>
                <a:gd name="connsiteX34" fmla="*/ 313160 w 366388"/>
                <a:gd name="connsiteY34" fmla="*/ 194436 h 383910"/>
                <a:gd name="connsiteX35" fmla="*/ 335844 w 366388"/>
                <a:gd name="connsiteY35" fmla="*/ 150325 h 383910"/>
                <a:gd name="connsiteX36" fmla="*/ 336878 w 366388"/>
                <a:gd name="connsiteY36" fmla="*/ 148188 h 383910"/>
                <a:gd name="connsiteX37" fmla="*/ 249660 w 366388"/>
                <a:gd name="connsiteY37" fmla="*/ 276250 h 383910"/>
                <a:gd name="connsiteX38" fmla="*/ 247109 w 366388"/>
                <a:gd name="connsiteY38" fmla="*/ 273148 h 383910"/>
                <a:gd name="connsiteX39" fmla="*/ 244144 w 366388"/>
                <a:gd name="connsiteY39" fmla="*/ 270116 h 383910"/>
                <a:gd name="connsiteX40" fmla="*/ 236973 w 366388"/>
                <a:gd name="connsiteY40" fmla="*/ 276526 h 383910"/>
                <a:gd name="connsiteX41" fmla="*/ 205188 w 366388"/>
                <a:gd name="connsiteY41" fmla="*/ 302717 h 383910"/>
                <a:gd name="connsiteX42" fmla="*/ 208567 w 366388"/>
                <a:gd name="connsiteY42" fmla="*/ 307955 h 383910"/>
                <a:gd name="connsiteX43" fmla="*/ 209532 w 366388"/>
                <a:gd name="connsiteY43" fmla="*/ 309334 h 383910"/>
                <a:gd name="connsiteX44" fmla="*/ 242903 w 366388"/>
                <a:gd name="connsiteY44" fmla="*/ 282246 h 383910"/>
                <a:gd name="connsiteX45" fmla="*/ 249660 w 366388"/>
                <a:gd name="connsiteY45" fmla="*/ 276250 h 383910"/>
                <a:gd name="connsiteX46" fmla="*/ 186504 w 366388"/>
                <a:gd name="connsiteY46" fmla="*/ 320568 h 383910"/>
                <a:gd name="connsiteX47" fmla="*/ 184435 w 366388"/>
                <a:gd name="connsiteY47" fmla="*/ 317260 h 383910"/>
                <a:gd name="connsiteX48" fmla="*/ 184159 w 366388"/>
                <a:gd name="connsiteY48" fmla="*/ 317467 h 383910"/>
                <a:gd name="connsiteX49" fmla="*/ 139826 w 366388"/>
                <a:gd name="connsiteY49" fmla="*/ 341590 h 383910"/>
                <a:gd name="connsiteX50" fmla="*/ 142170 w 366388"/>
                <a:gd name="connsiteY50" fmla="*/ 347518 h 383910"/>
                <a:gd name="connsiteX51" fmla="*/ 142791 w 366388"/>
                <a:gd name="connsiteY51" fmla="*/ 348896 h 383910"/>
                <a:gd name="connsiteX52" fmla="*/ 188641 w 366388"/>
                <a:gd name="connsiteY52" fmla="*/ 324428 h 383910"/>
                <a:gd name="connsiteX53" fmla="*/ 186504 w 366388"/>
                <a:gd name="connsiteY53" fmla="*/ 320568 h 383910"/>
                <a:gd name="connsiteX54" fmla="*/ 299854 w 366388"/>
                <a:gd name="connsiteY54" fmla="*/ 216630 h 383910"/>
                <a:gd name="connsiteX55" fmla="*/ 293511 w 366388"/>
                <a:gd name="connsiteY55" fmla="*/ 211874 h 383910"/>
                <a:gd name="connsiteX56" fmla="*/ 293235 w 366388"/>
                <a:gd name="connsiteY56" fmla="*/ 211668 h 383910"/>
                <a:gd name="connsiteX57" fmla="*/ 285650 w 366388"/>
                <a:gd name="connsiteY57" fmla="*/ 221937 h 383910"/>
                <a:gd name="connsiteX58" fmla="*/ 261656 w 366388"/>
                <a:gd name="connsiteY58" fmla="*/ 251437 h 383910"/>
                <a:gd name="connsiteX59" fmla="*/ 267310 w 366388"/>
                <a:gd name="connsiteY59" fmla="*/ 257020 h 383910"/>
                <a:gd name="connsiteX60" fmla="*/ 292545 w 366388"/>
                <a:gd name="connsiteY60" fmla="*/ 226486 h 383910"/>
                <a:gd name="connsiteX61" fmla="*/ 299854 w 366388"/>
                <a:gd name="connsiteY61" fmla="*/ 216630 h 383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366388" h="383910">
                  <a:moveTo>
                    <a:pt x="119004" y="359304"/>
                  </a:moveTo>
                  <a:cubicBezTo>
                    <a:pt x="119210" y="358890"/>
                    <a:pt x="116453" y="351791"/>
                    <a:pt x="116453" y="351791"/>
                  </a:cubicBezTo>
                  <a:lnTo>
                    <a:pt x="116315" y="351447"/>
                  </a:lnTo>
                  <a:lnTo>
                    <a:pt x="115970" y="351584"/>
                  </a:lnTo>
                  <a:cubicBezTo>
                    <a:pt x="99285" y="358063"/>
                    <a:pt x="83565" y="362819"/>
                    <a:pt x="67707" y="366334"/>
                  </a:cubicBezTo>
                  <a:cubicBezTo>
                    <a:pt x="67431" y="366748"/>
                    <a:pt x="68258" y="370332"/>
                    <a:pt x="68258" y="370332"/>
                  </a:cubicBezTo>
                  <a:lnTo>
                    <a:pt x="69155" y="374123"/>
                  </a:lnTo>
                  <a:cubicBezTo>
                    <a:pt x="85771" y="370883"/>
                    <a:pt x="101974" y="365921"/>
                    <a:pt x="119004" y="359304"/>
                  </a:cubicBezTo>
                  <a:close/>
                  <a:moveTo>
                    <a:pt x="359425" y="73336"/>
                  </a:moveTo>
                  <a:lnTo>
                    <a:pt x="351289" y="71819"/>
                  </a:lnTo>
                  <a:lnTo>
                    <a:pt x="351220" y="72164"/>
                  </a:lnTo>
                  <a:cubicBezTo>
                    <a:pt x="347841" y="89257"/>
                    <a:pt x="343498" y="105661"/>
                    <a:pt x="338258" y="120894"/>
                  </a:cubicBezTo>
                  <a:lnTo>
                    <a:pt x="338119" y="121238"/>
                  </a:lnTo>
                  <a:lnTo>
                    <a:pt x="345635" y="123789"/>
                  </a:lnTo>
                  <a:cubicBezTo>
                    <a:pt x="351358" y="108005"/>
                    <a:pt x="355839" y="91256"/>
                    <a:pt x="359286" y="73680"/>
                  </a:cubicBezTo>
                  <a:lnTo>
                    <a:pt x="359425" y="73336"/>
                  </a:lnTo>
                  <a:close/>
                  <a:moveTo>
                    <a:pt x="43782" y="379499"/>
                  </a:moveTo>
                  <a:cubicBezTo>
                    <a:pt x="44057" y="379085"/>
                    <a:pt x="43368" y="374743"/>
                    <a:pt x="43368" y="374743"/>
                  </a:cubicBezTo>
                  <a:lnTo>
                    <a:pt x="42816" y="371297"/>
                  </a:lnTo>
                  <a:lnTo>
                    <a:pt x="42472" y="371366"/>
                  </a:lnTo>
                  <a:cubicBezTo>
                    <a:pt x="28751" y="373778"/>
                    <a:pt x="14479" y="375226"/>
                    <a:pt x="0" y="375846"/>
                  </a:cubicBezTo>
                  <a:lnTo>
                    <a:pt x="0" y="383910"/>
                  </a:lnTo>
                  <a:cubicBezTo>
                    <a:pt x="15031" y="383497"/>
                    <a:pt x="29716" y="381980"/>
                    <a:pt x="43782" y="379499"/>
                  </a:cubicBezTo>
                  <a:close/>
                  <a:moveTo>
                    <a:pt x="358390" y="69"/>
                  </a:moveTo>
                  <a:cubicBezTo>
                    <a:pt x="358045" y="15026"/>
                    <a:pt x="357149" y="30603"/>
                    <a:pt x="355219" y="46662"/>
                  </a:cubicBezTo>
                  <a:cubicBezTo>
                    <a:pt x="355494" y="47007"/>
                    <a:pt x="358183" y="47351"/>
                    <a:pt x="358183" y="47351"/>
                  </a:cubicBezTo>
                  <a:lnTo>
                    <a:pt x="363079" y="47972"/>
                  </a:lnTo>
                  <a:cubicBezTo>
                    <a:pt x="365354" y="31154"/>
                    <a:pt x="366319" y="15163"/>
                    <a:pt x="366388" y="0"/>
                  </a:cubicBezTo>
                  <a:lnTo>
                    <a:pt x="358390" y="0"/>
                  </a:lnTo>
                  <a:close/>
                  <a:moveTo>
                    <a:pt x="336878" y="148188"/>
                  </a:moveTo>
                  <a:cubicBezTo>
                    <a:pt x="336672" y="147705"/>
                    <a:pt x="332466" y="145982"/>
                    <a:pt x="332466" y="145982"/>
                  </a:cubicBezTo>
                  <a:lnTo>
                    <a:pt x="329363" y="144673"/>
                  </a:lnTo>
                  <a:lnTo>
                    <a:pt x="327984" y="147774"/>
                  </a:lnTo>
                  <a:cubicBezTo>
                    <a:pt x="322331" y="160388"/>
                    <a:pt x="315229" y="176102"/>
                    <a:pt x="306542" y="190094"/>
                  </a:cubicBezTo>
                  <a:cubicBezTo>
                    <a:pt x="306679" y="190577"/>
                    <a:pt x="313160" y="194436"/>
                    <a:pt x="313160" y="194436"/>
                  </a:cubicBezTo>
                  <a:cubicBezTo>
                    <a:pt x="322606" y="179893"/>
                    <a:pt x="329984" y="163489"/>
                    <a:pt x="335844" y="150325"/>
                  </a:cubicBezTo>
                  <a:lnTo>
                    <a:pt x="336878" y="148188"/>
                  </a:lnTo>
                  <a:close/>
                  <a:moveTo>
                    <a:pt x="249660" y="276250"/>
                  </a:moveTo>
                  <a:cubicBezTo>
                    <a:pt x="249660" y="275767"/>
                    <a:pt x="247109" y="273148"/>
                    <a:pt x="247109" y="273148"/>
                  </a:cubicBezTo>
                  <a:lnTo>
                    <a:pt x="244144" y="270116"/>
                  </a:lnTo>
                  <a:lnTo>
                    <a:pt x="236973" y="276526"/>
                  </a:lnTo>
                  <a:cubicBezTo>
                    <a:pt x="226079" y="286382"/>
                    <a:pt x="216151" y="295204"/>
                    <a:pt x="205188" y="302717"/>
                  </a:cubicBezTo>
                  <a:cubicBezTo>
                    <a:pt x="205119" y="303199"/>
                    <a:pt x="208567" y="307955"/>
                    <a:pt x="208567" y="307955"/>
                  </a:cubicBezTo>
                  <a:lnTo>
                    <a:pt x="209532" y="309334"/>
                  </a:lnTo>
                  <a:cubicBezTo>
                    <a:pt x="222150" y="300994"/>
                    <a:pt x="233664" y="290655"/>
                    <a:pt x="242903" y="282246"/>
                  </a:cubicBezTo>
                  <a:lnTo>
                    <a:pt x="249660" y="276250"/>
                  </a:lnTo>
                  <a:close/>
                  <a:moveTo>
                    <a:pt x="186504" y="320568"/>
                  </a:moveTo>
                  <a:lnTo>
                    <a:pt x="184435" y="317260"/>
                  </a:lnTo>
                  <a:lnTo>
                    <a:pt x="184159" y="317467"/>
                  </a:lnTo>
                  <a:cubicBezTo>
                    <a:pt x="170508" y="325876"/>
                    <a:pt x="155684" y="334629"/>
                    <a:pt x="139826" y="341590"/>
                  </a:cubicBezTo>
                  <a:cubicBezTo>
                    <a:pt x="139688" y="342073"/>
                    <a:pt x="142170" y="347518"/>
                    <a:pt x="142170" y="347518"/>
                  </a:cubicBezTo>
                  <a:lnTo>
                    <a:pt x="142791" y="348896"/>
                  </a:lnTo>
                  <a:cubicBezTo>
                    <a:pt x="159545" y="341935"/>
                    <a:pt x="174644" y="333044"/>
                    <a:pt x="188641" y="324428"/>
                  </a:cubicBezTo>
                  <a:cubicBezTo>
                    <a:pt x="188641" y="323946"/>
                    <a:pt x="186504" y="320568"/>
                    <a:pt x="186504" y="320568"/>
                  </a:cubicBezTo>
                  <a:close/>
                  <a:moveTo>
                    <a:pt x="299854" y="216630"/>
                  </a:moveTo>
                  <a:cubicBezTo>
                    <a:pt x="299785" y="216148"/>
                    <a:pt x="293511" y="211874"/>
                    <a:pt x="293511" y="211874"/>
                  </a:cubicBezTo>
                  <a:lnTo>
                    <a:pt x="293235" y="211668"/>
                  </a:lnTo>
                  <a:lnTo>
                    <a:pt x="285650" y="221937"/>
                  </a:lnTo>
                  <a:cubicBezTo>
                    <a:pt x="277652" y="232896"/>
                    <a:pt x="270275" y="242615"/>
                    <a:pt x="261656" y="251437"/>
                  </a:cubicBezTo>
                  <a:cubicBezTo>
                    <a:pt x="261656" y="251920"/>
                    <a:pt x="267310" y="257020"/>
                    <a:pt x="267310" y="257020"/>
                  </a:cubicBezTo>
                  <a:cubicBezTo>
                    <a:pt x="276618" y="247922"/>
                    <a:pt x="284271" y="237859"/>
                    <a:pt x="292545" y="226486"/>
                  </a:cubicBezTo>
                  <a:lnTo>
                    <a:pt x="299854" y="216630"/>
                  </a:lnTo>
                  <a:close/>
                </a:path>
              </a:pathLst>
            </a:custGeom>
            <a:solidFill>
              <a:srgbClr val="E4E4E4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</p:grpSp>
      <p:grpSp>
        <p:nvGrpSpPr>
          <p:cNvPr id="250" name="Group 249">
            <a:extLst>
              <a:ext uri="{FF2B5EF4-FFF2-40B4-BE49-F238E27FC236}">
                <a16:creationId xmlns:a16="http://schemas.microsoft.com/office/drawing/2014/main" id="{EE39B2A7-CEF7-C64E-8743-C73747DCA674}"/>
              </a:ext>
            </a:extLst>
          </p:cNvPr>
          <p:cNvGrpSpPr>
            <a:grpSpLocks noChangeAspect="1"/>
          </p:cNvGrpSpPr>
          <p:nvPr/>
        </p:nvGrpSpPr>
        <p:grpSpPr>
          <a:xfrm rot="5400000">
            <a:off x="8856175" y="4884673"/>
            <a:ext cx="929163" cy="928852"/>
            <a:chOff x="2877933" y="791668"/>
            <a:chExt cx="495803" cy="495637"/>
          </a:xfrm>
        </p:grpSpPr>
        <p:grpSp>
          <p:nvGrpSpPr>
            <p:cNvPr id="251" name="Graphic 4">
              <a:extLst>
                <a:ext uri="{FF2B5EF4-FFF2-40B4-BE49-F238E27FC236}">
                  <a16:creationId xmlns:a16="http://schemas.microsoft.com/office/drawing/2014/main" id="{93EE2755-1C69-CC4F-8AE7-C2EE533435B6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877933" y="791737"/>
              <a:ext cx="495803" cy="495568"/>
              <a:chOff x="2877933" y="791737"/>
              <a:chExt cx="495803" cy="495568"/>
            </a:xfrm>
          </p:grpSpPr>
          <p:sp>
            <p:nvSpPr>
              <p:cNvPr id="253" name="Freeform 252">
                <a:extLst>
                  <a:ext uri="{FF2B5EF4-FFF2-40B4-BE49-F238E27FC236}">
                    <a16:creationId xmlns:a16="http://schemas.microsoft.com/office/drawing/2014/main" id="{D86199C9-A34F-CF40-A0C1-B3096AF022F0}"/>
                  </a:ext>
                </a:extLst>
              </p:cNvPr>
              <p:cNvSpPr/>
              <p:nvPr/>
            </p:nvSpPr>
            <p:spPr>
              <a:xfrm>
                <a:off x="2878002" y="791737"/>
                <a:ext cx="495734" cy="495568"/>
              </a:xfrm>
              <a:custGeom>
                <a:avLst/>
                <a:gdLst>
                  <a:gd name="connsiteX0" fmla="*/ 495734 w 495734"/>
                  <a:gd name="connsiteY0" fmla="*/ 0 h 495568"/>
                  <a:gd name="connsiteX1" fmla="*/ 261657 w 495734"/>
                  <a:gd name="connsiteY1" fmla="*/ 0 h 495568"/>
                  <a:gd name="connsiteX2" fmla="*/ 0 w 495734"/>
                  <a:gd name="connsiteY2" fmla="*/ 261569 h 495568"/>
                  <a:gd name="connsiteX3" fmla="*/ 0 w 495734"/>
                  <a:gd name="connsiteY3" fmla="*/ 495568 h 495568"/>
                  <a:gd name="connsiteX4" fmla="*/ 495734 w 495734"/>
                  <a:gd name="connsiteY4" fmla="*/ 0 h 4955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95734" h="495568">
                    <a:moveTo>
                      <a:pt x="495734" y="0"/>
                    </a:moveTo>
                    <a:lnTo>
                      <a:pt x="261657" y="0"/>
                    </a:lnTo>
                    <a:cubicBezTo>
                      <a:pt x="261657" y="144190"/>
                      <a:pt x="144308" y="261569"/>
                      <a:pt x="0" y="261569"/>
                    </a:cubicBezTo>
                    <a:lnTo>
                      <a:pt x="0" y="495568"/>
                    </a:lnTo>
                    <a:cubicBezTo>
                      <a:pt x="273309" y="495568"/>
                      <a:pt x="495734" y="273217"/>
                      <a:pt x="495734" y="0"/>
                    </a:cubicBezTo>
                    <a:close/>
                  </a:path>
                </a:pathLst>
              </a:custGeom>
              <a:solidFill>
                <a:schemeClr val="tx2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  <p:sp>
            <p:nvSpPr>
              <p:cNvPr id="254" name="Freeform 253">
                <a:extLst>
                  <a:ext uri="{FF2B5EF4-FFF2-40B4-BE49-F238E27FC236}">
                    <a16:creationId xmlns:a16="http://schemas.microsoft.com/office/drawing/2014/main" id="{032D61FF-5C0E-894C-984A-C0F02DEC830A}"/>
                  </a:ext>
                </a:extLst>
              </p:cNvPr>
              <p:cNvSpPr/>
              <p:nvPr/>
            </p:nvSpPr>
            <p:spPr>
              <a:xfrm>
                <a:off x="2877933" y="791737"/>
                <a:ext cx="482702" cy="482541"/>
              </a:xfrm>
              <a:custGeom>
                <a:avLst/>
                <a:gdLst>
                  <a:gd name="connsiteX0" fmla="*/ 283030 w 482702"/>
                  <a:gd name="connsiteY0" fmla="*/ 0 h 482541"/>
                  <a:gd name="connsiteX1" fmla="*/ 274757 w 482702"/>
                  <a:gd name="connsiteY1" fmla="*/ 0 h 482541"/>
                  <a:gd name="connsiteX2" fmla="*/ 0 w 482702"/>
                  <a:gd name="connsiteY2" fmla="*/ 274665 h 482541"/>
                  <a:gd name="connsiteX3" fmla="*/ 0 w 482702"/>
                  <a:gd name="connsiteY3" fmla="*/ 282936 h 482541"/>
                  <a:gd name="connsiteX4" fmla="*/ 283030 w 482702"/>
                  <a:gd name="connsiteY4" fmla="*/ 0 h 482541"/>
                  <a:gd name="connsiteX5" fmla="*/ 482703 w 482702"/>
                  <a:gd name="connsiteY5" fmla="*/ 0 h 482541"/>
                  <a:gd name="connsiteX6" fmla="*/ 474429 w 482702"/>
                  <a:gd name="connsiteY6" fmla="*/ 0 h 482541"/>
                  <a:gd name="connsiteX7" fmla="*/ 0 w 482702"/>
                  <a:gd name="connsiteY7" fmla="*/ 474270 h 482541"/>
                  <a:gd name="connsiteX8" fmla="*/ 0 w 482702"/>
                  <a:gd name="connsiteY8" fmla="*/ 482541 h 482541"/>
                  <a:gd name="connsiteX9" fmla="*/ 482703 w 482702"/>
                  <a:gd name="connsiteY9" fmla="*/ 0 h 4825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82702" h="482541">
                    <a:moveTo>
                      <a:pt x="283030" y="0"/>
                    </a:moveTo>
                    <a:lnTo>
                      <a:pt x="274757" y="0"/>
                    </a:lnTo>
                    <a:cubicBezTo>
                      <a:pt x="274757" y="151427"/>
                      <a:pt x="151478" y="274665"/>
                      <a:pt x="0" y="274665"/>
                    </a:cubicBezTo>
                    <a:lnTo>
                      <a:pt x="0" y="282936"/>
                    </a:lnTo>
                    <a:cubicBezTo>
                      <a:pt x="156098" y="282867"/>
                      <a:pt x="283030" y="155976"/>
                      <a:pt x="283030" y="0"/>
                    </a:cubicBezTo>
                    <a:close/>
                    <a:moveTo>
                      <a:pt x="482703" y="0"/>
                    </a:moveTo>
                    <a:lnTo>
                      <a:pt x="474429" y="0"/>
                    </a:lnTo>
                    <a:cubicBezTo>
                      <a:pt x="474429" y="261500"/>
                      <a:pt x="261588" y="474270"/>
                      <a:pt x="0" y="474270"/>
                    </a:cubicBezTo>
                    <a:lnTo>
                      <a:pt x="0" y="482541"/>
                    </a:lnTo>
                    <a:cubicBezTo>
                      <a:pt x="266207" y="482472"/>
                      <a:pt x="482703" y="266049"/>
                      <a:pt x="482703" y="0"/>
                    </a:cubicBez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  <p:sp>
          <p:nvSpPr>
            <p:cNvPr id="252" name="Freeform 251">
              <a:extLst>
                <a:ext uri="{FF2B5EF4-FFF2-40B4-BE49-F238E27FC236}">
                  <a16:creationId xmlns:a16="http://schemas.microsoft.com/office/drawing/2014/main" id="{044EDAD0-96D6-1742-9ACE-896215831E2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895584" y="791668"/>
              <a:ext cx="366388" cy="383910"/>
            </a:xfrm>
            <a:custGeom>
              <a:avLst/>
              <a:gdLst>
                <a:gd name="connsiteX0" fmla="*/ 119004 w 366388"/>
                <a:gd name="connsiteY0" fmla="*/ 359304 h 383910"/>
                <a:gd name="connsiteX1" fmla="*/ 116453 w 366388"/>
                <a:gd name="connsiteY1" fmla="*/ 351791 h 383910"/>
                <a:gd name="connsiteX2" fmla="*/ 116315 w 366388"/>
                <a:gd name="connsiteY2" fmla="*/ 351447 h 383910"/>
                <a:gd name="connsiteX3" fmla="*/ 115970 w 366388"/>
                <a:gd name="connsiteY3" fmla="*/ 351584 h 383910"/>
                <a:gd name="connsiteX4" fmla="*/ 67707 w 366388"/>
                <a:gd name="connsiteY4" fmla="*/ 366334 h 383910"/>
                <a:gd name="connsiteX5" fmla="*/ 68258 w 366388"/>
                <a:gd name="connsiteY5" fmla="*/ 370332 h 383910"/>
                <a:gd name="connsiteX6" fmla="*/ 69155 w 366388"/>
                <a:gd name="connsiteY6" fmla="*/ 374123 h 383910"/>
                <a:gd name="connsiteX7" fmla="*/ 119004 w 366388"/>
                <a:gd name="connsiteY7" fmla="*/ 359304 h 383910"/>
                <a:gd name="connsiteX8" fmla="*/ 359425 w 366388"/>
                <a:gd name="connsiteY8" fmla="*/ 73336 h 383910"/>
                <a:gd name="connsiteX9" fmla="*/ 351289 w 366388"/>
                <a:gd name="connsiteY9" fmla="*/ 71819 h 383910"/>
                <a:gd name="connsiteX10" fmla="*/ 351220 w 366388"/>
                <a:gd name="connsiteY10" fmla="*/ 72164 h 383910"/>
                <a:gd name="connsiteX11" fmla="*/ 338258 w 366388"/>
                <a:gd name="connsiteY11" fmla="*/ 120894 h 383910"/>
                <a:gd name="connsiteX12" fmla="*/ 338119 w 366388"/>
                <a:gd name="connsiteY12" fmla="*/ 121238 h 383910"/>
                <a:gd name="connsiteX13" fmla="*/ 345635 w 366388"/>
                <a:gd name="connsiteY13" fmla="*/ 123789 h 383910"/>
                <a:gd name="connsiteX14" fmla="*/ 359286 w 366388"/>
                <a:gd name="connsiteY14" fmla="*/ 73680 h 383910"/>
                <a:gd name="connsiteX15" fmla="*/ 359425 w 366388"/>
                <a:gd name="connsiteY15" fmla="*/ 73336 h 383910"/>
                <a:gd name="connsiteX16" fmla="*/ 43782 w 366388"/>
                <a:gd name="connsiteY16" fmla="*/ 379499 h 383910"/>
                <a:gd name="connsiteX17" fmla="*/ 43368 w 366388"/>
                <a:gd name="connsiteY17" fmla="*/ 374743 h 383910"/>
                <a:gd name="connsiteX18" fmla="*/ 42816 w 366388"/>
                <a:gd name="connsiteY18" fmla="*/ 371297 h 383910"/>
                <a:gd name="connsiteX19" fmla="*/ 42472 w 366388"/>
                <a:gd name="connsiteY19" fmla="*/ 371366 h 383910"/>
                <a:gd name="connsiteX20" fmla="*/ 0 w 366388"/>
                <a:gd name="connsiteY20" fmla="*/ 375846 h 383910"/>
                <a:gd name="connsiteX21" fmla="*/ 0 w 366388"/>
                <a:gd name="connsiteY21" fmla="*/ 383910 h 383910"/>
                <a:gd name="connsiteX22" fmla="*/ 43782 w 366388"/>
                <a:gd name="connsiteY22" fmla="*/ 379499 h 383910"/>
                <a:gd name="connsiteX23" fmla="*/ 358390 w 366388"/>
                <a:gd name="connsiteY23" fmla="*/ 69 h 383910"/>
                <a:gd name="connsiteX24" fmla="*/ 355219 w 366388"/>
                <a:gd name="connsiteY24" fmla="*/ 46662 h 383910"/>
                <a:gd name="connsiteX25" fmla="*/ 358183 w 366388"/>
                <a:gd name="connsiteY25" fmla="*/ 47351 h 383910"/>
                <a:gd name="connsiteX26" fmla="*/ 363079 w 366388"/>
                <a:gd name="connsiteY26" fmla="*/ 47972 h 383910"/>
                <a:gd name="connsiteX27" fmla="*/ 366388 w 366388"/>
                <a:gd name="connsiteY27" fmla="*/ 0 h 383910"/>
                <a:gd name="connsiteX28" fmla="*/ 358390 w 366388"/>
                <a:gd name="connsiteY28" fmla="*/ 0 h 383910"/>
                <a:gd name="connsiteX29" fmla="*/ 336878 w 366388"/>
                <a:gd name="connsiteY29" fmla="*/ 148188 h 383910"/>
                <a:gd name="connsiteX30" fmla="*/ 332466 w 366388"/>
                <a:gd name="connsiteY30" fmla="*/ 145982 h 383910"/>
                <a:gd name="connsiteX31" fmla="*/ 329363 w 366388"/>
                <a:gd name="connsiteY31" fmla="*/ 144673 h 383910"/>
                <a:gd name="connsiteX32" fmla="*/ 327984 w 366388"/>
                <a:gd name="connsiteY32" fmla="*/ 147774 h 383910"/>
                <a:gd name="connsiteX33" fmla="*/ 306542 w 366388"/>
                <a:gd name="connsiteY33" fmla="*/ 190094 h 383910"/>
                <a:gd name="connsiteX34" fmla="*/ 313160 w 366388"/>
                <a:gd name="connsiteY34" fmla="*/ 194436 h 383910"/>
                <a:gd name="connsiteX35" fmla="*/ 335844 w 366388"/>
                <a:gd name="connsiteY35" fmla="*/ 150325 h 383910"/>
                <a:gd name="connsiteX36" fmla="*/ 336878 w 366388"/>
                <a:gd name="connsiteY36" fmla="*/ 148188 h 383910"/>
                <a:gd name="connsiteX37" fmla="*/ 249660 w 366388"/>
                <a:gd name="connsiteY37" fmla="*/ 276250 h 383910"/>
                <a:gd name="connsiteX38" fmla="*/ 247109 w 366388"/>
                <a:gd name="connsiteY38" fmla="*/ 273148 h 383910"/>
                <a:gd name="connsiteX39" fmla="*/ 244144 w 366388"/>
                <a:gd name="connsiteY39" fmla="*/ 270116 h 383910"/>
                <a:gd name="connsiteX40" fmla="*/ 236973 w 366388"/>
                <a:gd name="connsiteY40" fmla="*/ 276526 h 383910"/>
                <a:gd name="connsiteX41" fmla="*/ 205188 w 366388"/>
                <a:gd name="connsiteY41" fmla="*/ 302717 h 383910"/>
                <a:gd name="connsiteX42" fmla="*/ 208567 w 366388"/>
                <a:gd name="connsiteY42" fmla="*/ 307955 h 383910"/>
                <a:gd name="connsiteX43" fmla="*/ 209532 w 366388"/>
                <a:gd name="connsiteY43" fmla="*/ 309334 h 383910"/>
                <a:gd name="connsiteX44" fmla="*/ 242903 w 366388"/>
                <a:gd name="connsiteY44" fmla="*/ 282246 h 383910"/>
                <a:gd name="connsiteX45" fmla="*/ 249660 w 366388"/>
                <a:gd name="connsiteY45" fmla="*/ 276250 h 383910"/>
                <a:gd name="connsiteX46" fmla="*/ 186504 w 366388"/>
                <a:gd name="connsiteY46" fmla="*/ 320568 h 383910"/>
                <a:gd name="connsiteX47" fmla="*/ 184435 w 366388"/>
                <a:gd name="connsiteY47" fmla="*/ 317260 h 383910"/>
                <a:gd name="connsiteX48" fmla="*/ 184159 w 366388"/>
                <a:gd name="connsiteY48" fmla="*/ 317467 h 383910"/>
                <a:gd name="connsiteX49" fmla="*/ 139826 w 366388"/>
                <a:gd name="connsiteY49" fmla="*/ 341590 h 383910"/>
                <a:gd name="connsiteX50" fmla="*/ 142170 w 366388"/>
                <a:gd name="connsiteY50" fmla="*/ 347518 h 383910"/>
                <a:gd name="connsiteX51" fmla="*/ 142791 w 366388"/>
                <a:gd name="connsiteY51" fmla="*/ 348896 h 383910"/>
                <a:gd name="connsiteX52" fmla="*/ 188641 w 366388"/>
                <a:gd name="connsiteY52" fmla="*/ 324428 h 383910"/>
                <a:gd name="connsiteX53" fmla="*/ 186504 w 366388"/>
                <a:gd name="connsiteY53" fmla="*/ 320568 h 383910"/>
                <a:gd name="connsiteX54" fmla="*/ 299854 w 366388"/>
                <a:gd name="connsiteY54" fmla="*/ 216630 h 383910"/>
                <a:gd name="connsiteX55" fmla="*/ 293511 w 366388"/>
                <a:gd name="connsiteY55" fmla="*/ 211874 h 383910"/>
                <a:gd name="connsiteX56" fmla="*/ 293235 w 366388"/>
                <a:gd name="connsiteY56" fmla="*/ 211668 h 383910"/>
                <a:gd name="connsiteX57" fmla="*/ 285650 w 366388"/>
                <a:gd name="connsiteY57" fmla="*/ 221937 h 383910"/>
                <a:gd name="connsiteX58" fmla="*/ 261656 w 366388"/>
                <a:gd name="connsiteY58" fmla="*/ 251437 h 383910"/>
                <a:gd name="connsiteX59" fmla="*/ 267310 w 366388"/>
                <a:gd name="connsiteY59" fmla="*/ 257020 h 383910"/>
                <a:gd name="connsiteX60" fmla="*/ 292545 w 366388"/>
                <a:gd name="connsiteY60" fmla="*/ 226486 h 383910"/>
                <a:gd name="connsiteX61" fmla="*/ 299854 w 366388"/>
                <a:gd name="connsiteY61" fmla="*/ 216630 h 383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366388" h="383910">
                  <a:moveTo>
                    <a:pt x="119004" y="359304"/>
                  </a:moveTo>
                  <a:cubicBezTo>
                    <a:pt x="119210" y="358890"/>
                    <a:pt x="116453" y="351791"/>
                    <a:pt x="116453" y="351791"/>
                  </a:cubicBezTo>
                  <a:lnTo>
                    <a:pt x="116315" y="351447"/>
                  </a:lnTo>
                  <a:lnTo>
                    <a:pt x="115970" y="351584"/>
                  </a:lnTo>
                  <a:cubicBezTo>
                    <a:pt x="99285" y="358063"/>
                    <a:pt x="83565" y="362819"/>
                    <a:pt x="67707" y="366334"/>
                  </a:cubicBezTo>
                  <a:cubicBezTo>
                    <a:pt x="67431" y="366748"/>
                    <a:pt x="68258" y="370332"/>
                    <a:pt x="68258" y="370332"/>
                  </a:cubicBezTo>
                  <a:lnTo>
                    <a:pt x="69155" y="374123"/>
                  </a:lnTo>
                  <a:cubicBezTo>
                    <a:pt x="85771" y="370883"/>
                    <a:pt x="101974" y="365921"/>
                    <a:pt x="119004" y="359304"/>
                  </a:cubicBezTo>
                  <a:close/>
                  <a:moveTo>
                    <a:pt x="359425" y="73336"/>
                  </a:moveTo>
                  <a:lnTo>
                    <a:pt x="351289" y="71819"/>
                  </a:lnTo>
                  <a:lnTo>
                    <a:pt x="351220" y="72164"/>
                  </a:lnTo>
                  <a:cubicBezTo>
                    <a:pt x="347841" y="89257"/>
                    <a:pt x="343498" y="105661"/>
                    <a:pt x="338258" y="120894"/>
                  </a:cubicBezTo>
                  <a:lnTo>
                    <a:pt x="338119" y="121238"/>
                  </a:lnTo>
                  <a:lnTo>
                    <a:pt x="345635" y="123789"/>
                  </a:lnTo>
                  <a:cubicBezTo>
                    <a:pt x="351358" y="108005"/>
                    <a:pt x="355839" y="91256"/>
                    <a:pt x="359286" y="73680"/>
                  </a:cubicBezTo>
                  <a:lnTo>
                    <a:pt x="359425" y="73336"/>
                  </a:lnTo>
                  <a:close/>
                  <a:moveTo>
                    <a:pt x="43782" y="379499"/>
                  </a:moveTo>
                  <a:cubicBezTo>
                    <a:pt x="44057" y="379085"/>
                    <a:pt x="43368" y="374743"/>
                    <a:pt x="43368" y="374743"/>
                  </a:cubicBezTo>
                  <a:lnTo>
                    <a:pt x="42816" y="371297"/>
                  </a:lnTo>
                  <a:lnTo>
                    <a:pt x="42472" y="371366"/>
                  </a:lnTo>
                  <a:cubicBezTo>
                    <a:pt x="28751" y="373778"/>
                    <a:pt x="14479" y="375226"/>
                    <a:pt x="0" y="375846"/>
                  </a:cubicBezTo>
                  <a:lnTo>
                    <a:pt x="0" y="383910"/>
                  </a:lnTo>
                  <a:cubicBezTo>
                    <a:pt x="15031" y="383497"/>
                    <a:pt x="29716" y="381980"/>
                    <a:pt x="43782" y="379499"/>
                  </a:cubicBezTo>
                  <a:close/>
                  <a:moveTo>
                    <a:pt x="358390" y="69"/>
                  </a:moveTo>
                  <a:cubicBezTo>
                    <a:pt x="358045" y="15026"/>
                    <a:pt x="357149" y="30603"/>
                    <a:pt x="355219" y="46662"/>
                  </a:cubicBezTo>
                  <a:cubicBezTo>
                    <a:pt x="355494" y="47007"/>
                    <a:pt x="358183" y="47351"/>
                    <a:pt x="358183" y="47351"/>
                  </a:cubicBezTo>
                  <a:lnTo>
                    <a:pt x="363079" y="47972"/>
                  </a:lnTo>
                  <a:cubicBezTo>
                    <a:pt x="365354" y="31154"/>
                    <a:pt x="366319" y="15163"/>
                    <a:pt x="366388" y="0"/>
                  </a:cubicBezTo>
                  <a:lnTo>
                    <a:pt x="358390" y="0"/>
                  </a:lnTo>
                  <a:close/>
                  <a:moveTo>
                    <a:pt x="336878" y="148188"/>
                  </a:moveTo>
                  <a:cubicBezTo>
                    <a:pt x="336672" y="147705"/>
                    <a:pt x="332466" y="145982"/>
                    <a:pt x="332466" y="145982"/>
                  </a:cubicBezTo>
                  <a:lnTo>
                    <a:pt x="329363" y="144673"/>
                  </a:lnTo>
                  <a:lnTo>
                    <a:pt x="327984" y="147774"/>
                  </a:lnTo>
                  <a:cubicBezTo>
                    <a:pt x="322331" y="160388"/>
                    <a:pt x="315229" y="176102"/>
                    <a:pt x="306542" y="190094"/>
                  </a:cubicBezTo>
                  <a:cubicBezTo>
                    <a:pt x="306679" y="190577"/>
                    <a:pt x="313160" y="194436"/>
                    <a:pt x="313160" y="194436"/>
                  </a:cubicBezTo>
                  <a:cubicBezTo>
                    <a:pt x="322606" y="179893"/>
                    <a:pt x="329984" y="163489"/>
                    <a:pt x="335844" y="150325"/>
                  </a:cubicBezTo>
                  <a:lnTo>
                    <a:pt x="336878" y="148188"/>
                  </a:lnTo>
                  <a:close/>
                  <a:moveTo>
                    <a:pt x="249660" y="276250"/>
                  </a:moveTo>
                  <a:cubicBezTo>
                    <a:pt x="249660" y="275767"/>
                    <a:pt x="247109" y="273148"/>
                    <a:pt x="247109" y="273148"/>
                  </a:cubicBezTo>
                  <a:lnTo>
                    <a:pt x="244144" y="270116"/>
                  </a:lnTo>
                  <a:lnTo>
                    <a:pt x="236973" y="276526"/>
                  </a:lnTo>
                  <a:cubicBezTo>
                    <a:pt x="226079" y="286382"/>
                    <a:pt x="216151" y="295204"/>
                    <a:pt x="205188" y="302717"/>
                  </a:cubicBezTo>
                  <a:cubicBezTo>
                    <a:pt x="205119" y="303199"/>
                    <a:pt x="208567" y="307955"/>
                    <a:pt x="208567" y="307955"/>
                  </a:cubicBezTo>
                  <a:lnTo>
                    <a:pt x="209532" y="309334"/>
                  </a:lnTo>
                  <a:cubicBezTo>
                    <a:pt x="222150" y="300994"/>
                    <a:pt x="233664" y="290655"/>
                    <a:pt x="242903" y="282246"/>
                  </a:cubicBezTo>
                  <a:lnTo>
                    <a:pt x="249660" y="276250"/>
                  </a:lnTo>
                  <a:close/>
                  <a:moveTo>
                    <a:pt x="186504" y="320568"/>
                  </a:moveTo>
                  <a:lnTo>
                    <a:pt x="184435" y="317260"/>
                  </a:lnTo>
                  <a:lnTo>
                    <a:pt x="184159" y="317467"/>
                  </a:lnTo>
                  <a:cubicBezTo>
                    <a:pt x="170508" y="325876"/>
                    <a:pt x="155684" y="334629"/>
                    <a:pt x="139826" y="341590"/>
                  </a:cubicBezTo>
                  <a:cubicBezTo>
                    <a:pt x="139688" y="342073"/>
                    <a:pt x="142170" y="347518"/>
                    <a:pt x="142170" y="347518"/>
                  </a:cubicBezTo>
                  <a:lnTo>
                    <a:pt x="142791" y="348896"/>
                  </a:lnTo>
                  <a:cubicBezTo>
                    <a:pt x="159545" y="341935"/>
                    <a:pt x="174644" y="333044"/>
                    <a:pt x="188641" y="324428"/>
                  </a:cubicBezTo>
                  <a:cubicBezTo>
                    <a:pt x="188641" y="323946"/>
                    <a:pt x="186504" y="320568"/>
                    <a:pt x="186504" y="320568"/>
                  </a:cubicBezTo>
                  <a:close/>
                  <a:moveTo>
                    <a:pt x="299854" y="216630"/>
                  </a:moveTo>
                  <a:cubicBezTo>
                    <a:pt x="299785" y="216148"/>
                    <a:pt x="293511" y="211874"/>
                    <a:pt x="293511" y="211874"/>
                  </a:cubicBezTo>
                  <a:lnTo>
                    <a:pt x="293235" y="211668"/>
                  </a:lnTo>
                  <a:lnTo>
                    <a:pt x="285650" y="221937"/>
                  </a:lnTo>
                  <a:cubicBezTo>
                    <a:pt x="277652" y="232896"/>
                    <a:pt x="270275" y="242615"/>
                    <a:pt x="261656" y="251437"/>
                  </a:cubicBezTo>
                  <a:cubicBezTo>
                    <a:pt x="261656" y="251920"/>
                    <a:pt x="267310" y="257020"/>
                    <a:pt x="267310" y="257020"/>
                  </a:cubicBezTo>
                  <a:cubicBezTo>
                    <a:pt x="276618" y="247922"/>
                    <a:pt x="284271" y="237859"/>
                    <a:pt x="292545" y="226486"/>
                  </a:cubicBezTo>
                  <a:lnTo>
                    <a:pt x="299854" y="216630"/>
                  </a:lnTo>
                  <a:close/>
                </a:path>
              </a:pathLst>
            </a:custGeom>
            <a:solidFill>
              <a:srgbClr val="E4E4E4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</p:grpSp>
      <p:grpSp>
        <p:nvGrpSpPr>
          <p:cNvPr id="272" name="Group 271">
            <a:extLst>
              <a:ext uri="{FF2B5EF4-FFF2-40B4-BE49-F238E27FC236}">
                <a16:creationId xmlns:a16="http://schemas.microsoft.com/office/drawing/2014/main" id="{62A3E61F-8D27-3246-ACA0-23284D254930}"/>
              </a:ext>
            </a:extLst>
          </p:cNvPr>
          <p:cNvGrpSpPr>
            <a:grpSpLocks noChangeAspect="1"/>
          </p:cNvGrpSpPr>
          <p:nvPr/>
        </p:nvGrpSpPr>
        <p:grpSpPr>
          <a:xfrm>
            <a:off x="9785054" y="5372879"/>
            <a:ext cx="2426962" cy="440491"/>
            <a:chOff x="515508" y="1450725"/>
            <a:chExt cx="1362269" cy="233999"/>
          </a:xfrm>
        </p:grpSpPr>
        <p:sp>
          <p:nvSpPr>
            <p:cNvPr id="273" name="Freeform 272">
              <a:extLst>
                <a:ext uri="{FF2B5EF4-FFF2-40B4-BE49-F238E27FC236}">
                  <a16:creationId xmlns:a16="http://schemas.microsoft.com/office/drawing/2014/main" id="{AE2977EA-349F-824B-8AB9-64614F29A99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15508" y="1450725"/>
              <a:ext cx="1362269" cy="233999"/>
            </a:xfrm>
            <a:custGeom>
              <a:avLst/>
              <a:gdLst>
                <a:gd name="connsiteX0" fmla="*/ 0 w 1362269"/>
                <a:gd name="connsiteY0" fmla="*/ 0 h 233999"/>
                <a:gd name="connsiteX1" fmla="*/ 1362269 w 1362269"/>
                <a:gd name="connsiteY1" fmla="*/ 0 h 233999"/>
                <a:gd name="connsiteX2" fmla="*/ 1362269 w 1362269"/>
                <a:gd name="connsiteY2" fmla="*/ 233999 h 233999"/>
                <a:gd name="connsiteX3" fmla="*/ 0 w 1362269"/>
                <a:gd name="connsiteY3" fmla="*/ 233999 h 233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2269" h="233999">
                  <a:moveTo>
                    <a:pt x="0" y="0"/>
                  </a:moveTo>
                  <a:lnTo>
                    <a:pt x="1362269" y="0"/>
                  </a:lnTo>
                  <a:lnTo>
                    <a:pt x="1362269" y="233999"/>
                  </a:lnTo>
                  <a:lnTo>
                    <a:pt x="0" y="233999"/>
                  </a:lnTo>
                  <a:close/>
                </a:path>
              </a:pathLst>
            </a:custGeom>
            <a:solidFill>
              <a:schemeClr val="tx2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274" name="Freeform 273">
              <a:extLst>
                <a:ext uri="{FF2B5EF4-FFF2-40B4-BE49-F238E27FC236}">
                  <a16:creationId xmlns:a16="http://schemas.microsoft.com/office/drawing/2014/main" id="{C868AFD6-0414-C64C-9C5D-C6321647BBA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53801" y="1563761"/>
              <a:ext cx="613152" cy="7995"/>
            </a:xfrm>
            <a:custGeom>
              <a:avLst/>
              <a:gdLst>
                <a:gd name="connsiteX0" fmla="*/ 559649 w 613152"/>
                <a:gd name="connsiteY0" fmla="*/ 0 h 7995"/>
                <a:gd name="connsiteX1" fmla="*/ 559649 w 613152"/>
                <a:gd name="connsiteY1" fmla="*/ 7995 h 7995"/>
                <a:gd name="connsiteX2" fmla="*/ 613152 w 613152"/>
                <a:gd name="connsiteY2" fmla="*/ 7995 h 7995"/>
                <a:gd name="connsiteX3" fmla="*/ 613152 w 613152"/>
                <a:gd name="connsiteY3" fmla="*/ 0 h 7995"/>
                <a:gd name="connsiteX4" fmla="*/ 559649 w 613152"/>
                <a:gd name="connsiteY4" fmla="*/ 0 h 7995"/>
                <a:gd name="connsiteX5" fmla="*/ 479049 w 613152"/>
                <a:gd name="connsiteY5" fmla="*/ 0 h 7995"/>
                <a:gd name="connsiteX6" fmla="*/ 479049 w 613152"/>
                <a:gd name="connsiteY6" fmla="*/ 7995 h 7995"/>
                <a:gd name="connsiteX7" fmla="*/ 532552 w 613152"/>
                <a:gd name="connsiteY7" fmla="*/ 7995 h 7995"/>
                <a:gd name="connsiteX8" fmla="*/ 532552 w 613152"/>
                <a:gd name="connsiteY8" fmla="*/ 0 h 7995"/>
                <a:gd name="connsiteX9" fmla="*/ 479049 w 613152"/>
                <a:gd name="connsiteY9" fmla="*/ 0 h 7995"/>
                <a:gd name="connsiteX10" fmla="*/ 398449 w 613152"/>
                <a:gd name="connsiteY10" fmla="*/ 0 h 7995"/>
                <a:gd name="connsiteX11" fmla="*/ 398449 w 613152"/>
                <a:gd name="connsiteY11" fmla="*/ 7995 h 7995"/>
                <a:gd name="connsiteX12" fmla="*/ 451952 w 613152"/>
                <a:gd name="connsiteY12" fmla="*/ 7995 h 7995"/>
                <a:gd name="connsiteX13" fmla="*/ 451952 w 613152"/>
                <a:gd name="connsiteY13" fmla="*/ 0 h 7995"/>
                <a:gd name="connsiteX14" fmla="*/ 398449 w 613152"/>
                <a:gd name="connsiteY14" fmla="*/ 0 h 7995"/>
                <a:gd name="connsiteX15" fmla="*/ 317918 w 613152"/>
                <a:gd name="connsiteY15" fmla="*/ 0 h 7995"/>
                <a:gd name="connsiteX16" fmla="*/ 317918 w 613152"/>
                <a:gd name="connsiteY16" fmla="*/ 7995 h 7995"/>
                <a:gd name="connsiteX17" fmla="*/ 371421 w 613152"/>
                <a:gd name="connsiteY17" fmla="*/ 7995 h 7995"/>
                <a:gd name="connsiteX18" fmla="*/ 371421 w 613152"/>
                <a:gd name="connsiteY18" fmla="*/ 0 h 7995"/>
                <a:gd name="connsiteX19" fmla="*/ 317918 w 613152"/>
                <a:gd name="connsiteY19" fmla="*/ 0 h 7995"/>
                <a:gd name="connsiteX20" fmla="*/ 237318 w 613152"/>
                <a:gd name="connsiteY20" fmla="*/ 0 h 7995"/>
                <a:gd name="connsiteX21" fmla="*/ 237318 w 613152"/>
                <a:gd name="connsiteY21" fmla="*/ 7995 h 7995"/>
                <a:gd name="connsiteX22" fmla="*/ 290822 w 613152"/>
                <a:gd name="connsiteY22" fmla="*/ 7995 h 7995"/>
                <a:gd name="connsiteX23" fmla="*/ 290822 w 613152"/>
                <a:gd name="connsiteY23" fmla="*/ 0 h 7995"/>
                <a:gd name="connsiteX24" fmla="*/ 237318 w 613152"/>
                <a:gd name="connsiteY24" fmla="*/ 0 h 7995"/>
                <a:gd name="connsiteX25" fmla="*/ 156787 w 613152"/>
                <a:gd name="connsiteY25" fmla="*/ 0 h 7995"/>
                <a:gd name="connsiteX26" fmla="*/ 156787 w 613152"/>
                <a:gd name="connsiteY26" fmla="*/ 7995 h 7995"/>
                <a:gd name="connsiteX27" fmla="*/ 210291 w 613152"/>
                <a:gd name="connsiteY27" fmla="*/ 7995 h 7995"/>
                <a:gd name="connsiteX28" fmla="*/ 210291 w 613152"/>
                <a:gd name="connsiteY28" fmla="*/ 0 h 7995"/>
                <a:gd name="connsiteX29" fmla="*/ 156787 w 613152"/>
                <a:gd name="connsiteY29" fmla="*/ 0 h 7995"/>
                <a:gd name="connsiteX30" fmla="*/ 76187 w 613152"/>
                <a:gd name="connsiteY30" fmla="*/ 0 h 7995"/>
                <a:gd name="connsiteX31" fmla="*/ 76187 w 613152"/>
                <a:gd name="connsiteY31" fmla="*/ 7995 h 7995"/>
                <a:gd name="connsiteX32" fmla="*/ 129691 w 613152"/>
                <a:gd name="connsiteY32" fmla="*/ 7995 h 7995"/>
                <a:gd name="connsiteX33" fmla="*/ 129691 w 613152"/>
                <a:gd name="connsiteY33" fmla="*/ 0 h 7995"/>
                <a:gd name="connsiteX34" fmla="*/ 76187 w 613152"/>
                <a:gd name="connsiteY34" fmla="*/ 0 h 7995"/>
                <a:gd name="connsiteX35" fmla="*/ 0 w 613152"/>
                <a:gd name="connsiteY35" fmla="*/ 0 h 7995"/>
                <a:gd name="connsiteX36" fmla="*/ 0 w 613152"/>
                <a:gd name="connsiteY36" fmla="*/ 7995 h 7995"/>
                <a:gd name="connsiteX37" fmla="*/ 49091 w 613152"/>
                <a:gd name="connsiteY37" fmla="*/ 7995 h 7995"/>
                <a:gd name="connsiteX38" fmla="*/ 49091 w 613152"/>
                <a:gd name="connsiteY38" fmla="*/ 0 h 7995"/>
                <a:gd name="connsiteX39" fmla="*/ 0 w 613152"/>
                <a:gd name="connsiteY39" fmla="*/ 0 h 7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613152" h="7995">
                  <a:moveTo>
                    <a:pt x="559649" y="0"/>
                  </a:moveTo>
                  <a:cubicBezTo>
                    <a:pt x="559649" y="1792"/>
                    <a:pt x="559649" y="6203"/>
                    <a:pt x="559649" y="7995"/>
                  </a:cubicBezTo>
                  <a:cubicBezTo>
                    <a:pt x="562200" y="7995"/>
                    <a:pt x="610601" y="7995"/>
                    <a:pt x="613152" y="7995"/>
                  </a:cubicBezTo>
                  <a:cubicBezTo>
                    <a:pt x="613152" y="6203"/>
                    <a:pt x="613152" y="1792"/>
                    <a:pt x="613152" y="0"/>
                  </a:cubicBezTo>
                  <a:cubicBezTo>
                    <a:pt x="610532" y="0"/>
                    <a:pt x="562200" y="0"/>
                    <a:pt x="559649" y="0"/>
                  </a:cubicBezTo>
                  <a:close/>
                  <a:moveTo>
                    <a:pt x="479049" y="0"/>
                  </a:moveTo>
                  <a:cubicBezTo>
                    <a:pt x="479049" y="1792"/>
                    <a:pt x="479049" y="6203"/>
                    <a:pt x="479049" y="7995"/>
                  </a:cubicBezTo>
                  <a:cubicBezTo>
                    <a:pt x="481600" y="7995"/>
                    <a:pt x="530001" y="7995"/>
                    <a:pt x="532552" y="7995"/>
                  </a:cubicBezTo>
                  <a:cubicBezTo>
                    <a:pt x="532552" y="6203"/>
                    <a:pt x="532552" y="1792"/>
                    <a:pt x="532552" y="0"/>
                  </a:cubicBezTo>
                  <a:cubicBezTo>
                    <a:pt x="530001" y="0"/>
                    <a:pt x="481600" y="0"/>
                    <a:pt x="479049" y="0"/>
                  </a:cubicBezTo>
                  <a:close/>
                  <a:moveTo>
                    <a:pt x="398449" y="0"/>
                  </a:moveTo>
                  <a:cubicBezTo>
                    <a:pt x="398449" y="1792"/>
                    <a:pt x="398449" y="6203"/>
                    <a:pt x="398449" y="7995"/>
                  </a:cubicBezTo>
                  <a:cubicBezTo>
                    <a:pt x="401000" y="7995"/>
                    <a:pt x="449401" y="7995"/>
                    <a:pt x="451952" y="7995"/>
                  </a:cubicBezTo>
                  <a:cubicBezTo>
                    <a:pt x="451952" y="6203"/>
                    <a:pt x="451952" y="1792"/>
                    <a:pt x="451952" y="0"/>
                  </a:cubicBezTo>
                  <a:cubicBezTo>
                    <a:pt x="449401" y="0"/>
                    <a:pt x="401069" y="0"/>
                    <a:pt x="398449" y="0"/>
                  </a:cubicBezTo>
                  <a:close/>
                  <a:moveTo>
                    <a:pt x="317918" y="0"/>
                  </a:moveTo>
                  <a:cubicBezTo>
                    <a:pt x="317918" y="1792"/>
                    <a:pt x="317918" y="6203"/>
                    <a:pt x="317918" y="7995"/>
                  </a:cubicBezTo>
                  <a:cubicBezTo>
                    <a:pt x="320469" y="7995"/>
                    <a:pt x="368870" y="7995"/>
                    <a:pt x="371421" y="7995"/>
                  </a:cubicBezTo>
                  <a:cubicBezTo>
                    <a:pt x="371421" y="6203"/>
                    <a:pt x="371421" y="1792"/>
                    <a:pt x="371421" y="0"/>
                  </a:cubicBezTo>
                  <a:cubicBezTo>
                    <a:pt x="368801" y="0"/>
                    <a:pt x="320469" y="0"/>
                    <a:pt x="317918" y="0"/>
                  </a:cubicBezTo>
                  <a:close/>
                  <a:moveTo>
                    <a:pt x="237318" y="0"/>
                  </a:moveTo>
                  <a:cubicBezTo>
                    <a:pt x="237318" y="1792"/>
                    <a:pt x="237318" y="6203"/>
                    <a:pt x="237318" y="7995"/>
                  </a:cubicBezTo>
                  <a:cubicBezTo>
                    <a:pt x="239869" y="7995"/>
                    <a:pt x="288270" y="7995"/>
                    <a:pt x="290822" y="7995"/>
                  </a:cubicBezTo>
                  <a:cubicBezTo>
                    <a:pt x="290822" y="6203"/>
                    <a:pt x="290822" y="1792"/>
                    <a:pt x="290822" y="0"/>
                  </a:cubicBezTo>
                  <a:cubicBezTo>
                    <a:pt x="288270" y="0"/>
                    <a:pt x="239869" y="0"/>
                    <a:pt x="237318" y="0"/>
                  </a:cubicBezTo>
                  <a:close/>
                  <a:moveTo>
                    <a:pt x="156787" y="0"/>
                  </a:moveTo>
                  <a:cubicBezTo>
                    <a:pt x="156787" y="1792"/>
                    <a:pt x="156787" y="6203"/>
                    <a:pt x="156787" y="7995"/>
                  </a:cubicBezTo>
                  <a:cubicBezTo>
                    <a:pt x="159338" y="7995"/>
                    <a:pt x="207740" y="7995"/>
                    <a:pt x="210291" y="7995"/>
                  </a:cubicBezTo>
                  <a:cubicBezTo>
                    <a:pt x="210291" y="6203"/>
                    <a:pt x="210291" y="1792"/>
                    <a:pt x="210291" y="0"/>
                  </a:cubicBezTo>
                  <a:cubicBezTo>
                    <a:pt x="207671" y="0"/>
                    <a:pt x="159338" y="0"/>
                    <a:pt x="156787" y="0"/>
                  </a:cubicBezTo>
                  <a:close/>
                  <a:moveTo>
                    <a:pt x="76187" y="0"/>
                  </a:moveTo>
                  <a:cubicBezTo>
                    <a:pt x="76187" y="1792"/>
                    <a:pt x="76187" y="6203"/>
                    <a:pt x="76187" y="7995"/>
                  </a:cubicBezTo>
                  <a:cubicBezTo>
                    <a:pt x="78738" y="7995"/>
                    <a:pt x="127140" y="7995"/>
                    <a:pt x="129691" y="7995"/>
                  </a:cubicBezTo>
                  <a:cubicBezTo>
                    <a:pt x="129691" y="6203"/>
                    <a:pt x="129691" y="1792"/>
                    <a:pt x="129691" y="0"/>
                  </a:cubicBezTo>
                  <a:cubicBezTo>
                    <a:pt x="127071" y="0"/>
                    <a:pt x="78738" y="0"/>
                    <a:pt x="76187" y="0"/>
                  </a:cubicBezTo>
                  <a:close/>
                  <a:moveTo>
                    <a:pt x="0" y="0"/>
                  </a:moveTo>
                  <a:cubicBezTo>
                    <a:pt x="0" y="1792"/>
                    <a:pt x="0" y="6203"/>
                    <a:pt x="0" y="7995"/>
                  </a:cubicBezTo>
                  <a:cubicBezTo>
                    <a:pt x="2551" y="7995"/>
                    <a:pt x="46540" y="7995"/>
                    <a:pt x="49091" y="7995"/>
                  </a:cubicBezTo>
                  <a:cubicBezTo>
                    <a:pt x="49091" y="6203"/>
                    <a:pt x="49091" y="1792"/>
                    <a:pt x="49091" y="0"/>
                  </a:cubicBezTo>
                  <a:cubicBezTo>
                    <a:pt x="46540" y="0"/>
                    <a:pt x="2551" y="0"/>
                    <a:pt x="0" y="0"/>
                  </a:cubicBezTo>
                  <a:close/>
                </a:path>
              </a:pathLst>
            </a:custGeom>
            <a:solidFill>
              <a:srgbClr val="E4E4E4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275" name="Freeform 274">
              <a:extLst>
                <a:ext uri="{FF2B5EF4-FFF2-40B4-BE49-F238E27FC236}">
                  <a16:creationId xmlns:a16="http://schemas.microsoft.com/office/drawing/2014/main" id="{7942F605-2322-AB4D-B3C8-3C377C01DCE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13207" y="1563761"/>
              <a:ext cx="613083" cy="7995"/>
            </a:xfrm>
            <a:custGeom>
              <a:avLst/>
              <a:gdLst>
                <a:gd name="connsiteX0" fmla="*/ 559580 w 613083"/>
                <a:gd name="connsiteY0" fmla="*/ 0 h 7995"/>
                <a:gd name="connsiteX1" fmla="*/ 559580 w 613083"/>
                <a:gd name="connsiteY1" fmla="*/ 7995 h 7995"/>
                <a:gd name="connsiteX2" fmla="*/ 613083 w 613083"/>
                <a:gd name="connsiteY2" fmla="*/ 7995 h 7995"/>
                <a:gd name="connsiteX3" fmla="*/ 613083 w 613083"/>
                <a:gd name="connsiteY3" fmla="*/ 0 h 7995"/>
                <a:gd name="connsiteX4" fmla="*/ 559580 w 613083"/>
                <a:gd name="connsiteY4" fmla="*/ 0 h 7995"/>
                <a:gd name="connsiteX5" fmla="*/ 478980 w 613083"/>
                <a:gd name="connsiteY5" fmla="*/ 0 h 7995"/>
                <a:gd name="connsiteX6" fmla="*/ 478980 w 613083"/>
                <a:gd name="connsiteY6" fmla="*/ 7995 h 7995"/>
                <a:gd name="connsiteX7" fmla="*/ 532483 w 613083"/>
                <a:gd name="connsiteY7" fmla="*/ 7995 h 7995"/>
                <a:gd name="connsiteX8" fmla="*/ 532483 w 613083"/>
                <a:gd name="connsiteY8" fmla="*/ 0 h 7995"/>
                <a:gd name="connsiteX9" fmla="*/ 478980 w 613083"/>
                <a:gd name="connsiteY9" fmla="*/ 0 h 7995"/>
                <a:gd name="connsiteX10" fmla="*/ 398449 w 613083"/>
                <a:gd name="connsiteY10" fmla="*/ 0 h 7995"/>
                <a:gd name="connsiteX11" fmla="*/ 398449 w 613083"/>
                <a:gd name="connsiteY11" fmla="*/ 7995 h 7995"/>
                <a:gd name="connsiteX12" fmla="*/ 451952 w 613083"/>
                <a:gd name="connsiteY12" fmla="*/ 7995 h 7995"/>
                <a:gd name="connsiteX13" fmla="*/ 451952 w 613083"/>
                <a:gd name="connsiteY13" fmla="*/ 0 h 7995"/>
                <a:gd name="connsiteX14" fmla="*/ 398449 w 613083"/>
                <a:gd name="connsiteY14" fmla="*/ 0 h 7995"/>
                <a:gd name="connsiteX15" fmla="*/ 317849 w 613083"/>
                <a:gd name="connsiteY15" fmla="*/ 0 h 7995"/>
                <a:gd name="connsiteX16" fmla="*/ 317849 w 613083"/>
                <a:gd name="connsiteY16" fmla="*/ 7995 h 7995"/>
                <a:gd name="connsiteX17" fmla="*/ 371352 w 613083"/>
                <a:gd name="connsiteY17" fmla="*/ 7995 h 7995"/>
                <a:gd name="connsiteX18" fmla="*/ 371352 w 613083"/>
                <a:gd name="connsiteY18" fmla="*/ 0 h 7995"/>
                <a:gd name="connsiteX19" fmla="*/ 317849 w 613083"/>
                <a:gd name="connsiteY19" fmla="*/ 0 h 7995"/>
                <a:gd name="connsiteX20" fmla="*/ 237249 w 613083"/>
                <a:gd name="connsiteY20" fmla="*/ 0 h 7995"/>
                <a:gd name="connsiteX21" fmla="*/ 237249 w 613083"/>
                <a:gd name="connsiteY21" fmla="*/ 7995 h 7995"/>
                <a:gd name="connsiteX22" fmla="*/ 290753 w 613083"/>
                <a:gd name="connsiteY22" fmla="*/ 7995 h 7995"/>
                <a:gd name="connsiteX23" fmla="*/ 290753 w 613083"/>
                <a:gd name="connsiteY23" fmla="*/ 0 h 7995"/>
                <a:gd name="connsiteX24" fmla="*/ 237249 w 613083"/>
                <a:gd name="connsiteY24" fmla="*/ 0 h 7995"/>
                <a:gd name="connsiteX25" fmla="*/ 156718 w 613083"/>
                <a:gd name="connsiteY25" fmla="*/ 0 h 7995"/>
                <a:gd name="connsiteX26" fmla="*/ 156718 w 613083"/>
                <a:gd name="connsiteY26" fmla="*/ 7995 h 7995"/>
                <a:gd name="connsiteX27" fmla="*/ 210222 w 613083"/>
                <a:gd name="connsiteY27" fmla="*/ 7995 h 7995"/>
                <a:gd name="connsiteX28" fmla="*/ 210222 w 613083"/>
                <a:gd name="connsiteY28" fmla="*/ 0 h 7995"/>
                <a:gd name="connsiteX29" fmla="*/ 156718 w 613083"/>
                <a:gd name="connsiteY29" fmla="*/ 0 h 7995"/>
                <a:gd name="connsiteX30" fmla="*/ 76118 w 613083"/>
                <a:gd name="connsiteY30" fmla="*/ 0 h 7995"/>
                <a:gd name="connsiteX31" fmla="*/ 76118 w 613083"/>
                <a:gd name="connsiteY31" fmla="*/ 7995 h 7995"/>
                <a:gd name="connsiteX32" fmla="*/ 129622 w 613083"/>
                <a:gd name="connsiteY32" fmla="*/ 7995 h 7995"/>
                <a:gd name="connsiteX33" fmla="*/ 129622 w 613083"/>
                <a:gd name="connsiteY33" fmla="*/ 0 h 7995"/>
                <a:gd name="connsiteX34" fmla="*/ 76118 w 613083"/>
                <a:gd name="connsiteY34" fmla="*/ 0 h 7995"/>
                <a:gd name="connsiteX35" fmla="*/ 0 w 613083"/>
                <a:gd name="connsiteY35" fmla="*/ 0 h 7995"/>
                <a:gd name="connsiteX36" fmla="*/ 0 w 613083"/>
                <a:gd name="connsiteY36" fmla="*/ 7995 h 7995"/>
                <a:gd name="connsiteX37" fmla="*/ 49091 w 613083"/>
                <a:gd name="connsiteY37" fmla="*/ 7995 h 7995"/>
                <a:gd name="connsiteX38" fmla="*/ 49091 w 613083"/>
                <a:gd name="connsiteY38" fmla="*/ 0 h 7995"/>
                <a:gd name="connsiteX39" fmla="*/ 0 w 613083"/>
                <a:gd name="connsiteY39" fmla="*/ 0 h 7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613083" h="7995">
                  <a:moveTo>
                    <a:pt x="559580" y="0"/>
                  </a:moveTo>
                  <a:cubicBezTo>
                    <a:pt x="559580" y="1792"/>
                    <a:pt x="559580" y="6203"/>
                    <a:pt x="559580" y="7995"/>
                  </a:cubicBezTo>
                  <a:cubicBezTo>
                    <a:pt x="562131" y="7995"/>
                    <a:pt x="610532" y="7995"/>
                    <a:pt x="613083" y="7995"/>
                  </a:cubicBezTo>
                  <a:cubicBezTo>
                    <a:pt x="613083" y="6203"/>
                    <a:pt x="613083" y="1792"/>
                    <a:pt x="613083" y="0"/>
                  </a:cubicBezTo>
                  <a:cubicBezTo>
                    <a:pt x="610532" y="0"/>
                    <a:pt x="562131" y="0"/>
                    <a:pt x="559580" y="0"/>
                  </a:cubicBezTo>
                  <a:close/>
                  <a:moveTo>
                    <a:pt x="478980" y="0"/>
                  </a:moveTo>
                  <a:cubicBezTo>
                    <a:pt x="478980" y="1792"/>
                    <a:pt x="478980" y="6203"/>
                    <a:pt x="478980" y="7995"/>
                  </a:cubicBezTo>
                  <a:cubicBezTo>
                    <a:pt x="481531" y="7995"/>
                    <a:pt x="529932" y="7995"/>
                    <a:pt x="532483" y="7995"/>
                  </a:cubicBezTo>
                  <a:cubicBezTo>
                    <a:pt x="532483" y="6203"/>
                    <a:pt x="532483" y="1792"/>
                    <a:pt x="532483" y="0"/>
                  </a:cubicBezTo>
                  <a:cubicBezTo>
                    <a:pt x="529932" y="0"/>
                    <a:pt x="481531" y="0"/>
                    <a:pt x="478980" y="0"/>
                  </a:cubicBezTo>
                  <a:close/>
                  <a:moveTo>
                    <a:pt x="398449" y="0"/>
                  </a:moveTo>
                  <a:cubicBezTo>
                    <a:pt x="398449" y="1792"/>
                    <a:pt x="398449" y="6203"/>
                    <a:pt x="398449" y="7995"/>
                  </a:cubicBezTo>
                  <a:cubicBezTo>
                    <a:pt x="401000" y="7995"/>
                    <a:pt x="449401" y="7995"/>
                    <a:pt x="451952" y="7995"/>
                  </a:cubicBezTo>
                  <a:cubicBezTo>
                    <a:pt x="451952" y="6203"/>
                    <a:pt x="451952" y="1792"/>
                    <a:pt x="451952" y="0"/>
                  </a:cubicBezTo>
                  <a:cubicBezTo>
                    <a:pt x="449332" y="0"/>
                    <a:pt x="401000" y="0"/>
                    <a:pt x="398449" y="0"/>
                  </a:cubicBezTo>
                  <a:close/>
                  <a:moveTo>
                    <a:pt x="317849" y="0"/>
                  </a:moveTo>
                  <a:cubicBezTo>
                    <a:pt x="317849" y="1792"/>
                    <a:pt x="317849" y="6203"/>
                    <a:pt x="317849" y="7995"/>
                  </a:cubicBezTo>
                  <a:cubicBezTo>
                    <a:pt x="320400" y="7995"/>
                    <a:pt x="368801" y="7995"/>
                    <a:pt x="371352" y="7995"/>
                  </a:cubicBezTo>
                  <a:cubicBezTo>
                    <a:pt x="371352" y="6203"/>
                    <a:pt x="371352" y="1792"/>
                    <a:pt x="371352" y="0"/>
                  </a:cubicBezTo>
                  <a:cubicBezTo>
                    <a:pt x="368801" y="0"/>
                    <a:pt x="320400" y="0"/>
                    <a:pt x="317849" y="0"/>
                  </a:cubicBezTo>
                  <a:close/>
                  <a:moveTo>
                    <a:pt x="237249" y="0"/>
                  </a:moveTo>
                  <a:cubicBezTo>
                    <a:pt x="237249" y="1792"/>
                    <a:pt x="237249" y="6203"/>
                    <a:pt x="237249" y="7995"/>
                  </a:cubicBezTo>
                  <a:cubicBezTo>
                    <a:pt x="239800" y="7995"/>
                    <a:pt x="288201" y="7995"/>
                    <a:pt x="290753" y="7995"/>
                  </a:cubicBezTo>
                  <a:cubicBezTo>
                    <a:pt x="290753" y="6203"/>
                    <a:pt x="290753" y="1792"/>
                    <a:pt x="290753" y="0"/>
                  </a:cubicBezTo>
                  <a:cubicBezTo>
                    <a:pt x="288201" y="0"/>
                    <a:pt x="239869" y="0"/>
                    <a:pt x="237249" y="0"/>
                  </a:cubicBezTo>
                  <a:close/>
                  <a:moveTo>
                    <a:pt x="156718" y="0"/>
                  </a:moveTo>
                  <a:cubicBezTo>
                    <a:pt x="156718" y="1792"/>
                    <a:pt x="156718" y="6203"/>
                    <a:pt x="156718" y="7995"/>
                  </a:cubicBezTo>
                  <a:cubicBezTo>
                    <a:pt x="159269" y="7995"/>
                    <a:pt x="207671" y="7995"/>
                    <a:pt x="210222" y="7995"/>
                  </a:cubicBezTo>
                  <a:cubicBezTo>
                    <a:pt x="210222" y="6203"/>
                    <a:pt x="210222" y="1792"/>
                    <a:pt x="210222" y="0"/>
                  </a:cubicBezTo>
                  <a:cubicBezTo>
                    <a:pt x="207602" y="0"/>
                    <a:pt x="159269" y="0"/>
                    <a:pt x="156718" y="0"/>
                  </a:cubicBezTo>
                  <a:close/>
                  <a:moveTo>
                    <a:pt x="76118" y="0"/>
                  </a:moveTo>
                  <a:cubicBezTo>
                    <a:pt x="76118" y="1792"/>
                    <a:pt x="76118" y="6203"/>
                    <a:pt x="76118" y="7995"/>
                  </a:cubicBezTo>
                  <a:cubicBezTo>
                    <a:pt x="78669" y="7995"/>
                    <a:pt x="127071" y="7995"/>
                    <a:pt x="129622" y="7995"/>
                  </a:cubicBezTo>
                  <a:cubicBezTo>
                    <a:pt x="129622" y="6203"/>
                    <a:pt x="129622" y="1792"/>
                    <a:pt x="129622" y="0"/>
                  </a:cubicBezTo>
                  <a:cubicBezTo>
                    <a:pt x="127071" y="0"/>
                    <a:pt x="78669" y="0"/>
                    <a:pt x="76118" y="0"/>
                  </a:cubicBezTo>
                  <a:close/>
                  <a:moveTo>
                    <a:pt x="0" y="0"/>
                  </a:moveTo>
                  <a:cubicBezTo>
                    <a:pt x="0" y="1792"/>
                    <a:pt x="0" y="6203"/>
                    <a:pt x="0" y="7995"/>
                  </a:cubicBezTo>
                  <a:cubicBezTo>
                    <a:pt x="2551" y="7995"/>
                    <a:pt x="46540" y="7995"/>
                    <a:pt x="49091" y="7995"/>
                  </a:cubicBezTo>
                  <a:cubicBezTo>
                    <a:pt x="49091" y="6203"/>
                    <a:pt x="49091" y="1792"/>
                    <a:pt x="49091" y="0"/>
                  </a:cubicBezTo>
                  <a:cubicBezTo>
                    <a:pt x="46540" y="0"/>
                    <a:pt x="2551" y="0"/>
                    <a:pt x="0" y="0"/>
                  </a:cubicBezTo>
                  <a:close/>
                </a:path>
              </a:pathLst>
            </a:custGeom>
            <a:solidFill>
              <a:srgbClr val="E4E4E4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276" name="Freeform 275">
              <a:extLst>
                <a:ext uri="{FF2B5EF4-FFF2-40B4-BE49-F238E27FC236}">
                  <a16:creationId xmlns:a16="http://schemas.microsoft.com/office/drawing/2014/main" id="{883EE3BA-6F22-DC45-8EEE-98B9D12946B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28264" y="1563761"/>
              <a:ext cx="53503" cy="7995"/>
            </a:xfrm>
            <a:custGeom>
              <a:avLst/>
              <a:gdLst>
                <a:gd name="connsiteX0" fmla="*/ 0 w 53503"/>
                <a:gd name="connsiteY0" fmla="*/ 0 h 7995"/>
                <a:gd name="connsiteX1" fmla="*/ 0 w 53503"/>
                <a:gd name="connsiteY1" fmla="*/ 7995 h 7995"/>
                <a:gd name="connsiteX2" fmla="*/ 53503 w 53503"/>
                <a:gd name="connsiteY2" fmla="*/ 7995 h 7995"/>
                <a:gd name="connsiteX3" fmla="*/ 53503 w 53503"/>
                <a:gd name="connsiteY3" fmla="*/ 0 h 7995"/>
                <a:gd name="connsiteX4" fmla="*/ 0 w 53503"/>
                <a:gd name="connsiteY4" fmla="*/ 0 h 7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503" h="7995">
                  <a:moveTo>
                    <a:pt x="0" y="0"/>
                  </a:moveTo>
                  <a:cubicBezTo>
                    <a:pt x="0" y="1792"/>
                    <a:pt x="0" y="6203"/>
                    <a:pt x="0" y="7995"/>
                  </a:cubicBezTo>
                  <a:cubicBezTo>
                    <a:pt x="2551" y="7995"/>
                    <a:pt x="50952" y="7995"/>
                    <a:pt x="53503" y="7995"/>
                  </a:cubicBezTo>
                  <a:cubicBezTo>
                    <a:pt x="53503" y="6203"/>
                    <a:pt x="53503" y="1792"/>
                    <a:pt x="53503" y="0"/>
                  </a:cubicBezTo>
                  <a:cubicBezTo>
                    <a:pt x="50952" y="0"/>
                    <a:pt x="2551" y="0"/>
                    <a:pt x="0" y="0"/>
                  </a:cubicBezTo>
                  <a:close/>
                </a:path>
              </a:pathLst>
            </a:custGeom>
            <a:solidFill>
              <a:srgbClr val="E4E4E4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grpSp>
          <p:nvGrpSpPr>
            <p:cNvPr id="277" name="Graphic 4">
              <a:extLst>
                <a:ext uri="{FF2B5EF4-FFF2-40B4-BE49-F238E27FC236}">
                  <a16:creationId xmlns:a16="http://schemas.microsoft.com/office/drawing/2014/main" id="{0A09265C-FE69-8640-8612-1B5B43BFCC7B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15508" y="1463821"/>
              <a:ext cx="1362269" cy="207807"/>
              <a:chOff x="515508" y="1463821"/>
              <a:chExt cx="1362269" cy="207807"/>
            </a:xfrm>
            <a:solidFill>
              <a:srgbClr val="E4E4E4"/>
            </a:solidFill>
          </p:grpSpPr>
          <p:sp>
            <p:nvSpPr>
              <p:cNvPr id="278" name="Freeform 277">
                <a:extLst>
                  <a:ext uri="{FF2B5EF4-FFF2-40B4-BE49-F238E27FC236}">
                    <a16:creationId xmlns:a16="http://schemas.microsoft.com/office/drawing/2014/main" id="{8753CC79-F225-9B48-919D-E6C8FD8F8A18}"/>
                  </a:ext>
                </a:extLst>
              </p:cNvPr>
              <p:cNvSpPr/>
              <p:nvPr/>
            </p:nvSpPr>
            <p:spPr>
              <a:xfrm>
                <a:off x="515508" y="1663357"/>
                <a:ext cx="1362269" cy="8270"/>
              </a:xfrm>
              <a:custGeom>
                <a:avLst/>
                <a:gdLst>
                  <a:gd name="connsiteX0" fmla="*/ 0 w 1362269"/>
                  <a:gd name="connsiteY0" fmla="*/ 0 h 8270"/>
                  <a:gd name="connsiteX1" fmla="*/ 1362269 w 1362269"/>
                  <a:gd name="connsiteY1" fmla="*/ 0 h 8270"/>
                  <a:gd name="connsiteX2" fmla="*/ 1362269 w 1362269"/>
                  <a:gd name="connsiteY2" fmla="*/ 8271 h 8270"/>
                  <a:gd name="connsiteX3" fmla="*/ 0 w 1362269"/>
                  <a:gd name="connsiteY3" fmla="*/ 8271 h 8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62269" h="8270">
                    <a:moveTo>
                      <a:pt x="0" y="0"/>
                    </a:moveTo>
                    <a:lnTo>
                      <a:pt x="1362269" y="0"/>
                    </a:lnTo>
                    <a:lnTo>
                      <a:pt x="1362269" y="8271"/>
                    </a:lnTo>
                    <a:lnTo>
                      <a:pt x="0" y="8271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  <p:sp>
            <p:nvSpPr>
              <p:cNvPr id="279" name="Freeform 278">
                <a:extLst>
                  <a:ext uri="{FF2B5EF4-FFF2-40B4-BE49-F238E27FC236}">
                    <a16:creationId xmlns:a16="http://schemas.microsoft.com/office/drawing/2014/main" id="{B877A852-09B2-6E4F-B39A-A2076FB88CDE}"/>
                  </a:ext>
                </a:extLst>
              </p:cNvPr>
              <p:cNvSpPr/>
              <p:nvPr/>
            </p:nvSpPr>
            <p:spPr>
              <a:xfrm>
                <a:off x="515508" y="1463821"/>
                <a:ext cx="1362269" cy="8270"/>
              </a:xfrm>
              <a:custGeom>
                <a:avLst/>
                <a:gdLst>
                  <a:gd name="connsiteX0" fmla="*/ 0 w 1362269"/>
                  <a:gd name="connsiteY0" fmla="*/ 0 h 8270"/>
                  <a:gd name="connsiteX1" fmla="*/ 1362269 w 1362269"/>
                  <a:gd name="connsiteY1" fmla="*/ 0 h 8270"/>
                  <a:gd name="connsiteX2" fmla="*/ 1362269 w 1362269"/>
                  <a:gd name="connsiteY2" fmla="*/ 8271 h 8270"/>
                  <a:gd name="connsiteX3" fmla="*/ 0 w 1362269"/>
                  <a:gd name="connsiteY3" fmla="*/ 8271 h 8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62269" h="8270">
                    <a:moveTo>
                      <a:pt x="0" y="0"/>
                    </a:moveTo>
                    <a:lnTo>
                      <a:pt x="1362269" y="0"/>
                    </a:lnTo>
                    <a:lnTo>
                      <a:pt x="1362269" y="8271"/>
                    </a:lnTo>
                    <a:lnTo>
                      <a:pt x="0" y="8271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B52DE836-7EB1-E3A3-4665-89076212821B}"/>
              </a:ext>
            </a:extLst>
          </p:cNvPr>
          <p:cNvGrpSpPr/>
          <p:nvPr/>
        </p:nvGrpSpPr>
        <p:grpSpPr>
          <a:xfrm rot="10800000">
            <a:off x="6004052" y="4325975"/>
            <a:ext cx="1855331" cy="929163"/>
            <a:chOff x="3251818" y="1389545"/>
            <a:chExt cx="2062588" cy="1032959"/>
          </a:xfrm>
        </p:grpSpPr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DE8DA691-18AA-846D-FCCE-9C85B53819B3}"/>
                </a:ext>
              </a:extLst>
            </p:cNvPr>
            <p:cNvGrpSpPr>
              <a:grpSpLocks noChangeAspect="1"/>
            </p:cNvGrpSpPr>
            <p:nvPr/>
          </p:nvGrpSpPr>
          <p:grpSpPr>
            <a:xfrm rot="16200000">
              <a:off x="3251644" y="1389719"/>
              <a:ext cx="1032959" cy="1032611"/>
              <a:chOff x="2877933" y="261637"/>
              <a:chExt cx="495803" cy="495636"/>
            </a:xfrm>
          </p:grpSpPr>
          <p:grpSp>
            <p:nvGrpSpPr>
              <p:cNvPr id="35" name="Graphic 4">
                <a:extLst>
                  <a:ext uri="{FF2B5EF4-FFF2-40B4-BE49-F238E27FC236}">
                    <a16:creationId xmlns:a16="http://schemas.microsoft.com/office/drawing/2014/main" id="{0E72D784-831F-422F-A6A4-DEB3F3AD198A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2878002" y="261637"/>
                <a:ext cx="495734" cy="495636"/>
                <a:chOff x="2878002" y="261637"/>
                <a:chExt cx="495734" cy="495636"/>
              </a:xfrm>
            </p:grpSpPr>
            <p:sp>
              <p:nvSpPr>
                <p:cNvPr id="37" name="Freeform 70">
                  <a:extLst>
                    <a:ext uri="{FF2B5EF4-FFF2-40B4-BE49-F238E27FC236}">
                      <a16:creationId xmlns:a16="http://schemas.microsoft.com/office/drawing/2014/main" id="{70CAAB68-629D-020F-926F-698E48B7751E}"/>
                    </a:ext>
                  </a:extLst>
                </p:cNvPr>
                <p:cNvSpPr/>
                <p:nvPr/>
              </p:nvSpPr>
              <p:spPr>
                <a:xfrm>
                  <a:off x="2878002" y="261637"/>
                  <a:ext cx="495734" cy="495568"/>
                </a:xfrm>
                <a:custGeom>
                  <a:avLst/>
                  <a:gdLst>
                    <a:gd name="connsiteX0" fmla="*/ 0 w 495734"/>
                    <a:gd name="connsiteY0" fmla="*/ 0 h 495568"/>
                    <a:gd name="connsiteX1" fmla="*/ 0 w 495734"/>
                    <a:gd name="connsiteY1" fmla="*/ 233999 h 495568"/>
                    <a:gd name="connsiteX2" fmla="*/ 261657 w 495734"/>
                    <a:gd name="connsiteY2" fmla="*/ 495568 h 495568"/>
                    <a:gd name="connsiteX3" fmla="*/ 495734 w 495734"/>
                    <a:gd name="connsiteY3" fmla="*/ 495568 h 495568"/>
                    <a:gd name="connsiteX4" fmla="*/ 0 w 495734"/>
                    <a:gd name="connsiteY4" fmla="*/ 0 h 4955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95734" h="495568">
                      <a:moveTo>
                        <a:pt x="0" y="0"/>
                      </a:moveTo>
                      <a:lnTo>
                        <a:pt x="0" y="233999"/>
                      </a:lnTo>
                      <a:cubicBezTo>
                        <a:pt x="144239" y="233999"/>
                        <a:pt x="261657" y="351309"/>
                        <a:pt x="261657" y="495568"/>
                      </a:cubicBezTo>
                      <a:lnTo>
                        <a:pt x="495734" y="495568"/>
                      </a:lnTo>
                      <a:cubicBezTo>
                        <a:pt x="495734" y="222351"/>
                        <a:pt x="273309" y="0"/>
                        <a:pt x="0" y="0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 w="68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 dirty="0"/>
                </a:p>
              </p:txBody>
            </p:sp>
            <p:sp>
              <p:nvSpPr>
                <p:cNvPr id="38" name="Freeform 71">
                  <a:extLst>
                    <a:ext uri="{FF2B5EF4-FFF2-40B4-BE49-F238E27FC236}">
                      <a16:creationId xmlns:a16="http://schemas.microsoft.com/office/drawing/2014/main" id="{5A218226-C5EF-6792-E707-FBFBFAC5C8E2}"/>
                    </a:ext>
                  </a:extLst>
                </p:cNvPr>
                <p:cNvSpPr/>
                <p:nvPr/>
              </p:nvSpPr>
              <p:spPr>
                <a:xfrm>
                  <a:off x="2878002" y="274733"/>
                  <a:ext cx="482703" cy="482541"/>
                </a:xfrm>
                <a:custGeom>
                  <a:avLst/>
                  <a:gdLst>
                    <a:gd name="connsiteX0" fmla="*/ 0 w 482703"/>
                    <a:gd name="connsiteY0" fmla="*/ 199606 h 482541"/>
                    <a:gd name="connsiteX1" fmla="*/ 0 w 482703"/>
                    <a:gd name="connsiteY1" fmla="*/ 207877 h 482541"/>
                    <a:gd name="connsiteX2" fmla="*/ 274757 w 482703"/>
                    <a:gd name="connsiteY2" fmla="*/ 482541 h 482541"/>
                    <a:gd name="connsiteX3" fmla="*/ 283031 w 482703"/>
                    <a:gd name="connsiteY3" fmla="*/ 482541 h 482541"/>
                    <a:gd name="connsiteX4" fmla="*/ 0 w 482703"/>
                    <a:gd name="connsiteY4" fmla="*/ 199606 h 482541"/>
                    <a:gd name="connsiteX5" fmla="*/ 0 w 482703"/>
                    <a:gd name="connsiteY5" fmla="*/ 0 h 482541"/>
                    <a:gd name="connsiteX6" fmla="*/ 0 w 482703"/>
                    <a:gd name="connsiteY6" fmla="*/ 8271 h 482541"/>
                    <a:gd name="connsiteX7" fmla="*/ 474429 w 482703"/>
                    <a:gd name="connsiteY7" fmla="*/ 482541 h 482541"/>
                    <a:gd name="connsiteX8" fmla="*/ 482703 w 482703"/>
                    <a:gd name="connsiteY8" fmla="*/ 482541 h 482541"/>
                    <a:gd name="connsiteX9" fmla="*/ 0 w 482703"/>
                    <a:gd name="connsiteY9" fmla="*/ 0 h 4825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482703" h="482541">
                      <a:moveTo>
                        <a:pt x="0" y="199606"/>
                      </a:moveTo>
                      <a:lnTo>
                        <a:pt x="0" y="207877"/>
                      </a:lnTo>
                      <a:cubicBezTo>
                        <a:pt x="151478" y="207877"/>
                        <a:pt x="274757" y="331114"/>
                        <a:pt x="274757" y="482541"/>
                      </a:cubicBezTo>
                      <a:lnTo>
                        <a:pt x="283031" y="482541"/>
                      </a:lnTo>
                      <a:cubicBezTo>
                        <a:pt x="282962" y="326496"/>
                        <a:pt x="156029" y="199606"/>
                        <a:pt x="0" y="199606"/>
                      </a:cubicBezTo>
                      <a:close/>
                      <a:moveTo>
                        <a:pt x="0" y="0"/>
                      </a:moveTo>
                      <a:lnTo>
                        <a:pt x="0" y="8271"/>
                      </a:lnTo>
                      <a:cubicBezTo>
                        <a:pt x="261588" y="8271"/>
                        <a:pt x="474429" y="221041"/>
                        <a:pt x="474429" y="482541"/>
                      </a:cubicBezTo>
                      <a:lnTo>
                        <a:pt x="482703" y="482541"/>
                      </a:lnTo>
                      <a:cubicBezTo>
                        <a:pt x="482634" y="216492"/>
                        <a:pt x="266138" y="0"/>
                        <a:pt x="0" y="0"/>
                      </a:cubicBezTo>
                      <a:close/>
                    </a:path>
                  </a:pathLst>
                </a:custGeom>
                <a:solidFill>
                  <a:srgbClr val="E4E4E4"/>
                </a:solidFill>
                <a:ln w="68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 dirty="0"/>
                </a:p>
              </p:txBody>
            </p:sp>
          </p:grpSp>
          <p:sp>
            <p:nvSpPr>
              <p:cNvPr id="36" name="Freeform 69">
                <a:extLst>
                  <a:ext uri="{FF2B5EF4-FFF2-40B4-BE49-F238E27FC236}">
                    <a16:creationId xmlns:a16="http://schemas.microsoft.com/office/drawing/2014/main" id="{89819A83-E665-CF03-A9D8-F4FC091E4A5A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877933" y="373295"/>
                <a:ext cx="384038" cy="366334"/>
              </a:xfrm>
              <a:custGeom>
                <a:avLst/>
                <a:gdLst>
                  <a:gd name="connsiteX0" fmla="*/ 359493 w 384038"/>
                  <a:gd name="connsiteY0" fmla="*/ 247371 h 366334"/>
                  <a:gd name="connsiteX1" fmla="*/ 351978 w 384038"/>
                  <a:gd name="connsiteY1" fmla="*/ 249921 h 366334"/>
                  <a:gd name="connsiteX2" fmla="*/ 351633 w 384038"/>
                  <a:gd name="connsiteY2" fmla="*/ 250059 h 366334"/>
                  <a:gd name="connsiteX3" fmla="*/ 351771 w 384038"/>
                  <a:gd name="connsiteY3" fmla="*/ 250403 h 366334"/>
                  <a:gd name="connsiteX4" fmla="*/ 366526 w 384038"/>
                  <a:gd name="connsiteY4" fmla="*/ 298650 h 366334"/>
                  <a:gd name="connsiteX5" fmla="*/ 370525 w 384038"/>
                  <a:gd name="connsiteY5" fmla="*/ 298099 h 366334"/>
                  <a:gd name="connsiteX6" fmla="*/ 374317 w 384038"/>
                  <a:gd name="connsiteY6" fmla="*/ 297203 h 366334"/>
                  <a:gd name="connsiteX7" fmla="*/ 359493 w 384038"/>
                  <a:gd name="connsiteY7" fmla="*/ 247371 h 366334"/>
                  <a:gd name="connsiteX8" fmla="*/ 73360 w 384038"/>
                  <a:gd name="connsiteY8" fmla="*/ 7030 h 366334"/>
                  <a:gd name="connsiteX9" fmla="*/ 71843 w 384038"/>
                  <a:gd name="connsiteY9" fmla="*/ 15163 h 366334"/>
                  <a:gd name="connsiteX10" fmla="*/ 72188 w 384038"/>
                  <a:gd name="connsiteY10" fmla="*/ 15232 h 366334"/>
                  <a:gd name="connsiteX11" fmla="*/ 120934 w 384038"/>
                  <a:gd name="connsiteY11" fmla="*/ 28190 h 366334"/>
                  <a:gd name="connsiteX12" fmla="*/ 121279 w 384038"/>
                  <a:gd name="connsiteY12" fmla="*/ 28328 h 366334"/>
                  <a:gd name="connsiteX13" fmla="*/ 123830 w 384038"/>
                  <a:gd name="connsiteY13" fmla="*/ 20815 h 366334"/>
                  <a:gd name="connsiteX14" fmla="*/ 73705 w 384038"/>
                  <a:gd name="connsiteY14" fmla="*/ 7168 h 366334"/>
                  <a:gd name="connsiteX15" fmla="*/ 73360 w 384038"/>
                  <a:gd name="connsiteY15" fmla="*/ 7030 h 366334"/>
                  <a:gd name="connsiteX16" fmla="*/ 379626 w 384038"/>
                  <a:gd name="connsiteY16" fmla="*/ 322567 h 366334"/>
                  <a:gd name="connsiteX17" fmla="*/ 374869 w 384038"/>
                  <a:gd name="connsiteY17" fmla="*/ 322981 h 366334"/>
                  <a:gd name="connsiteX18" fmla="*/ 371421 w 384038"/>
                  <a:gd name="connsiteY18" fmla="*/ 323532 h 366334"/>
                  <a:gd name="connsiteX19" fmla="*/ 371490 w 384038"/>
                  <a:gd name="connsiteY19" fmla="*/ 323877 h 366334"/>
                  <a:gd name="connsiteX20" fmla="*/ 375972 w 384038"/>
                  <a:gd name="connsiteY20" fmla="*/ 366334 h 366334"/>
                  <a:gd name="connsiteX21" fmla="*/ 384039 w 384038"/>
                  <a:gd name="connsiteY21" fmla="*/ 366334 h 366334"/>
                  <a:gd name="connsiteX22" fmla="*/ 379626 w 384038"/>
                  <a:gd name="connsiteY22" fmla="*/ 322567 h 366334"/>
                  <a:gd name="connsiteX23" fmla="*/ 69 w 384038"/>
                  <a:gd name="connsiteY23" fmla="*/ 8064 h 366334"/>
                  <a:gd name="connsiteX24" fmla="*/ 46678 w 384038"/>
                  <a:gd name="connsiteY24" fmla="*/ 11166 h 366334"/>
                  <a:gd name="connsiteX25" fmla="*/ 47367 w 384038"/>
                  <a:gd name="connsiteY25" fmla="*/ 8202 h 366334"/>
                  <a:gd name="connsiteX26" fmla="*/ 47988 w 384038"/>
                  <a:gd name="connsiteY26" fmla="*/ 3308 h 366334"/>
                  <a:gd name="connsiteX27" fmla="*/ 0 w 384038"/>
                  <a:gd name="connsiteY27" fmla="*/ 0 h 366334"/>
                  <a:gd name="connsiteX28" fmla="*/ 0 w 384038"/>
                  <a:gd name="connsiteY28" fmla="*/ 8064 h 366334"/>
                  <a:gd name="connsiteX29" fmla="*/ 148238 w 384038"/>
                  <a:gd name="connsiteY29" fmla="*/ 29569 h 366334"/>
                  <a:gd name="connsiteX30" fmla="*/ 146031 w 384038"/>
                  <a:gd name="connsiteY30" fmla="*/ 33980 h 366334"/>
                  <a:gd name="connsiteX31" fmla="*/ 144790 w 384038"/>
                  <a:gd name="connsiteY31" fmla="*/ 37081 h 366334"/>
                  <a:gd name="connsiteX32" fmla="*/ 147893 w 384038"/>
                  <a:gd name="connsiteY32" fmla="*/ 38460 h 366334"/>
                  <a:gd name="connsiteX33" fmla="*/ 190227 w 384038"/>
                  <a:gd name="connsiteY33" fmla="*/ 59895 h 366334"/>
                  <a:gd name="connsiteX34" fmla="*/ 194570 w 384038"/>
                  <a:gd name="connsiteY34" fmla="*/ 53279 h 366334"/>
                  <a:gd name="connsiteX35" fmla="*/ 150444 w 384038"/>
                  <a:gd name="connsiteY35" fmla="*/ 30603 h 366334"/>
                  <a:gd name="connsiteX36" fmla="*/ 148238 w 384038"/>
                  <a:gd name="connsiteY36" fmla="*/ 29569 h 366334"/>
                  <a:gd name="connsiteX37" fmla="*/ 276342 w 384038"/>
                  <a:gd name="connsiteY37" fmla="*/ 116758 h 366334"/>
                  <a:gd name="connsiteX38" fmla="*/ 273240 w 384038"/>
                  <a:gd name="connsiteY38" fmla="*/ 119309 h 366334"/>
                  <a:gd name="connsiteX39" fmla="*/ 270206 w 384038"/>
                  <a:gd name="connsiteY39" fmla="*/ 122272 h 366334"/>
                  <a:gd name="connsiteX40" fmla="*/ 276618 w 384038"/>
                  <a:gd name="connsiteY40" fmla="*/ 129440 h 366334"/>
                  <a:gd name="connsiteX41" fmla="*/ 302818 w 384038"/>
                  <a:gd name="connsiteY41" fmla="*/ 161215 h 366334"/>
                  <a:gd name="connsiteX42" fmla="*/ 308058 w 384038"/>
                  <a:gd name="connsiteY42" fmla="*/ 157837 h 366334"/>
                  <a:gd name="connsiteX43" fmla="*/ 309437 w 384038"/>
                  <a:gd name="connsiteY43" fmla="*/ 156872 h 366334"/>
                  <a:gd name="connsiteX44" fmla="*/ 282341 w 384038"/>
                  <a:gd name="connsiteY44" fmla="*/ 123513 h 366334"/>
                  <a:gd name="connsiteX45" fmla="*/ 276342 w 384038"/>
                  <a:gd name="connsiteY45" fmla="*/ 116758 h 366334"/>
                  <a:gd name="connsiteX46" fmla="*/ 320676 w 384038"/>
                  <a:gd name="connsiteY46" fmla="*/ 179962 h 366334"/>
                  <a:gd name="connsiteX47" fmla="*/ 317366 w 384038"/>
                  <a:gd name="connsiteY47" fmla="*/ 182030 h 366334"/>
                  <a:gd name="connsiteX48" fmla="*/ 317573 w 384038"/>
                  <a:gd name="connsiteY48" fmla="*/ 182306 h 366334"/>
                  <a:gd name="connsiteX49" fmla="*/ 341705 w 384038"/>
                  <a:gd name="connsiteY49" fmla="*/ 226624 h 366334"/>
                  <a:gd name="connsiteX50" fmla="*/ 347634 w 384038"/>
                  <a:gd name="connsiteY50" fmla="*/ 224281 h 366334"/>
                  <a:gd name="connsiteX51" fmla="*/ 349013 w 384038"/>
                  <a:gd name="connsiteY51" fmla="*/ 223660 h 366334"/>
                  <a:gd name="connsiteX52" fmla="*/ 324537 w 384038"/>
                  <a:gd name="connsiteY52" fmla="*/ 177826 h 366334"/>
                  <a:gd name="connsiteX53" fmla="*/ 320676 w 384038"/>
                  <a:gd name="connsiteY53" fmla="*/ 179962 h 366334"/>
                  <a:gd name="connsiteX54" fmla="*/ 216772 w 384038"/>
                  <a:gd name="connsiteY54" fmla="*/ 66581 h 366334"/>
                  <a:gd name="connsiteX55" fmla="*/ 212014 w 384038"/>
                  <a:gd name="connsiteY55" fmla="*/ 72922 h 366334"/>
                  <a:gd name="connsiteX56" fmla="*/ 211807 w 384038"/>
                  <a:gd name="connsiteY56" fmla="*/ 73198 h 366334"/>
                  <a:gd name="connsiteX57" fmla="*/ 222081 w 384038"/>
                  <a:gd name="connsiteY57" fmla="*/ 80780 h 366334"/>
                  <a:gd name="connsiteX58" fmla="*/ 251590 w 384038"/>
                  <a:gd name="connsiteY58" fmla="*/ 104765 h 366334"/>
                  <a:gd name="connsiteX59" fmla="*/ 257175 w 384038"/>
                  <a:gd name="connsiteY59" fmla="*/ 99114 h 366334"/>
                  <a:gd name="connsiteX60" fmla="*/ 226631 w 384038"/>
                  <a:gd name="connsiteY60" fmla="*/ 73887 h 366334"/>
                  <a:gd name="connsiteX61" fmla="*/ 216772 w 384038"/>
                  <a:gd name="connsiteY61" fmla="*/ 66581 h 3663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</a:cxnLst>
                <a:rect l="l" t="t" r="r" b="b"/>
                <a:pathLst>
                  <a:path w="384038" h="366334">
                    <a:moveTo>
                      <a:pt x="359493" y="247371"/>
                    </a:moveTo>
                    <a:cubicBezTo>
                      <a:pt x="359080" y="247164"/>
                      <a:pt x="351978" y="249921"/>
                      <a:pt x="351978" y="249921"/>
                    </a:cubicBezTo>
                    <a:lnTo>
                      <a:pt x="351633" y="250059"/>
                    </a:lnTo>
                    <a:lnTo>
                      <a:pt x="351771" y="250403"/>
                    </a:lnTo>
                    <a:cubicBezTo>
                      <a:pt x="358252" y="267083"/>
                      <a:pt x="363010" y="282798"/>
                      <a:pt x="366526" y="298650"/>
                    </a:cubicBezTo>
                    <a:cubicBezTo>
                      <a:pt x="366940" y="298926"/>
                      <a:pt x="370525" y="298099"/>
                      <a:pt x="370525" y="298099"/>
                    </a:cubicBezTo>
                    <a:lnTo>
                      <a:pt x="374317" y="297203"/>
                    </a:lnTo>
                    <a:cubicBezTo>
                      <a:pt x="371008" y="280592"/>
                      <a:pt x="366043" y="264464"/>
                      <a:pt x="359493" y="247371"/>
                    </a:cubicBezTo>
                    <a:close/>
                    <a:moveTo>
                      <a:pt x="73360" y="7030"/>
                    </a:moveTo>
                    <a:lnTo>
                      <a:pt x="71843" y="15163"/>
                    </a:lnTo>
                    <a:lnTo>
                      <a:pt x="72188" y="15232"/>
                    </a:lnTo>
                    <a:cubicBezTo>
                      <a:pt x="89287" y="18610"/>
                      <a:pt x="105697" y="22952"/>
                      <a:pt x="120934" y="28190"/>
                    </a:cubicBezTo>
                    <a:lnTo>
                      <a:pt x="121279" y="28328"/>
                    </a:lnTo>
                    <a:lnTo>
                      <a:pt x="123830" y="20815"/>
                    </a:lnTo>
                    <a:cubicBezTo>
                      <a:pt x="108041" y="15094"/>
                      <a:pt x="91287" y="10614"/>
                      <a:pt x="73705" y="7168"/>
                    </a:cubicBezTo>
                    <a:lnTo>
                      <a:pt x="73360" y="7030"/>
                    </a:lnTo>
                    <a:close/>
                    <a:moveTo>
                      <a:pt x="379626" y="322567"/>
                    </a:moveTo>
                    <a:cubicBezTo>
                      <a:pt x="379212" y="322292"/>
                      <a:pt x="374869" y="322981"/>
                      <a:pt x="374869" y="322981"/>
                    </a:cubicBezTo>
                    <a:lnTo>
                      <a:pt x="371421" y="323532"/>
                    </a:lnTo>
                    <a:lnTo>
                      <a:pt x="371490" y="323877"/>
                    </a:lnTo>
                    <a:cubicBezTo>
                      <a:pt x="373903" y="337593"/>
                      <a:pt x="375351" y="351860"/>
                      <a:pt x="375972" y="366334"/>
                    </a:cubicBezTo>
                    <a:lnTo>
                      <a:pt x="384039" y="366334"/>
                    </a:lnTo>
                    <a:cubicBezTo>
                      <a:pt x="383625" y="351309"/>
                      <a:pt x="382108" y="336628"/>
                      <a:pt x="379626" y="322567"/>
                    </a:cubicBezTo>
                    <a:close/>
                    <a:moveTo>
                      <a:pt x="69" y="8064"/>
                    </a:moveTo>
                    <a:cubicBezTo>
                      <a:pt x="15100" y="8409"/>
                      <a:pt x="30613" y="9305"/>
                      <a:pt x="46678" y="11166"/>
                    </a:cubicBezTo>
                    <a:cubicBezTo>
                      <a:pt x="47091" y="10890"/>
                      <a:pt x="47367" y="8202"/>
                      <a:pt x="47367" y="8202"/>
                    </a:cubicBezTo>
                    <a:lnTo>
                      <a:pt x="47988" y="3308"/>
                    </a:lnTo>
                    <a:cubicBezTo>
                      <a:pt x="31164" y="1034"/>
                      <a:pt x="15168" y="69"/>
                      <a:pt x="0" y="0"/>
                    </a:cubicBezTo>
                    <a:lnTo>
                      <a:pt x="0" y="8064"/>
                    </a:lnTo>
                    <a:close/>
                    <a:moveTo>
                      <a:pt x="148238" y="29569"/>
                    </a:moveTo>
                    <a:cubicBezTo>
                      <a:pt x="147755" y="29775"/>
                      <a:pt x="146031" y="33980"/>
                      <a:pt x="146031" y="33980"/>
                    </a:cubicBezTo>
                    <a:lnTo>
                      <a:pt x="144790" y="37081"/>
                    </a:lnTo>
                    <a:lnTo>
                      <a:pt x="147893" y="38460"/>
                    </a:lnTo>
                    <a:cubicBezTo>
                      <a:pt x="160510" y="44112"/>
                      <a:pt x="176230" y="51211"/>
                      <a:pt x="190227" y="59895"/>
                    </a:cubicBezTo>
                    <a:cubicBezTo>
                      <a:pt x="190709" y="59758"/>
                      <a:pt x="194570" y="53279"/>
                      <a:pt x="194570" y="53279"/>
                    </a:cubicBezTo>
                    <a:cubicBezTo>
                      <a:pt x="180022" y="43836"/>
                      <a:pt x="163613" y="36461"/>
                      <a:pt x="150444" y="30603"/>
                    </a:cubicBezTo>
                    <a:lnTo>
                      <a:pt x="148238" y="29569"/>
                    </a:lnTo>
                    <a:close/>
                    <a:moveTo>
                      <a:pt x="276342" y="116758"/>
                    </a:moveTo>
                    <a:cubicBezTo>
                      <a:pt x="275860" y="116758"/>
                      <a:pt x="273240" y="119309"/>
                      <a:pt x="273240" y="119309"/>
                    </a:cubicBezTo>
                    <a:lnTo>
                      <a:pt x="270206" y="122272"/>
                    </a:lnTo>
                    <a:lnTo>
                      <a:pt x="276618" y="129440"/>
                    </a:lnTo>
                    <a:cubicBezTo>
                      <a:pt x="286478" y="140331"/>
                      <a:pt x="295303" y="150256"/>
                      <a:pt x="302818" y="161215"/>
                    </a:cubicBezTo>
                    <a:cubicBezTo>
                      <a:pt x="303301" y="161284"/>
                      <a:pt x="308058" y="157837"/>
                      <a:pt x="308058" y="157837"/>
                    </a:cubicBezTo>
                    <a:lnTo>
                      <a:pt x="309437" y="156872"/>
                    </a:lnTo>
                    <a:cubicBezTo>
                      <a:pt x="301095" y="144259"/>
                      <a:pt x="290752" y="132749"/>
                      <a:pt x="282341" y="123513"/>
                    </a:cubicBezTo>
                    <a:lnTo>
                      <a:pt x="276342" y="116758"/>
                    </a:lnTo>
                    <a:close/>
                    <a:moveTo>
                      <a:pt x="320676" y="179962"/>
                    </a:moveTo>
                    <a:lnTo>
                      <a:pt x="317366" y="182030"/>
                    </a:lnTo>
                    <a:lnTo>
                      <a:pt x="317573" y="182306"/>
                    </a:lnTo>
                    <a:cubicBezTo>
                      <a:pt x="325985" y="195953"/>
                      <a:pt x="334741" y="210771"/>
                      <a:pt x="341705" y="226624"/>
                    </a:cubicBezTo>
                    <a:cubicBezTo>
                      <a:pt x="342188" y="226762"/>
                      <a:pt x="347634" y="224281"/>
                      <a:pt x="347634" y="224281"/>
                    </a:cubicBezTo>
                    <a:lnTo>
                      <a:pt x="349013" y="223660"/>
                    </a:lnTo>
                    <a:cubicBezTo>
                      <a:pt x="342050" y="206912"/>
                      <a:pt x="333155" y="191817"/>
                      <a:pt x="324537" y="177826"/>
                    </a:cubicBezTo>
                    <a:cubicBezTo>
                      <a:pt x="324054" y="177757"/>
                      <a:pt x="320676" y="179962"/>
                      <a:pt x="320676" y="179962"/>
                    </a:cubicBezTo>
                    <a:close/>
                    <a:moveTo>
                      <a:pt x="216772" y="66581"/>
                    </a:moveTo>
                    <a:cubicBezTo>
                      <a:pt x="216289" y="66650"/>
                      <a:pt x="212014" y="72922"/>
                      <a:pt x="212014" y="72922"/>
                    </a:cubicBezTo>
                    <a:lnTo>
                      <a:pt x="211807" y="73198"/>
                    </a:lnTo>
                    <a:lnTo>
                      <a:pt x="222081" y="80780"/>
                    </a:lnTo>
                    <a:cubicBezTo>
                      <a:pt x="233043" y="88775"/>
                      <a:pt x="242765" y="96150"/>
                      <a:pt x="251590" y="104765"/>
                    </a:cubicBezTo>
                    <a:cubicBezTo>
                      <a:pt x="252073" y="104765"/>
                      <a:pt x="257175" y="99114"/>
                      <a:pt x="257175" y="99114"/>
                    </a:cubicBezTo>
                    <a:cubicBezTo>
                      <a:pt x="248074" y="89809"/>
                      <a:pt x="238007" y="82158"/>
                      <a:pt x="226631" y="73887"/>
                    </a:cubicBezTo>
                    <a:lnTo>
                      <a:pt x="216772" y="66581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8AD17DF7-C993-4E34-11AF-30103E481E51}"/>
                </a:ext>
              </a:extLst>
            </p:cNvPr>
            <p:cNvGrpSpPr>
              <a:grpSpLocks noChangeAspect="1"/>
            </p:cNvGrpSpPr>
            <p:nvPr/>
          </p:nvGrpSpPr>
          <p:grpSpPr>
            <a:xfrm rot="16200000">
              <a:off x="4281620" y="1389718"/>
              <a:ext cx="1032959" cy="1032613"/>
              <a:chOff x="2877933" y="791668"/>
              <a:chExt cx="495803" cy="495637"/>
            </a:xfrm>
          </p:grpSpPr>
          <p:grpSp>
            <p:nvGrpSpPr>
              <p:cNvPr id="31" name="Graphic 4">
                <a:extLst>
                  <a:ext uri="{FF2B5EF4-FFF2-40B4-BE49-F238E27FC236}">
                    <a16:creationId xmlns:a16="http://schemas.microsoft.com/office/drawing/2014/main" id="{7B5FE886-9FA1-52A8-0718-2F76A399B671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2877933" y="791737"/>
                <a:ext cx="495803" cy="495568"/>
                <a:chOff x="2877933" y="791737"/>
                <a:chExt cx="495803" cy="495568"/>
              </a:xfrm>
            </p:grpSpPr>
            <p:sp>
              <p:nvSpPr>
                <p:cNvPr id="33" name="Freeform 75">
                  <a:extLst>
                    <a:ext uri="{FF2B5EF4-FFF2-40B4-BE49-F238E27FC236}">
                      <a16:creationId xmlns:a16="http://schemas.microsoft.com/office/drawing/2014/main" id="{29CDEB3F-1135-7FC1-47B4-24F85496EAAF}"/>
                    </a:ext>
                  </a:extLst>
                </p:cNvPr>
                <p:cNvSpPr/>
                <p:nvPr/>
              </p:nvSpPr>
              <p:spPr>
                <a:xfrm>
                  <a:off x="2878002" y="791737"/>
                  <a:ext cx="495734" cy="495568"/>
                </a:xfrm>
                <a:custGeom>
                  <a:avLst/>
                  <a:gdLst>
                    <a:gd name="connsiteX0" fmla="*/ 495734 w 495734"/>
                    <a:gd name="connsiteY0" fmla="*/ 0 h 495568"/>
                    <a:gd name="connsiteX1" fmla="*/ 261657 w 495734"/>
                    <a:gd name="connsiteY1" fmla="*/ 0 h 495568"/>
                    <a:gd name="connsiteX2" fmla="*/ 0 w 495734"/>
                    <a:gd name="connsiteY2" fmla="*/ 261569 h 495568"/>
                    <a:gd name="connsiteX3" fmla="*/ 0 w 495734"/>
                    <a:gd name="connsiteY3" fmla="*/ 495568 h 495568"/>
                    <a:gd name="connsiteX4" fmla="*/ 495734 w 495734"/>
                    <a:gd name="connsiteY4" fmla="*/ 0 h 4955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95734" h="495568">
                      <a:moveTo>
                        <a:pt x="495734" y="0"/>
                      </a:moveTo>
                      <a:lnTo>
                        <a:pt x="261657" y="0"/>
                      </a:lnTo>
                      <a:cubicBezTo>
                        <a:pt x="261657" y="144190"/>
                        <a:pt x="144308" y="261569"/>
                        <a:pt x="0" y="261569"/>
                      </a:cubicBezTo>
                      <a:lnTo>
                        <a:pt x="0" y="495568"/>
                      </a:lnTo>
                      <a:cubicBezTo>
                        <a:pt x="273309" y="495568"/>
                        <a:pt x="495734" y="273217"/>
                        <a:pt x="495734" y="0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 w="68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 dirty="0"/>
                </a:p>
              </p:txBody>
            </p:sp>
            <p:sp>
              <p:nvSpPr>
                <p:cNvPr id="34" name="Freeform 76">
                  <a:extLst>
                    <a:ext uri="{FF2B5EF4-FFF2-40B4-BE49-F238E27FC236}">
                      <a16:creationId xmlns:a16="http://schemas.microsoft.com/office/drawing/2014/main" id="{9C4A89D6-594B-80AA-4B56-7B2CC8F1FFA5}"/>
                    </a:ext>
                  </a:extLst>
                </p:cNvPr>
                <p:cNvSpPr/>
                <p:nvPr/>
              </p:nvSpPr>
              <p:spPr>
                <a:xfrm>
                  <a:off x="2877933" y="791737"/>
                  <a:ext cx="482702" cy="482541"/>
                </a:xfrm>
                <a:custGeom>
                  <a:avLst/>
                  <a:gdLst>
                    <a:gd name="connsiteX0" fmla="*/ 283030 w 482702"/>
                    <a:gd name="connsiteY0" fmla="*/ 0 h 482541"/>
                    <a:gd name="connsiteX1" fmla="*/ 274757 w 482702"/>
                    <a:gd name="connsiteY1" fmla="*/ 0 h 482541"/>
                    <a:gd name="connsiteX2" fmla="*/ 0 w 482702"/>
                    <a:gd name="connsiteY2" fmla="*/ 274665 h 482541"/>
                    <a:gd name="connsiteX3" fmla="*/ 0 w 482702"/>
                    <a:gd name="connsiteY3" fmla="*/ 282936 h 482541"/>
                    <a:gd name="connsiteX4" fmla="*/ 283030 w 482702"/>
                    <a:gd name="connsiteY4" fmla="*/ 0 h 482541"/>
                    <a:gd name="connsiteX5" fmla="*/ 482703 w 482702"/>
                    <a:gd name="connsiteY5" fmla="*/ 0 h 482541"/>
                    <a:gd name="connsiteX6" fmla="*/ 474429 w 482702"/>
                    <a:gd name="connsiteY6" fmla="*/ 0 h 482541"/>
                    <a:gd name="connsiteX7" fmla="*/ 0 w 482702"/>
                    <a:gd name="connsiteY7" fmla="*/ 474270 h 482541"/>
                    <a:gd name="connsiteX8" fmla="*/ 0 w 482702"/>
                    <a:gd name="connsiteY8" fmla="*/ 482541 h 482541"/>
                    <a:gd name="connsiteX9" fmla="*/ 482703 w 482702"/>
                    <a:gd name="connsiteY9" fmla="*/ 0 h 4825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482702" h="482541">
                      <a:moveTo>
                        <a:pt x="283030" y="0"/>
                      </a:moveTo>
                      <a:lnTo>
                        <a:pt x="274757" y="0"/>
                      </a:lnTo>
                      <a:cubicBezTo>
                        <a:pt x="274757" y="151427"/>
                        <a:pt x="151478" y="274665"/>
                        <a:pt x="0" y="274665"/>
                      </a:cubicBezTo>
                      <a:lnTo>
                        <a:pt x="0" y="282936"/>
                      </a:lnTo>
                      <a:cubicBezTo>
                        <a:pt x="156098" y="282867"/>
                        <a:pt x="283030" y="155976"/>
                        <a:pt x="283030" y="0"/>
                      </a:cubicBezTo>
                      <a:close/>
                      <a:moveTo>
                        <a:pt x="482703" y="0"/>
                      </a:moveTo>
                      <a:lnTo>
                        <a:pt x="474429" y="0"/>
                      </a:lnTo>
                      <a:cubicBezTo>
                        <a:pt x="474429" y="261500"/>
                        <a:pt x="261588" y="474270"/>
                        <a:pt x="0" y="474270"/>
                      </a:cubicBezTo>
                      <a:lnTo>
                        <a:pt x="0" y="482541"/>
                      </a:lnTo>
                      <a:cubicBezTo>
                        <a:pt x="266207" y="482472"/>
                        <a:pt x="482703" y="266049"/>
                        <a:pt x="482703" y="0"/>
                      </a:cubicBezTo>
                      <a:close/>
                    </a:path>
                  </a:pathLst>
                </a:custGeom>
                <a:solidFill>
                  <a:srgbClr val="E4E4E4"/>
                </a:solidFill>
                <a:ln w="68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 dirty="0"/>
                </a:p>
              </p:txBody>
            </p:sp>
          </p:grpSp>
          <p:sp>
            <p:nvSpPr>
              <p:cNvPr id="32" name="Freeform 74">
                <a:extLst>
                  <a:ext uri="{FF2B5EF4-FFF2-40B4-BE49-F238E27FC236}">
                    <a16:creationId xmlns:a16="http://schemas.microsoft.com/office/drawing/2014/main" id="{D09D41B9-B183-7086-B2C7-FDBD94E1A7BC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895584" y="791668"/>
                <a:ext cx="366388" cy="383910"/>
              </a:xfrm>
              <a:custGeom>
                <a:avLst/>
                <a:gdLst>
                  <a:gd name="connsiteX0" fmla="*/ 119004 w 366388"/>
                  <a:gd name="connsiteY0" fmla="*/ 359304 h 383910"/>
                  <a:gd name="connsiteX1" fmla="*/ 116453 w 366388"/>
                  <a:gd name="connsiteY1" fmla="*/ 351791 h 383910"/>
                  <a:gd name="connsiteX2" fmla="*/ 116315 w 366388"/>
                  <a:gd name="connsiteY2" fmla="*/ 351447 h 383910"/>
                  <a:gd name="connsiteX3" fmla="*/ 115970 w 366388"/>
                  <a:gd name="connsiteY3" fmla="*/ 351584 h 383910"/>
                  <a:gd name="connsiteX4" fmla="*/ 67707 w 366388"/>
                  <a:gd name="connsiteY4" fmla="*/ 366334 h 383910"/>
                  <a:gd name="connsiteX5" fmla="*/ 68258 w 366388"/>
                  <a:gd name="connsiteY5" fmla="*/ 370332 h 383910"/>
                  <a:gd name="connsiteX6" fmla="*/ 69155 w 366388"/>
                  <a:gd name="connsiteY6" fmla="*/ 374123 h 383910"/>
                  <a:gd name="connsiteX7" fmla="*/ 119004 w 366388"/>
                  <a:gd name="connsiteY7" fmla="*/ 359304 h 383910"/>
                  <a:gd name="connsiteX8" fmla="*/ 359425 w 366388"/>
                  <a:gd name="connsiteY8" fmla="*/ 73336 h 383910"/>
                  <a:gd name="connsiteX9" fmla="*/ 351289 w 366388"/>
                  <a:gd name="connsiteY9" fmla="*/ 71819 h 383910"/>
                  <a:gd name="connsiteX10" fmla="*/ 351220 w 366388"/>
                  <a:gd name="connsiteY10" fmla="*/ 72164 h 383910"/>
                  <a:gd name="connsiteX11" fmla="*/ 338258 w 366388"/>
                  <a:gd name="connsiteY11" fmla="*/ 120894 h 383910"/>
                  <a:gd name="connsiteX12" fmla="*/ 338119 w 366388"/>
                  <a:gd name="connsiteY12" fmla="*/ 121238 h 383910"/>
                  <a:gd name="connsiteX13" fmla="*/ 345635 w 366388"/>
                  <a:gd name="connsiteY13" fmla="*/ 123789 h 383910"/>
                  <a:gd name="connsiteX14" fmla="*/ 359286 w 366388"/>
                  <a:gd name="connsiteY14" fmla="*/ 73680 h 383910"/>
                  <a:gd name="connsiteX15" fmla="*/ 359425 w 366388"/>
                  <a:gd name="connsiteY15" fmla="*/ 73336 h 383910"/>
                  <a:gd name="connsiteX16" fmla="*/ 43782 w 366388"/>
                  <a:gd name="connsiteY16" fmla="*/ 379499 h 383910"/>
                  <a:gd name="connsiteX17" fmla="*/ 43368 w 366388"/>
                  <a:gd name="connsiteY17" fmla="*/ 374743 h 383910"/>
                  <a:gd name="connsiteX18" fmla="*/ 42816 w 366388"/>
                  <a:gd name="connsiteY18" fmla="*/ 371297 h 383910"/>
                  <a:gd name="connsiteX19" fmla="*/ 42472 w 366388"/>
                  <a:gd name="connsiteY19" fmla="*/ 371366 h 383910"/>
                  <a:gd name="connsiteX20" fmla="*/ 0 w 366388"/>
                  <a:gd name="connsiteY20" fmla="*/ 375846 h 383910"/>
                  <a:gd name="connsiteX21" fmla="*/ 0 w 366388"/>
                  <a:gd name="connsiteY21" fmla="*/ 383910 h 383910"/>
                  <a:gd name="connsiteX22" fmla="*/ 43782 w 366388"/>
                  <a:gd name="connsiteY22" fmla="*/ 379499 h 383910"/>
                  <a:gd name="connsiteX23" fmla="*/ 358390 w 366388"/>
                  <a:gd name="connsiteY23" fmla="*/ 69 h 383910"/>
                  <a:gd name="connsiteX24" fmla="*/ 355219 w 366388"/>
                  <a:gd name="connsiteY24" fmla="*/ 46662 h 383910"/>
                  <a:gd name="connsiteX25" fmla="*/ 358183 w 366388"/>
                  <a:gd name="connsiteY25" fmla="*/ 47351 h 383910"/>
                  <a:gd name="connsiteX26" fmla="*/ 363079 w 366388"/>
                  <a:gd name="connsiteY26" fmla="*/ 47972 h 383910"/>
                  <a:gd name="connsiteX27" fmla="*/ 366388 w 366388"/>
                  <a:gd name="connsiteY27" fmla="*/ 0 h 383910"/>
                  <a:gd name="connsiteX28" fmla="*/ 358390 w 366388"/>
                  <a:gd name="connsiteY28" fmla="*/ 0 h 383910"/>
                  <a:gd name="connsiteX29" fmla="*/ 336878 w 366388"/>
                  <a:gd name="connsiteY29" fmla="*/ 148188 h 383910"/>
                  <a:gd name="connsiteX30" fmla="*/ 332466 w 366388"/>
                  <a:gd name="connsiteY30" fmla="*/ 145982 h 383910"/>
                  <a:gd name="connsiteX31" fmla="*/ 329363 w 366388"/>
                  <a:gd name="connsiteY31" fmla="*/ 144673 h 383910"/>
                  <a:gd name="connsiteX32" fmla="*/ 327984 w 366388"/>
                  <a:gd name="connsiteY32" fmla="*/ 147774 h 383910"/>
                  <a:gd name="connsiteX33" fmla="*/ 306542 w 366388"/>
                  <a:gd name="connsiteY33" fmla="*/ 190094 h 383910"/>
                  <a:gd name="connsiteX34" fmla="*/ 313160 w 366388"/>
                  <a:gd name="connsiteY34" fmla="*/ 194436 h 383910"/>
                  <a:gd name="connsiteX35" fmla="*/ 335844 w 366388"/>
                  <a:gd name="connsiteY35" fmla="*/ 150325 h 383910"/>
                  <a:gd name="connsiteX36" fmla="*/ 336878 w 366388"/>
                  <a:gd name="connsiteY36" fmla="*/ 148188 h 383910"/>
                  <a:gd name="connsiteX37" fmla="*/ 249660 w 366388"/>
                  <a:gd name="connsiteY37" fmla="*/ 276250 h 383910"/>
                  <a:gd name="connsiteX38" fmla="*/ 247109 w 366388"/>
                  <a:gd name="connsiteY38" fmla="*/ 273148 h 383910"/>
                  <a:gd name="connsiteX39" fmla="*/ 244144 w 366388"/>
                  <a:gd name="connsiteY39" fmla="*/ 270116 h 383910"/>
                  <a:gd name="connsiteX40" fmla="*/ 236973 w 366388"/>
                  <a:gd name="connsiteY40" fmla="*/ 276526 h 383910"/>
                  <a:gd name="connsiteX41" fmla="*/ 205188 w 366388"/>
                  <a:gd name="connsiteY41" fmla="*/ 302717 h 383910"/>
                  <a:gd name="connsiteX42" fmla="*/ 208567 w 366388"/>
                  <a:gd name="connsiteY42" fmla="*/ 307955 h 383910"/>
                  <a:gd name="connsiteX43" fmla="*/ 209532 w 366388"/>
                  <a:gd name="connsiteY43" fmla="*/ 309334 h 383910"/>
                  <a:gd name="connsiteX44" fmla="*/ 242903 w 366388"/>
                  <a:gd name="connsiteY44" fmla="*/ 282246 h 383910"/>
                  <a:gd name="connsiteX45" fmla="*/ 249660 w 366388"/>
                  <a:gd name="connsiteY45" fmla="*/ 276250 h 383910"/>
                  <a:gd name="connsiteX46" fmla="*/ 186504 w 366388"/>
                  <a:gd name="connsiteY46" fmla="*/ 320568 h 383910"/>
                  <a:gd name="connsiteX47" fmla="*/ 184435 w 366388"/>
                  <a:gd name="connsiteY47" fmla="*/ 317260 h 383910"/>
                  <a:gd name="connsiteX48" fmla="*/ 184159 w 366388"/>
                  <a:gd name="connsiteY48" fmla="*/ 317467 h 383910"/>
                  <a:gd name="connsiteX49" fmla="*/ 139826 w 366388"/>
                  <a:gd name="connsiteY49" fmla="*/ 341590 h 383910"/>
                  <a:gd name="connsiteX50" fmla="*/ 142170 w 366388"/>
                  <a:gd name="connsiteY50" fmla="*/ 347518 h 383910"/>
                  <a:gd name="connsiteX51" fmla="*/ 142791 w 366388"/>
                  <a:gd name="connsiteY51" fmla="*/ 348896 h 383910"/>
                  <a:gd name="connsiteX52" fmla="*/ 188641 w 366388"/>
                  <a:gd name="connsiteY52" fmla="*/ 324428 h 383910"/>
                  <a:gd name="connsiteX53" fmla="*/ 186504 w 366388"/>
                  <a:gd name="connsiteY53" fmla="*/ 320568 h 383910"/>
                  <a:gd name="connsiteX54" fmla="*/ 299854 w 366388"/>
                  <a:gd name="connsiteY54" fmla="*/ 216630 h 383910"/>
                  <a:gd name="connsiteX55" fmla="*/ 293511 w 366388"/>
                  <a:gd name="connsiteY55" fmla="*/ 211874 h 383910"/>
                  <a:gd name="connsiteX56" fmla="*/ 293235 w 366388"/>
                  <a:gd name="connsiteY56" fmla="*/ 211668 h 383910"/>
                  <a:gd name="connsiteX57" fmla="*/ 285650 w 366388"/>
                  <a:gd name="connsiteY57" fmla="*/ 221937 h 383910"/>
                  <a:gd name="connsiteX58" fmla="*/ 261656 w 366388"/>
                  <a:gd name="connsiteY58" fmla="*/ 251437 h 383910"/>
                  <a:gd name="connsiteX59" fmla="*/ 267310 w 366388"/>
                  <a:gd name="connsiteY59" fmla="*/ 257020 h 383910"/>
                  <a:gd name="connsiteX60" fmla="*/ 292545 w 366388"/>
                  <a:gd name="connsiteY60" fmla="*/ 226486 h 383910"/>
                  <a:gd name="connsiteX61" fmla="*/ 299854 w 366388"/>
                  <a:gd name="connsiteY61" fmla="*/ 216630 h 3839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</a:cxnLst>
                <a:rect l="l" t="t" r="r" b="b"/>
                <a:pathLst>
                  <a:path w="366388" h="383910">
                    <a:moveTo>
                      <a:pt x="119004" y="359304"/>
                    </a:moveTo>
                    <a:cubicBezTo>
                      <a:pt x="119210" y="358890"/>
                      <a:pt x="116453" y="351791"/>
                      <a:pt x="116453" y="351791"/>
                    </a:cubicBezTo>
                    <a:lnTo>
                      <a:pt x="116315" y="351447"/>
                    </a:lnTo>
                    <a:lnTo>
                      <a:pt x="115970" y="351584"/>
                    </a:lnTo>
                    <a:cubicBezTo>
                      <a:pt x="99285" y="358063"/>
                      <a:pt x="83565" y="362819"/>
                      <a:pt x="67707" y="366334"/>
                    </a:cubicBezTo>
                    <a:cubicBezTo>
                      <a:pt x="67431" y="366748"/>
                      <a:pt x="68258" y="370332"/>
                      <a:pt x="68258" y="370332"/>
                    </a:cubicBezTo>
                    <a:lnTo>
                      <a:pt x="69155" y="374123"/>
                    </a:lnTo>
                    <a:cubicBezTo>
                      <a:pt x="85771" y="370883"/>
                      <a:pt x="101974" y="365921"/>
                      <a:pt x="119004" y="359304"/>
                    </a:cubicBezTo>
                    <a:close/>
                    <a:moveTo>
                      <a:pt x="359425" y="73336"/>
                    </a:moveTo>
                    <a:lnTo>
                      <a:pt x="351289" y="71819"/>
                    </a:lnTo>
                    <a:lnTo>
                      <a:pt x="351220" y="72164"/>
                    </a:lnTo>
                    <a:cubicBezTo>
                      <a:pt x="347841" y="89257"/>
                      <a:pt x="343498" y="105661"/>
                      <a:pt x="338258" y="120894"/>
                    </a:cubicBezTo>
                    <a:lnTo>
                      <a:pt x="338119" y="121238"/>
                    </a:lnTo>
                    <a:lnTo>
                      <a:pt x="345635" y="123789"/>
                    </a:lnTo>
                    <a:cubicBezTo>
                      <a:pt x="351358" y="108005"/>
                      <a:pt x="355839" y="91256"/>
                      <a:pt x="359286" y="73680"/>
                    </a:cubicBezTo>
                    <a:lnTo>
                      <a:pt x="359425" y="73336"/>
                    </a:lnTo>
                    <a:close/>
                    <a:moveTo>
                      <a:pt x="43782" y="379499"/>
                    </a:moveTo>
                    <a:cubicBezTo>
                      <a:pt x="44057" y="379085"/>
                      <a:pt x="43368" y="374743"/>
                      <a:pt x="43368" y="374743"/>
                    </a:cubicBezTo>
                    <a:lnTo>
                      <a:pt x="42816" y="371297"/>
                    </a:lnTo>
                    <a:lnTo>
                      <a:pt x="42472" y="371366"/>
                    </a:lnTo>
                    <a:cubicBezTo>
                      <a:pt x="28751" y="373778"/>
                      <a:pt x="14479" y="375226"/>
                      <a:pt x="0" y="375846"/>
                    </a:cubicBezTo>
                    <a:lnTo>
                      <a:pt x="0" y="383910"/>
                    </a:lnTo>
                    <a:cubicBezTo>
                      <a:pt x="15031" y="383497"/>
                      <a:pt x="29716" y="381980"/>
                      <a:pt x="43782" y="379499"/>
                    </a:cubicBezTo>
                    <a:close/>
                    <a:moveTo>
                      <a:pt x="358390" y="69"/>
                    </a:moveTo>
                    <a:cubicBezTo>
                      <a:pt x="358045" y="15026"/>
                      <a:pt x="357149" y="30603"/>
                      <a:pt x="355219" y="46662"/>
                    </a:cubicBezTo>
                    <a:cubicBezTo>
                      <a:pt x="355494" y="47007"/>
                      <a:pt x="358183" y="47351"/>
                      <a:pt x="358183" y="47351"/>
                    </a:cubicBezTo>
                    <a:lnTo>
                      <a:pt x="363079" y="47972"/>
                    </a:lnTo>
                    <a:cubicBezTo>
                      <a:pt x="365354" y="31154"/>
                      <a:pt x="366319" y="15163"/>
                      <a:pt x="366388" y="0"/>
                    </a:cubicBezTo>
                    <a:lnTo>
                      <a:pt x="358390" y="0"/>
                    </a:lnTo>
                    <a:close/>
                    <a:moveTo>
                      <a:pt x="336878" y="148188"/>
                    </a:moveTo>
                    <a:cubicBezTo>
                      <a:pt x="336672" y="147705"/>
                      <a:pt x="332466" y="145982"/>
                      <a:pt x="332466" y="145982"/>
                    </a:cubicBezTo>
                    <a:lnTo>
                      <a:pt x="329363" y="144673"/>
                    </a:lnTo>
                    <a:lnTo>
                      <a:pt x="327984" y="147774"/>
                    </a:lnTo>
                    <a:cubicBezTo>
                      <a:pt x="322331" y="160388"/>
                      <a:pt x="315229" y="176102"/>
                      <a:pt x="306542" y="190094"/>
                    </a:cubicBezTo>
                    <a:cubicBezTo>
                      <a:pt x="306679" y="190577"/>
                      <a:pt x="313160" y="194436"/>
                      <a:pt x="313160" y="194436"/>
                    </a:cubicBezTo>
                    <a:cubicBezTo>
                      <a:pt x="322606" y="179893"/>
                      <a:pt x="329984" y="163489"/>
                      <a:pt x="335844" y="150325"/>
                    </a:cubicBezTo>
                    <a:lnTo>
                      <a:pt x="336878" y="148188"/>
                    </a:lnTo>
                    <a:close/>
                    <a:moveTo>
                      <a:pt x="249660" y="276250"/>
                    </a:moveTo>
                    <a:cubicBezTo>
                      <a:pt x="249660" y="275767"/>
                      <a:pt x="247109" y="273148"/>
                      <a:pt x="247109" y="273148"/>
                    </a:cubicBezTo>
                    <a:lnTo>
                      <a:pt x="244144" y="270116"/>
                    </a:lnTo>
                    <a:lnTo>
                      <a:pt x="236973" y="276526"/>
                    </a:lnTo>
                    <a:cubicBezTo>
                      <a:pt x="226079" y="286382"/>
                      <a:pt x="216151" y="295204"/>
                      <a:pt x="205188" y="302717"/>
                    </a:cubicBezTo>
                    <a:cubicBezTo>
                      <a:pt x="205119" y="303199"/>
                      <a:pt x="208567" y="307955"/>
                      <a:pt x="208567" y="307955"/>
                    </a:cubicBezTo>
                    <a:lnTo>
                      <a:pt x="209532" y="309334"/>
                    </a:lnTo>
                    <a:cubicBezTo>
                      <a:pt x="222150" y="300994"/>
                      <a:pt x="233664" y="290655"/>
                      <a:pt x="242903" y="282246"/>
                    </a:cubicBezTo>
                    <a:lnTo>
                      <a:pt x="249660" y="276250"/>
                    </a:lnTo>
                    <a:close/>
                    <a:moveTo>
                      <a:pt x="186504" y="320568"/>
                    </a:moveTo>
                    <a:lnTo>
                      <a:pt x="184435" y="317260"/>
                    </a:lnTo>
                    <a:lnTo>
                      <a:pt x="184159" y="317467"/>
                    </a:lnTo>
                    <a:cubicBezTo>
                      <a:pt x="170508" y="325876"/>
                      <a:pt x="155684" y="334629"/>
                      <a:pt x="139826" y="341590"/>
                    </a:cubicBezTo>
                    <a:cubicBezTo>
                      <a:pt x="139688" y="342073"/>
                      <a:pt x="142170" y="347518"/>
                      <a:pt x="142170" y="347518"/>
                    </a:cubicBezTo>
                    <a:lnTo>
                      <a:pt x="142791" y="348896"/>
                    </a:lnTo>
                    <a:cubicBezTo>
                      <a:pt x="159545" y="341935"/>
                      <a:pt x="174644" y="333044"/>
                      <a:pt x="188641" y="324428"/>
                    </a:cubicBezTo>
                    <a:cubicBezTo>
                      <a:pt x="188641" y="323946"/>
                      <a:pt x="186504" y="320568"/>
                      <a:pt x="186504" y="320568"/>
                    </a:cubicBezTo>
                    <a:close/>
                    <a:moveTo>
                      <a:pt x="299854" y="216630"/>
                    </a:moveTo>
                    <a:cubicBezTo>
                      <a:pt x="299785" y="216148"/>
                      <a:pt x="293511" y="211874"/>
                      <a:pt x="293511" y="211874"/>
                    </a:cubicBezTo>
                    <a:lnTo>
                      <a:pt x="293235" y="211668"/>
                    </a:lnTo>
                    <a:lnTo>
                      <a:pt x="285650" y="221937"/>
                    </a:lnTo>
                    <a:cubicBezTo>
                      <a:pt x="277652" y="232896"/>
                      <a:pt x="270275" y="242615"/>
                      <a:pt x="261656" y="251437"/>
                    </a:cubicBezTo>
                    <a:cubicBezTo>
                      <a:pt x="261656" y="251920"/>
                      <a:pt x="267310" y="257020"/>
                      <a:pt x="267310" y="257020"/>
                    </a:cubicBezTo>
                    <a:cubicBezTo>
                      <a:pt x="276618" y="247922"/>
                      <a:pt x="284271" y="237859"/>
                      <a:pt x="292545" y="226486"/>
                    </a:cubicBezTo>
                    <a:lnTo>
                      <a:pt x="299854" y="216630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B2D8E397-4175-76AD-106A-AE34232CC170}"/>
              </a:ext>
            </a:extLst>
          </p:cNvPr>
          <p:cNvGrpSpPr>
            <a:grpSpLocks noChangeAspect="1"/>
          </p:cNvGrpSpPr>
          <p:nvPr/>
        </p:nvGrpSpPr>
        <p:grpSpPr>
          <a:xfrm rot="5400000">
            <a:off x="2786848" y="4538945"/>
            <a:ext cx="1208131" cy="438528"/>
            <a:chOff x="2460593" y="1450725"/>
            <a:chExt cx="644661" cy="233999"/>
          </a:xfrm>
        </p:grpSpPr>
        <p:sp>
          <p:nvSpPr>
            <p:cNvPr id="46" name="Freeform 3">
              <a:extLst>
                <a:ext uri="{FF2B5EF4-FFF2-40B4-BE49-F238E27FC236}">
                  <a16:creationId xmlns:a16="http://schemas.microsoft.com/office/drawing/2014/main" id="{79CA5451-A648-68C8-D6EB-4775442CC83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461714" y="1450725"/>
              <a:ext cx="642419" cy="233999"/>
            </a:xfrm>
            <a:custGeom>
              <a:avLst/>
              <a:gdLst>
                <a:gd name="connsiteX0" fmla="*/ 0 w 644661"/>
                <a:gd name="connsiteY0" fmla="*/ 0 h 233999"/>
                <a:gd name="connsiteX1" fmla="*/ 644661 w 644661"/>
                <a:gd name="connsiteY1" fmla="*/ 0 h 233999"/>
                <a:gd name="connsiteX2" fmla="*/ 644661 w 644661"/>
                <a:gd name="connsiteY2" fmla="*/ 233999 h 233999"/>
                <a:gd name="connsiteX3" fmla="*/ 0 w 644661"/>
                <a:gd name="connsiteY3" fmla="*/ 233999 h 233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4661" h="233999">
                  <a:moveTo>
                    <a:pt x="0" y="0"/>
                  </a:moveTo>
                  <a:lnTo>
                    <a:pt x="644661" y="0"/>
                  </a:lnTo>
                  <a:lnTo>
                    <a:pt x="644661" y="233999"/>
                  </a:lnTo>
                  <a:lnTo>
                    <a:pt x="0" y="233999"/>
                  </a:lnTo>
                  <a:close/>
                </a:path>
              </a:pathLst>
            </a:custGeom>
            <a:solidFill>
              <a:schemeClr val="tx2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47" name="Freeform 4">
              <a:extLst>
                <a:ext uri="{FF2B5EF4-FFF2-40B4-BE49-F238E27FC236}">
                  <a16:creationId xmlns:a16="http://schemas.microsoft.com/office/drawing/2014/main" id="{90500798-3323-D2D7-AE7E-315EC041657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474382" y="1563761"/>
              <a:ext cx="613083" cy="7995"/>
            </a:xfrm>
            <a:custGeom>
              <a:avLst/>
              <a:gdLst>
                <a:gd name="connsiteX0" fmla="*/ 559580 w 613083"/>
                <a:gd name="connsiteY0" fmla="*/ 0 h 7995"/>
                <a:gd name="connsiteX1" fmla="*/ 559580 w 613083"/>
                <a:gd name="connsiteY1" fmla="*/ 7995 h 7995"/>
                <a:gd name="connsiteX2" fmla="*/ 613083 w 613083"/>
                <a:gd name="connsiteY2" fmla="*/ 7995 h 7995"/>
                <a:gd name="connsiteX3" fmla="*/ 613083 w 613083"/>
                <a:gd name="connsiteY3" fmla="*/ 0 h 7995"/>
                <a:gd name="connsiteX4" fmla="*/ 559580 w 613083"/>
                <a:gd name="connsiteY4" fmla="*/ 0 h 7995"/>
                <a:gd name="connsiteX5" fmla="*/ 479049 w 613083"/>
                <a:gd name="connsiteY5" fmla="*/ 0 h 7995"/>
                <a:gd name="connsiteX6" fmla="*/ 479049 w 613083"/>
                <a:gd name="connsiteY6" fmla="*/ 7995 h 7995"/>
                <a:gd name="connsiteX7" fmla="*/ 532552 w 613083"/>
                <a:gd name="connsiteY7" fmla="*/ 7995 h 7995"/>
                <a:gd name="connsiteX8" fmla="*/ 532552 w 613083"/>
                <a:gd name="connsiteY8" fmla="*/ 0 h 7995"/>
                <a:gd name="connsiteX9" fmla="*/ 479049 w 613083"/>
                <a:gd name="connsiteY9" fmla="*/ 0 h 7995"/>
                <a:gd name="connsiteX10" fmla="*/ 398449 w 613083"/>
                <a:gd name="connsiteY10" fmla="*/ 0 h 7995"/>
                <a:gd name="connsiteX11" fmla="*/ 398449 w 613083"/>
                <a:gd name="connsiteY11" fmla="*/ 7995 h 7995"/>
                <a:gd name="connsiteX12" fmla="*/ 451952 w 613083"/>
                <a:gd name="connsiteY12" fmla="*/ 7995 h 7995"/>
                <a:gd name="connsiteX13" fmla="*/ 451952 w 613083"/>
                <a:gd name="connsiteY13" fmla="*/ 0 h 7995"/>
                <a:gd name="connsiteX14" fmla="*/ 398449 w 613083"/>
                <a:gd name="connsiteY14" fmla="*/ 0 h 7995"/>
                <a:gd name="connsiteX15" fmla="*/ 317849 w 613083"/>
                <a:gd name="connsiteY15" fmla="*/ 0 h 7995"/>
                <a:gd name="connsiteX16" fmla="*/ 317849 w 613083"/>
                <a:gd name="connsiteY16" fmla="*/ 7995 h 7995"/>
                <a:gd name="connsiteX17" fmla="*/ 371352 w 613083"/>
                <a:gd name="connsiteY17" fmla="*/ 7995 h 7995"/>
                <a:gd name="connsiteX18" fmla="*/ 371352 w 613083"/>
                <a:gd name="connsiteY18" fmla="*/ 0 h 7995"/>
                <a:gd name="connsiteX19" fmla="*/ 317849 w 613083"/>
                <a:gd name="connsiteY19" fmla="*/ 0 h 7995"/>
                <a:gd name="connsiteX20" fmla="*/ 237318 w 613083"/>
                <a:gd name="connsiteY20" fmla="*/ 0 h 7995"/>
                <a:gd name="connsiteX21" fmla="*/ 237318 w 613083"/>
                <a:gd name="connsiteY21" fmla="*/ 7995 h 7995"/>
                <a:gd name="connsiteX22" fmla="*/ 290821 w 613083"/>
                <a:gd name="connsiteY22" fmla="*/ 7995 h 7995"/>
                <a:gd name="connsiteX23" fmla="*/ 290821 w 613083"/>
                <a:gd name="connsiteY23" fmla="*/ 0 h 7995"/>
                <a:gd name="connsiteX24" fmla="*/ 237318 w 613083"/>
                <a:gd name="connsiteY24" fmla="*/ 0 h 7995"/>
                <a:gd name="connsiteX25" fmla="*/ 156718 w 613083"/>
                <a:gd name="connsiteY25" fmla="*/ 0 h 7995"/>
                <a:gd name="connsiteX26" fmla="*/ 156718 w 613083"/>
                <a:gd name="connsiteY26" fmla="*/ 7995 h 7995"/>
                <a:gd name="connsiteX27" fmla="*/ 210222 w 613083"/>
                <a:gd name="connsiteY27" fmla="*/ 7995 h 7995"/>
                <a:gd name="connsiteX28" fmla="*/ 210222 w 613083"/>
                <a:gd name="connsiteY28" fmla="*/ 0 h 7995"/>
                <a:gd name="connsiteX29" fmla="*/ 156718 w 613083"/>
                <a:gd name="connsiteY29" fmla="*/ 0 h 7995"/>
                <a:gd name="connsiteX30" fmla="*/ 76187 w 613083"/>
                <a:gd name="connsiteY30" fmla="*/ 0 h 7995"/>
                <a:gd name="connsiteX31" fmla="*/ 76187 w 613083"/>
                <a:gd name="connsiteY31" fmla="*/ 7995 h 7995"/>
                <a:gd name="connsiteX32" fmla="*/ 129691 w 613083"/>
                <a:gd name="connsiteY32" fmla="*/ 7995 h 7995"/>
                <a:gd name="connsiteX33" fmla="*/ 129691 w 613083"/>
                <a:gd name="connsiteY33" fmla="*/ 0 h 7995"/>
                <a:gd name="connsiteX34" fmla="*/ 76187 w 613083"/>
                <a:gd name="connsiteY34" fmla="*/ 0 h 7995"/>
                <a:gd name="connsiteX35" fmla="*/ 0 w 613083"/>
                <a:gd name="connsiteY35" fmla="*/ 0 h 7995"/>
                <a:gd name="connsiteX36" fmla="*/ 0 w 613083"/>
                <a:gd name="connsiteY36" fmla="*/ 7995 h 7995"/>
                <a:gd name="connsiteX37" fmla="*/ 49091 w 613083"/>
                <a:gd name="connsiteY37" fmla="*/ 7995 h 7995"/>
                <a:gd name="connsiteX38" fmla="*/ 49091 w 613083"/>
                <a:gd name="connsiteY38" fmla="*/ 0 h 7995"/>
                <a:gd name="connsiteX39" fmla="*/ 0 w 613083"/>
                <a:gd name="connsiteY39" fmla="*/ 0 h 7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613083" h="7995">
                  <a:moveTo>
                    <a:pt x="559580" y="0"/>
                  </a:moveTo>
                  <a:cubicBezTo>
                    <a:pt x="559580" y="1792"/>
                    <a:pt x="559580" y="6203"/>
                    <a:pt x="559580" y="7995"/>
                  </a:cubicBezTo>
                  <a:cubicBezTo>
                    <a:pt x="562131" y="7995"/>
                    <a:pt x="610532" y="7995"/>
                    <a:pt x="613083" y="7995"/>
                  </a:cubicBezTo>
                  <a:cubicBezTo>
                    <a:pt x="613083" y="6203"/>
                    <a:pt x="613083" y="1792"/>
                    <a:pt x="613083" y="0"/>
                  </a:cubicBezTo>
                  <a:cubicBezTo>
                    <a:pt x="610532" y="0"/>
                    <a:pt x="562131" y="0"/>
                    <a:pt x="559580" y="0"/>
                  </a:cubicBezTo>
                  <a:close/>
                  <a:moveTo>
                    <a:pt x="479049" y="0"/>
                  </a:moveTo>
                  <a:cubicBezTo>
                    <a:pt x="479049" y="1792"/>
                    <a:pt x="479049" y="6203"/>
                    <a:pt x="479049" y="7995"/>
                  </a:cubicBezTo>
                  <a:cubicBezTo>
                    <a:pt x="481600" y="7995"/>
                    <a:pt x="530001" y="7995"/>
                    <a:pt x="532552" y="7995"/>
                  </a:cubicBezTo>
                  <a:cubicBezTo>
                    <a:pt x="532552" y="6203"/>
                    <a:pt x="532552" y="1792"/>
                    <a:pt x="532552" y="0"/>
                  </a:cubicBezTo>
                  <a:cubicBezTo>
                    <a:pt x="529932" y="0"/>
                    <a:pt x="481600" y="0"/>
                    <a:pt x="479049" y="0"/>
                  </a:cubicBezTo>
                  <a:close/>
                  <a:moveTo>
                    <a:pt x="398449" y="0"/>
                  </a:moveTo>
                  <a:cubicBezTo>
                    <a:pt x="398449" y="1792"/>
                    <a:pt x="398449" y="6203"/>
                    <a:pt x="398449" y="7995"/>
                  </a:cubicBezTo>
                  <a:cubicBezTo>
                    <a:pt x="401000" y="7995"/>
                    <a:pt x="449401" y="7995"/>
                    <a:pt x="451952" y="7995"/>
                  </a:cubicBezTo>
                  <a:cubicBezTo>
                    <a:pt x="451952" y="6203"/>
                    <a:pt x="451952" y="1792"/>
                    <a:pt x="451952" y="0"/>
                  </a:cubicBezTo>
                  <a:cubicBezTo>
                    <a:pt x="449401" y="0"/>
                    <a:pt x="401000" y="0"/>
                    <a:pt x="398449" y="0"/>
                  </a:cubicBezTo>
                  <a:close/>
                  <a:moveTo>
                    <a:pt x="317849" y="0"/>
                  </a:moveTo>
                  <a:cubicBezTo>
                    <a:pt x="317849" y="1792"/>
                    <a:pt x="317849" y="6203"/>
                    <a:pt x="317849" y="7995"/>
                  </a:cubicBezTo>
                  <a:cubicBezTo>
                    <a:pt x="320400" y="7995"/>
                    <a:pt x="368801" y="7995"/>
                    <a:pt x="371352" y="7995"/>
                  </a:cubicBezTo>
                  <a:cubicBezTo>
                    <a:pt x="371352" y="6203"/>
                    <a:pt x="371352" y="1792"/>
                    <a:pt x="371352" y="0"/>
                  </a:cubicBezTo>
                  <a:cubicBezTo>
                    <a:pt x="368801" y="0"/>
                    <a:pt x="320400" y="0"/>
                    <a:pt x="317849" y="0"/>
                  </a:cubicBezTo>
                  <a:close/>
                  <a:moveTo>
                    <a:pt x="237318" y="0"/>
                  </a:moveTo>
                  <a:cubicBezTo>
                    <a:pt x="237318" y="1792"/>
                    <a:pt x="237318" y="6203"/>
                    <a:pt x="237318" y="7995"/>
                  </a:cubicBezTo>
                  <a:cubicBezTo>
                    <a:pt x="239869" y="7995"/>
                    <a:pt x="288270" y="7995"/>
                    <a:pt x="290821" y="7995"/>
                  </a:cubicBezTo>
                  <a:cubicBezTo>
                    <a:pt x="290821" y="6203"/>
                    <a:pt x="290821" y="1792"/>
                    <a:pt x="290821" y="0"/>
                  </a:cubicBezTo>
                  <a:cubicBezTo>
                    <a:pt x="288201" y="0"/>
                    <a:pt x="239869" y="0"/>
                    <a:pt x="237318" y="0"/>
                  </a:cubicBezTo>
                  <a:close/>
                  <a:moveTo>
                    <a:pt x="156718" y="0"/>
                  </a:moveTo>
                  <a:cubicBezTo>
                    <a:pt x="156718" y="1792"/>
                    <a:pt x="156718" y="6203"/>
                    <a:pt x="156718" y="7995"/>
                  </a:cubicBezTo>
                  <a:cubicBezTo>
                    <a:pt x="159269" y="7995"/>
                    <a:pt x="207671" y="7995"/>
                    <a:pt x="210222" y="7995"/>
                  </a:cubicBezTo>
                  <a:cubicBezTo>
                    <a:pt x="210222" y="6203"/>
                    <a:pt x="210222" y="1792"/>
                    <a:pt x="210222" y="0"/>
                  </a:cubicBezTo>
                  <a:cubicBezTo>
                    <a:pt x="207671" y="0"/>
                    <a:pt x="159269" y="0"/>
                    <a:pt x="156718" y="0"/>
                  </a:cubicBezTo>
                  <a:close/>
                  <a:moveTo>
                    <a:pt x="76187" y="0"/>
                  </a:moveTo>
                  <a:cubicBezTo>
                    <a:pt x="76187" y="1792"/>
                    <a:pt x="76187" y="6203"/>
                    <a:pt x="76187" y="7995"/>
                  </a:cubicBezTo>
                  <a:cubicBezTo>
                    <a:pt x="78738" y="7995"/>
                    <a:pt x="127140" y="7995"/>
                    <a:pt x="129691" y="7995"/>
                  </a:cubicBezTo>
                  <a:cubicBezTo>
                    <a:pt x="129691" y="6203"/>
                    <a:pt x="129691" y="1792"/>
                    <a:pt x="129691" y="0"/>
                  </a:cubicBezTo>
                  <a:cubicBezTo>
                    <a:pt x="127071" y="0"/>
                    <a:pt x="78738" y="0"/>
                    <a:pt x="76187" y="0"/>
                  </a:cubicBezTo>
                  <a:close/>
                  <a:moveTo>
                    <a:pt x="0" y="0"/>
                  </a:moveTo>
                  <a:cubicBezTo>
                    <a:pt x="0" y="1792"/>
                    <a:pt x="0" y="6203"/>
                    <a:pt x="0" y="7995"/>
                  </a:cubicBezTo>
                  <a:cubicBezTo>
                    <a:pt x="2551" y="7995"/>
                    <a:pt x="46540" y="7995"/>
                    <a:pt x="49091" y="7995"/>
                  </a:cubicBezTo>
                  <a:cubicBezTo>
                    <a:pt x="49091" y="6203"/>
                    <a:pt x="49091" y="1792"/>
                    <a:pt x="49091" y="0"/>
                  </a:cubicBezTo>
                  <a:cubicBezTo>
                    <a:pt x="46540" y="0"/>
                    <a:pt x="2551" y="0"/>
                    <a:pt x="0" y="0"/>
                  </a:cubicBezTo>
                  <a:close/>
                </a:path>
              </a:pathLst>
            </a:custGeom>
            <a:solidFill>
              <a:srgbClr val="E4E4E4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grpSp>
          <p:nvGrpSpPr>
            <p:cNvPr id="48" name="Graphic 4">
              <a:extLst>
                <a:ext uri="{FF2B5EF4-FFF2-40B4-BE49-F238E27FC236}">
                  <a16:creationId xmlns:a16="http://schemas.microsoft.com/office/drawing/2014/main" id="{8C5EC977-0615-2623-DE50-603A74D04702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460593" y="1463821"/>
              <a:ext cx="644661" cy="207807"/>
              <a:chOff x="2460593" y="1463821"/>
              <a:chExt cx="644661" cy="207807"/>
            </a:xfrm>
            <a:solidFill>
              <a:srgbClr val="E4E4E4"/>
            </a:solidFill>
          </p:grpSpPr>
          <p:sp>
            <p:nvSpPr>
              <p:cNvPr id="49" name="Freeform 6">
                <a:extLst>
                  <a:ext uri="{FF2B5EF4-FFF2-40B4-BE49-F238E27FC236}">
                    <a16:creationId xmlns:a16="http://schemas.microsoft.com/office/drawing/2014/main" id="{99907433-511B-DDE2-8F8F-EF8CA723D4AE}"/>
                  </a:ext>
                </a:extLst>
              </p:cNvPr>
              <p:cNvSpPr/>
              <p:nvPr/>
            </p:nvSpPr>
            <p:spPr>
              <a:xfrm>
                <a:off x="2460593" y="1663357"/>
                <a:ext cx="644661" cy="8270"/>
              </a:xfrm>
              <a:custGeom>
                <a:avLst/>
                <a:gdLst>
                  <a:gd name="connsiteX0" fmla="*/ 0 w 644661"/>
                  <a:gd name="connsiteY0" fmla="*/ 0 h 8270"/>
                  <a:gd name="connsiteX1" fmla="*/ 644661 w 644661"/>
                  <a:gd name="connsiteY1" fmla="*/ 0 h 8270"/>
                  <a:gd name="connsiteX2" fmla="*/ 644661 w 644661"/>
                  <a:gd name="connsiteY2" fmla="*/ 8271 h 8270"/>
                  <a:gd name="connsiteX3" fmla="*/ 0 w 644661"/>
                  <a:gd name="connsiteY3" fmla="*/ 8271 h 8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4661" h="8270">
                    <a:moveTo>
                      <a:pt x="0" y="0"/>
                    </a:moveTo>
                    <a:lnTo>
                      <a:pt x="644661" y="0"/>
                    </a:lnTo>
                    <a:lnTo>
                      <a:pt x="644661" y="8271"/>
                    </a:lnTo>
                    <a:lnTo>
                      <a:pt x="0" y="8271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  <p:sp>
            <p:nvSpPr>
              <p:cNvPr id="50" name="Freeform 7">
                <a:extLst>
                  <a:ext uri="{FF2B5EF4-FFF2-40B4-BE49-F238E27FC236}">
                    <a16:creationId xmlns:a16="http://schemas.microsoft.com/office/drawing/2014/main" id="{630816C5-6B54-CCFD-20BA-C46EC57EC1EC}"/>
                  </a:ext>
                </a:extLst>
              </p:cNvPr>
              <p:cNvSpPr/>
              <p:nvPr/>
            </p:nvSpPr>
            <p:spPr>
              <a:xfrm>
                <a:off x="2460593" y="1463821"/>
                <a:ext cx="644661" cy="8270"/>
              </a:xfrm>
              <a:custGeom>
                <a:avLst/>
                <a:gdLst>
                  <a:gd name="connsiteX0" fmla="*/ 0 w 644661"/>
                  <a:gd name="connsiteY0" fmla="*/ 0 h 8270"/>
                  <a:gd name="connsiteX1" fmla="*/ 644661 w 644661"/>
                  <a:gd name="connsiteY1" fmla="*/ 0 h 8270"/>
                  <a:gd name="connsiteX2" fmla="*/ 644661 w 644661"/>
                  <a:gd name="connsiteY2" fmla="*/ 8271 h 8270"/>
                  <a:gd name="connsiteX3" fmla="*/ 0 w 644661"/>
                  <a:gd name="connsiteY3" fmla="*/ 8271 h 8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4661" h="8270">
                    <a:moveTo>
                      <a:pt x="0" y="0"/>
                    </a:moveTo>
                    <a:lnTo>
                      <a:pt x="644661" y="0"/>
                    </a:lnTo>
                    <a:lnTo>
                      <a:pt x="644661" y="8271"/>
                    </a:lnTo>
                    <a:lnTo>
                      <a:pt x="0" y="8271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2C5A8AEC-A2BB-018A-4705-8A32AD29104E}"/>
              </a:ext>
            </a:extLst>
          </p:cNvPr>
          <p:cNvGrpSpPr>
            <a:grpSpLocks noChangeAspect="1"/>
          </p:cNvGrpSpPr>
          <p:nvPr/>
        </p:nvGrpSpPr>
        <p:grpSpPr>
          <a:xfrm rot="5400000">
            <a:off x="4203668" y="4514039"/>
            <a:ext cx="1208131" cy="438528"/>
            <a:chOff x="2460593" y="1450725"/>
            <a:chExt cx="644661" cy="233999"/>
          </a:xfrm>
        </p:grpSpPr>
        <p:sp>
          <p:nvSpPr>
            <p:cNvPr id="52" name="Freeform 3">
              <a:extLst>
                <a:ext uri="{FF2B5EF4-FFF2-40B4-BE49-F238E27FC236}">
                  <a16:creationId xmlns:a16="http://schemas.microsoft.com/office/drawing/2014/main" id="{1BB07DC1-F24D-DAD5-A3D4-F3C84AB74EF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461714" y="1450725"/>
              <a:ext cx="642419" cy="233999"/>
            </a:xfrm>
            <a:custGeom>
              <a:avLst/>
              <a:gdLst>
                <a:gd name="connsiteX0" fmla="*/ 0 w 644661"/>
                <a:gd name="connsiteY0" fmla="*/ 0 h 233999"/>
                <a:gd name="connsiteX1" fmla="*/ 644661 w 644661"/>
                <a:gd name="connsiteY1" fmla="*/ 0 h 233999"/>
                <a:gd name="connsiteX2" fmla="*/ 644661 w 644661"/>
                <a:gd name="connsiteY2" fmla="*/ 233999 h 233999"/>
                <a:gd name="connsiteX3" fmla="*/ 0 w 644661"/>
                <a:gd name="connsiteY3" fmla="*/ 233999 h 233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4661" h="233999">
                  <a:moveTo>
                    <a:pt x="0" y="0"/>
                  </a:moveTo>
                  <a:lnTo>
                    <a:pt x="644661" y="0"/>
                  </a:lnTo>
                  <a:lnTo>
                    <a:pt x="644661" y="233999"/>
                  </a:lnTo>
                  <a:lnTo>
                    <a:pt x="0" y="233999"/>
                  </a:lnTo>
                  <a:close/>
                </a:path>
              </a:pathLst>
            </a:custGeom>
            <a:solidFill>
              <a:schemeClr val="tx2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53" name="Freeform 4">
              <a:extLst>
                <a:ext uri="{FF2B5EF4-FFF2-40B4-BE49-F238E27FC236}">
                  <a16:creationId xmlns:a16="http://schemas.microsoft.com/office/drawing/2014/main" id="{3AC4FDAB-5E57-EFF9-0416-392D0714ED8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474382" y="1563761"/>
              <a:ext cx="613083" cy="7995"/>
            </a:xfrm>
            <a:custGeom>
              <a:avLst/>
              <a:gdLst>
                <a:gd name="connsiteX0" fmla="*/ 559580 w 613083"/>
                <a:gd name="connsiteY0" fmla="*/ 0 h 7995"/>
                <a:gd name="connsiteX1" fmla="*/ 559580 w 613083"/>
                <a:gd name="connsiteY1" fmla="*/ 7995 h 7995"/>
                <a:gd name="connsiteX2" fmla="*/ 613083 w 613083"/>
                <a:gd name="connsiteY2" fmla="*/ 7995 h 7995"/>
                <a:gd name="connsiteX3" fmla="*/ 613083 w 613083"/>
                <a:gd name="connsiteY3" fmla="*/ 0 h 7995"/>
                <a:gd name="connsiteX4" fmla="*/ 559580 w 613083"/>
                <a:gd name="connsiteY4" fmla="*/ 0 h 7995"/>
                <a:gd name="connsiteX5" fmla="*/ 479049 w 613083"/>
                <a:gd name="connsiteY5" fmla="*/ 0 h 7995"/>
                <a:gd name="connsiteX6" fmla="*/ 479049 w 613083"/>
                <a:gd name="connsiteY6" fmla="*/ 7995 h 7995"/>
                <a:gd name="connsiteX7" fmla="*/ 532552 w 613083"/>
                <a:gd name="connsiteY7" fmla="*/ 7995 h 7995"/>
                <a:gd name="connsiteX8" fmla="*/ 532552 w 613083"/>
                <a:gd name="connsiteY8" fmla="*/ 0 h 7995"/>
                <a:gd name="connsiteX9" fmla="*/ 479049 w 613083"/>
                <a:gd name="connsiteY9" fmla="*/ 0 h 7995"/>
                <a:gd name="connsiteX10" fmla="*/ 398449 w 613083"/>
                <a:gd name="connsiteY10" fmla="*/ 0 h 7995"/>
                <a:gd name="connsiteX11" fmla="*/ 398449 w 613083"/>
                <a:gd name="connsiteY11" fmla="*/ 7995 h 7995"/>
                <a:gd name="connsiteX12" fmla="*/ 451952 w 613083"/>
                <a:gd name="connsiteY12" fmla="*/ 7995 h 7995"/>
                <a:gd name="connsiteX13" fmla="*/ 451952 w 613083"/>
                <a:gd name="connsiteY13" fmla="*/ 0 h 7995"/>
                <a:gd name="connsiteX14" fmla="*/ 398449 w 613083"/>
                <a:gd name="connsiteY14" fmla="*/ 0 h 7995"/>
                <a:gd name="connsiteX15" fmla="*/ 317849 w 613083"/>
                <a:gd name="connsiteY15" fmla="*/ 0 h 7995"/>
                <a:gd name="connsiteX16" fmla="*/ 317849 w 613083"/>
                <a:gd name="connsiteY16" fmla="*/ 7995 h 7995"/>
                <a:gd name="connsiteX17" fmla="*/ 371352 w 613083"/>
                <a:gd name="connsiteY17" fmla="*/ 7995 h 7995"/>
                <a:gd name="connsiteX18" fmla="*/ 371352 w 613083"/>
                <a:gd name="connsiteY18" fmla="*/ 0 h 7995"/>
                <a:gd name="connsiteX19" fmla="*/ 317849 w 613083"/>
                <a:gd name="connsiteY19" fmla="*/ 0 h 7995"/>
                <a:gd name="connsiteX20" fmla="*/ 237318 w 613083"/>
                <a:gd name="connsiteY20" fmla="*/ 0 h 7995"/>
                <a:gd name="connsiteX21" fmla="*/ 237318 w 613083"/>
                <a:gd name="connsiteY21" fmla="*/ 7995 h 7995"/>
                <a:gd name="connsiteX22" fmla="*/ 290821 w 613083"/>
                <a:gd name="connsiteY22" fmla="*/ 7995 h 7995"/>
                <a:gd name="connsiteX23" fmla="*/ 290821 w 613083"/>
                <a:gd name="connsiteY23" fmla="*/ 0 h 7995"/>
                <a:gd name="connsiteX24" fmla="*/ 237318 w 613083"/>
                <a:gd name="connsiteY24" fmla="*/ 0 h 7995"/>
                <a:gd name="connsiteX25" fmla="*/ 156718 w 613083"/>
                <a:gd name="connsiteY25" fmla="*/ 0 h 7995"/>
                <a:gd name="connsiteX26" fmla="*/ 156718 w 613083"/>
                <a:gd name="connsiteY26" fmla="*/ 7995 h 7995"/>
                <a:gd name="connsiteX27" fmla="*/ 210222 w 613083"/>
                <a:gd name="connsiteY27" fmla="*/ 7995 h 7995"/>
                <a:gd name="connsiteX28" fmla="*/ 210222 w 613083"/>
                <a:gd name="connsiteY28" fmla="*/ 0 h 7995"/>
                <a:gd name="connsiteX29" fmla="*/ 156718 w 613083"/>
                <a:gd name="connsiteY29" fmla="*/ 0 h 7995"/>
                <a:gd name="connsiteX30" fmla="*/ 76187 w 613083"/>
                <a:gd name="connsiteY30" fmla="*/ 0 h 7995"/>
                <a:gd name="connsiteX31" fmla="*/ 76187 w 613083"/>
                <a:gd name="connsiteY31" fmla="*/ 7995 h 7995"/>
                <a:gd name="connsiteX32" fmla="*/ 129691 w 613083"/>
                <a:gd name="connsiteY32" fmla="*/ 7995 h 7995"/>
                <a:gd name="connsiteX33" fmla="*/ 129691 w 613083"/>
                <a:gd name="connsiteY33" fmla="*/ 0 h 7995"/>
                <a:gd name="connsiteX34" fmla="*/ 76187 w 613083"/>
                <a:gd name="connsiteY34" fmla="*/ 0 h 7995"/>
                <a:gd name="connsiteX35" fmla="*/ 0 w 613083"/>
                <a:gd name="connsiteY35" fmla="*/ 0 h 7995"/>
                <a:gd name="connsiteX36" fmla="*/ 0 w 613083"/>
                <a:gd name="connsiteY36" fmla="*/ 7995 h 7995"/>
                <a:gd name="connsiteX37" fmla="*/ 49091 w 613083"/>
                <a:gd name="connsiteY37" fmla="*/ 7995 h 7995"/>
                <a:gd name="connsiteX38" fmla="*/ 49091 w 613083"/>
                <a:gd name="connsiteY38" fmla="*/ 0 h 7995"/>
                <a:gd name="connsiteX39" fmla="*/ 0 w 613083"/>
                <a:gd name="connsiteY39" fmla="*/ 0 h 7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613083" h="7995">
                  <a:moveTo>
                    <a:pt x="559580" y="0"/>
                  </a:moveTo>
                  <a:cubicBezTo>
                    <a:pt x="559580" y="1792"/>
                    <a:pt x="559580" y="6203"/>
                    <a:pt x="559580" y="7995"/>
                  </a:cubicBezTo>
                  <a:cubicBezTo>
                    <a:pt x="562131" y="7995"/>
                    <a:pt x="610532" y="7995"/>
                    <a:pt x="613083" y="7995"/>
                  </a:cubicBezTo>
                  <a:cubicBezTo>
                    <a:pt x="613083" y="6203"/>
                    <a:pt x="613083" y="1792"/>
                    <a:pt x="613083" y="0"/>
                  </a:cubicBezTo>
                  <a:cubicBezTo>
                    <a:pt x="610532" y="0"/>
                    <a:pt x="562131" y="0"/>
                    <a:pt x="559580" y="0"/>
                  </a:cubicBezTo>
                  <a:close/>
                  <a:moveTo>
                    <a:pt x="479049" y="0"/>
                  </a:moveTo>
                  <a:cubicBezTo>
                    <a:pt x="479049" y="1792"/>
                    <a:pt x="479049" y="6203"/>
                    <a:pt x="479049" y="7995"/>
                  </a:cubicBezTo>
                  <a:cubicBezTo>
                    <a:pt x="481600" y="7995"/>
                    <a:pt x="530001" y="7995"/>
                    <a:pt x="532552" y="7995"/>
                  </a:cubicBezTo>
                  <a:cubicBezTo>
                    <a:pt x="532552" y="6203"/>
                    <a:pt x="532552" y="1792"/>
                    <a:pt x="532552" y="0"/>
                  </a:cubicBezTo>
                  <a:cubicBezTo>
                    <a:pt x="529932" y="0"/>
                    <a:pt x="481600" y="0"/>
                    <a:pt x="479049" y="0"/>
                  </a:cubicBezTo>
                  <a:close/>
                  <a:moveTo>
                    <a:pt x="398449" y="0"/>
                  </a:moveTo>
                  <a:cubicBezTo>
                    <a:pt x="398449" y="1792"/>
                    <a:pt x="398449" y="6203"/>
                    <a:pt x="398449" y="7995"/>
                  </a:cubicBezTo>
                  <a:cubicBezTo>
                    <a:pt x="401000" y="7995"/>
                    <a:pt x="449401" y="7995"/>
                    <a:pt x="451952" y="7995"/>
                  </a:cubicBezTo>
                  <a:cubicBezTo>
                    <a:pt x="451952" y="6203"/>
                    <a:pt x="451952" y="1792"/>
                    <a:pt x="451952" y="0"/>
                  </a:cubicBezTo>
                  <a:cubicBezTo>
                    <a:pt x="449401" y="0"/>
                    <a:pt x="401000" y="0"/>
                    <a:pt x="398449" y="0"/>
                  </a:cubicBezTo>
                  <a:close/>
                  <a:moveTo>
                    <a:pt x="317849" y="0"/>
                  </a:moveTo>
                  <a:cubicBezTo>
                    <a:pt x="317849" y="1792"/>
                    <a:pt x="317849" y="6203"/>
                    <a:pt x="317849" y="7995"/>
                  </a:cubicBezTo>
                  <a:cubicBezTo>
                    <a:pt x="320400" y="7995"/>
                    <a:pt x="368801" y="7995"/>
                    <a:pt x="371352" y="7995"/>
                  </a:cubicBezTo>
                  <a:cubicBezTo>
                    <a:pt x="371352" y="6203"/>
                    <a:pt x="371352" y="1792"/>
                    <a:pt x="371352" y="0"/>
                  </a:cubicBezTo>
                  <a:cubicBezTo>
                    <a:pt x="368801" y="0"/>
                    <a:pt x="320400" y="0"/>
                    <a:pt x="317849" y="0"/>
                  </a:cubicBezTo>
                  <a:close/>
                  <a:moveTo>
                    <a:pt x="237318" y="0"/>
                  </a:moveTo>
                  <a:cubicBezTo>
                    <a:pt x="237318" y="1792"/>
                    <a:pt x="237318" y="6203"/>
                    <a:pt x="237318" y="7995"/>
                  </a:cubicBezTo>
                  <a:cubicBezTo>
                    <a:pt x="239869" y="7995"/>
                    <a:pt x="288270" y="7995"/>
                    <a:pt x="290821" y="7995"/>
                  </a:cubicBezTo>
                  <a:cubicBezTo>
                    <a:pt x="290821" y="6203"/>
                    <a:pt x="290821" y="1792"/>
                    <a:pt x="290821" y="0"/>
                  </a:cubicBezTo>
                  <a:cubicBezTo>
                    <a:pt x="288201" y="0"/>
                    <a:pt x="239869" y="0"/>
                    <a:pt x="237318" y="0"/>
                  </a:cubicBezTo>
                  <a:close/>
                  <a:moveTo>
                    <a:pt x="156718" y="0"/>
                  </a:moveTo>
                  <a:cubicBezTo>
                    <a:pt x="156718" y="1792"/>
                    <a:pt x="156718" y="6203"/>
                    <a:pt x="156718" y="7995"/>
                  </a:cubicBezTo>
                  <a:cubicBezTo>
                    <a:pt x="159269" y="7995"/>
                    <a:pt x="207671" y="7995"/>
                    <a:pt x="210222" y="7995"/>
                  </a:cubicBezTo>
                  <a:cubicBezTo>
                    <a:pt x="210222" y="6203"/>
                    <a:pt x="210222" y="1792"/>
                    <a:pt x="210222" y="0"/>
                  </a:cubicBezTo>
                  <a:cubicBezTo>
                    <a:pt x="207671" y="0"/>
                    <a:pt x="159269" y="0"/>
                    <a:pt x="156718" y="0"/>
                  </a:cubicBezTo>
                  <a:close/>
                  <a:moveTo>
                    <a:pt x="76187" y="0"/>
                  </a:moveTo>
                  <a:cubicBezTo>
                    <a:pt x="76187" y="1792"/>
                    <a:pt x="76187" y="6203"/>
                    <a:pt x="76187" y="7995"/>
                  </a:cubicBezTo>
                  <a:cubicBezTo>
                    <a:pt x="78738" y="7995"/>
                    <a:pt x="127140" y="7995"/>
                    <a:pt x="129691" y="7995"/>
                  </a:cubicBezTo>
                  <a:cubicBezTo>
                    <a:pt x="129691" y="6203"/>
                    <a:pt x="129691" y="1792"/>
                    <a:pt x="129691" y="0"/>
                  </a:cubicBezTo>
                  <a:cubicBezTo>
                    <a:pt x="127071" y="0"/>
                    <a:pt x="78738" y="0"/>
                    <a:pt x="76187" y="0"/>
                  </a:cubicBezTo>
                  <a:close/>
                  <a:moveTo>
                    <a:pt x="0" y="0"/>
                  </a:moveTo>
                  <a:cubicBezTo>
                    <a:pt x="0" y="1792"/>
                    <a:pt x="0" y="6203"/>
                    <a:pt x="0" y="7995"/>
                  </a:cubicBezTo>
                  <a:cubicBezTo>
                    <a:pt x="2551" y="7995"/>
                    <a:pt x="46540" y="7995"/>
                    <a:pt x="49091" y="7995"/>
                  </a:cubicBezTo>
                  <a:cubicBezTo>
                    <a:pt x="49091" y="6203"/>
                    <a:pt x="49091" y="1792"/>
                    <a:pt x="49091" y="0"/>
                  </a:cubicBezTo>
                  <a:cubicBezTo>
                    <a:pt x="46540" y="0"/>
                    <a:pt x="2551" y="0"/>
                    <a:pt x="0" y="0"/>
                  </a:cubicBezTo>
                  <a:close/>
                </a:path>
              </a:pathLst>
            </a:custGeom>
            <a:solidFill>
              <a:srgbClr val="E4E4E4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grpSp>
          <p:nvGrpSpPr>
            <p:cNvPr id="54" name="Graphic 4">
              <a:extLst>
                <a:ext uri="{FF2B5EF4-FFF2-40B4-BE49-F238E27FC236}">
                  <a16:creationId xmlns:a16="http://schemas.microsoft.com/office/drawing/2014/main" id="{8DAE36C4-606F-14A5-360D-EF1439AF1898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460593" y="1463821"/>
              <a:ext cx="644661" cy="207807"/>
              <a:chOff x="2460593" y="1463821"/>
              <a:chExt cx="644661" cy="207807"/>
            </a:xfrm>
            <a:solidFill>
              <a:srgbClr val="E4E4E4"/>
            </a:solidFill>
          </p:grpSpPr>
          <p:sp>
            <p:nvSpPr>
              <p:cNvPr id="55" name="Freeform 6">
                <a:extLst>
                  <a:ext uri="{FF2B5EF4-FFF2-40B4-BE49-F238E27FC236}">
                    <a16:creationId xmlns:a16="http://schemas.microsoft.com/office/drawing/2014/main" id="{577BA0AE-CC3C-9F5A-073B-0292D9BF0149}"/>
                  </a:ext>
                </a:extLst>
              </p:cNvPr>
              <p:cNvSpPr/>
              <p:nvPr/>
            </p:nvSpPr>
            <p:spPr>
              <a:xfrm>
                <a:off x="2460593" y="1663357"/>
                <a:ext cx="644661" cy="8270"/>
              </a:xfrm>
              <a:custGeom>
                <a:avLst/>
                <a:gdLst>
                  <a:gd name="connsiteX0" fmla="*/ 0 w 644661"/>
                  <a:gd name="connsiteY0" fmla="*/ 0 h 8270"/>
                  <a:gd name="connsiteX1" fmla="*/ 644661 w 644661"/>
                  <a:gd name="connsiteY1" fmla="*/ 0 h 8270"/>
                  <a:gd name="connsiteX2" fmla="*/ 644661 w 644661"/>
                  <a:gd name="connsiteY2" fmla="*/ 8271 h 8270"/>
                  <a:gd name="connsiteX3" fmla="*/ 0 w 644661"/>
                  <a:gd name="connsiteY3" fmla="*/ 8271 h 8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4661" h="8270">
                    <a:moveTo>
                      <a:pt x="0" y="0"/>
                    </a:moveTo>
                    <a:lnTo>
                      <a:pt x="644661" y="0"/>
                    </a:lnTo>
                    <a:lnTo>
                      <a:pt x="644661" y="8271"/>
                    </a:lnTo>
                    <a:lnTo>
                      <a:pt x="0" y="8271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  <p:sp>
            <p:nvSpPr>
              <p:cNvPr id="56" name="Freeform 7">
                <a:extLst>
                  <a:ext uri="{FF2B5EF4-FFF2-40B4-BE49-F238E27FC236}">
                    <a16:creationId xmlns:a16="http://schemas.microsoft.com/office/drawing/2014/main" id="{96CEA920-B412-CC5E-8E1F-EAF51CC0DD7B}"/>
                  </a:ext>
                </a:extLst>
              </p:cNvPr>
              <p:cNvSpPr/>
              <p:nvPr/>
            </p:nvSpPr>
            <p:spPr>
              <a:xfrm>
                <a:off x="2460593" y="1463821"/>
                <a:ext cx="644661" cy="8270"/>
              </a:xfrm>
              <a:custGeom>
                <a:avLst/>
                <a:gdLst>
                  <a:gd name="connsiteX0" fmla="*/ 0 w 644661"/>
                  <a:gd name="connsiteY0" fmla="*/ 0 h 8270"/>
                  <a:gd name="connsiteX1" fmla="*/ 644661 w 644661"/>
                  <a:gd name="connsiteY1" fmla="*/ 0 h 8270"/>
                  <a:gd name="connsiteX2" fmla="*/ 644661 w 644661"/>
                  <a:gd name="connsiteY2" fmla="*/ 8271 h 8270"/>
                  <a:gd name="connsiteX3" fmla="*/ 0 w 644661"/>
                  <a:gd name="connsiteY3" fmla="*/ 8271 h 8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4661" h="8270">
                    <a:moveTo>
                      <a:pt x="0" y="0"/>
                    </a:moveTo>
                    <a:lnTo>
                      <a:pt x="644661" y="0"/>
                    </a:lnTo>
                    <a:lnTo>
                      <a:pt x="644661" y="8271"/>
                    </a:lnTo>
                    <a:lnTo>
                      <a:pt x="0" y="8271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</p:grpSp>
      <p:grpSp>
        <p:nvGrpSpPr>
          <p:cNvPr id="477" name="Group 476">
            <a:extLst>
              <a:ext uri="{FF2B5EF4-FFF2-40B4-BE49-F238E27FC236}">
                <a16:creationId xmlns:a16="http://schemas.microsoft.com/office/drawing/2014/main" id="{2A00E67F-D0CE-9419-B43A-F66029BA58D9}"/>
              </a:ext>
            </a:extLst>
          </p:cNvPr>
          <p:cNvGrpSpPr>
            <a:grpSpLocks noChangeAspect="1"/>
          </p:cNvGrpSpPr>
          <p:nvPr/>
        </p:nvGrpSpPr>
        <p:grpSpPr>
          <a:xfrm rot="10800000" flipH="1">
            <a:off x="8329625" y="2269397"/>
            <a:ext cx="950400" cy="928723"/>
            <a:chOff x="2877933" y="261637"/>
            <a:chExt cx="495803" cy="495636"/>
          </a:xfrm>
        </p:grpSpPr>
        <p:grpSp>
          <p:nvGrpSpPr>
            <p:cNvPr id="478" name="Graphic 4">
              <a:extLst>
                <a:ext uri="{FF2B5EF4-FFF2-40B4-BE49-F238E27FC236}">
                  <a16:creationId xmlns:a16="http://schemas.microsoft.com/office/drawing/2014/main" id="{C0A1C931-0B8E-5A0D-6C05-5226C689B64C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878002" y="261637"/>
              <a:ext cx="495734" cy="495636"/>
              <a:chOff x="2878002" y="261637"/>
              <a:chExt cx="495734" cy="495636"/>
            </a:xfrm>
          </p:grpSpPr>
          <p:sp>
            <p:nvSpPr>
              <p:cNvPr id="480" name="Freeform 160">
                <a:extLst>
                  <a:ext uri="{FF2B5EF4-FFF2-40B4-BE49-F238E27FC236}">
                    <a16:creationId xmlns:a16="http://schemas.microsoft.com/office/drawing/2014/main" id="{F438954D-3C8C-335B-364A-DF6CEC80AE98}"/>
                  </a:ext>
                </a:extLst>
              </p:cNvPr>
              <p:cNvSpPr/>
              <p:nvPr/>
            </p:nvSpPr>
            <p:spPr>
              <a:xfrm>
                <a:off x="2878002" y="261637"/>
                <a:ext cx="495734" cy="495568"/>
              </a:xfrm>
              <a:custGeom>
                <a:avLst/>
                <a:gdLst>
                  <a:gd name="connsiteX0" fmla="*/ 0 w 495734"/>
                  <a:gd name="connsiteY0" fmla="*/ 0 h 495568"/>
                  <a:gd name="connsiteX1" fmla="*/ 0 w 495734"/>
                  <a:gd name="connsiteY1" fmla="*/ 233999 h 495568"/>
                  <a:gd name="connsiteX2" fmla="*/ 261657 w 495734"/>
                  <a:gd name="connsiteY2" fmla="*/ 495568 h 495568"/>
                  <a:gd name="connsiteX3" fmla="*/ 495734 w 495734"/>
                  <a:gd name="connsiteY3" fmla="*/ 495568 h 495568"/>
                  <a:gd name="connsiteX4" fmla="*/ 0 w 495734"/>
                  <a:gd name="connsiteY4" fmla="*/ 0 h 4955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95734" h="495568">
                    <a:moveTo>
                      <a:pt x="0" y="0"/>
                    </a:moveTo>
                    <a:lnTo>
                      <a:pt x="0" y="233999"/>
                    </a:lnTo>
                    <a:cubicBezTo>
                      <a:pt x="144239" y="233999"/>
                      <a:pt x="261657" y="351309"/>
                      <a:pt x="261657" y="495568"/>
                    </a:cubicBezTo>
                    <a:lnTo>
                      <a:pt x="495734" y="495568"/>
                    </a:lnTo>
                    <a:cubicBezTo>
                      <a:pt x="495734" y="222351"/>
                      <a:pt x="273309" y="0"/>
                      <a:pt x="0" y="0"/>
                    </a:cubicBezTo>
                    <a:close/>
                  </a:path>
                </a:pathLst>
              </a:custGeom>
              <a:solidFill>
                <a:schemeClr val="tx2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  <p:sp>
            <p:nvSpPr>
              <p:cNvPr id="481" name="Freeform 161">
                <a:extLst>
                  <a:ext uri="{FF2B5EF4-FFF2-40B4-BE49-F238E27FC236}">
                    <a16:creationId xmlns:a16="http://schemas.microsoft.com/office/drawing/2014/main" id="{CC86FBBD-4614-0432-FEC5-530368CE07EE}"/>
                  </a:ext>
                </a:extLst>
              </p:cNvPr>
              <p:cNvSpPr/>
              <p:nvPr/>
            </p:nvSpPr>
            <p:spPr>
              <a:xfrm>
                <a:off x="2878002" y="274733"/>
                <a:ext cx="482703" cy="482541"/>
              </a:xfrm>
              <a:custGeom>
                <a:avLst/>
                <a:gdLst>
                  <a:gd name="connsiteX0" fmla="*/ 0 w 482703"/>
                  <a:gd name="connsiteY0" fmla="*/ 199606 h 482541"/>
                  <a:gd name="connsiteX1" fmla="*/ 0 w 482703"/>
                  <a:gd name="connsiteY1" fmla="*/ 207877 h 482541"/>
                  <a:gd name="connsiteX2" fmla="*/ 274757 w 482703"/>
                  <a:gd name="connsiteY2" fmla="*/ 482541 h 482541"/>
                  <a:gd name="connsiteX3" fmla="*/ 283031 w 482703"/>
                  <a:gd name="connsiteY3" fmla="*/ 482541 h 482541"/>
                  <a:gd name="connsiteX4" fmla="*/ 0 w 482703"/>
                  <a:gd name="connsiteY4" fmla="*/ 199606 h 482541"/>
                  <a:gd name="connsiteX5" fmla="*/ 0 w 482703"/>
                  <a:gd name="connsiteY5" fmla="*/ 0 h 482541"/>
                  <a:gd name="connsiteX6" fmla="*/ 0 w 482703"/>
                  <a:gd name="connsiteY6" fmla="*/ 8271 h 482541"/>
                  <a:gd name="connsiteX7" fmla="*/ 474429 w 482703"/>
                  <a:gd name="connsiteY7" fmla="*/ 482541 h 482541"/>
                  <a:gd name="connsiteX8" fmla="*/ 482703 w 482703"/>
                  <a:gd name="connsiteY8" fmla="*/ 482541 h 482541"/>
                  <a:gd name="connsiteX9" fmla="*/ 0 w 482703"/>
                  <a:gd name="connsiteY9" fmla="*/ 0 h 4825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82703" h="482541">
                    <a:moveTo>
                      <a:pt x="0" y="199606"/>
                    </a:moveTo>
                    <a:lnTo>
                      <a:pt x="0" y="207877"/>
                    </a:lnTo>
                    <a:cubicBezTo>
                      <a:pt x="151478" y="207877"/>
                      <a:pt x="274757" y="331114"/>
                      <a:pt x="274757" y="482541"/>
                    </a:cubicBezTo>
                    <a:lnTo>
                      <a:pt x="283031" y="482541"/>
                    </a:lnTo>
                    <a:cubicBezTo>
                      <a:pt x="282962" y="326496"/>
                      <a:pt x="156029" y="199606"/>
                      <a:pt x="0" y="199606"/>
                    </a:cubicBezTo>
                    <a:close/>
                    <a:moveTo>
                      <a:pt x="0" y="0"/>
                    </a:moveTo>
                    <a:lnTo>
                      <a:pt x="0" y="8271"/>
                    </a:lnTo>
                    <a:cubicBezTo>
                      <a:pt x="261588" y="8271"/>
                      <a:pt x="474429" y="221041"/>
                      <a:pt x="474429" y="482541"/>
                    </a:cubicBezTo>
                    <a:lnTo>
                      <a:pt x="482703" y="482541"/>
                    </a:lnTo>
                    <a:cubicBezTo>
                      <a:pt x="482634" y="216492"/>
                      <a:pt x="266138" y="0"/>
                      <a:pt x="0" y="0"/>
                    </a:cubicBez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  <p:sp>
          <p:nvSpPr>
            <p:cNvPr id="479" name="Freeform 159">
              <a:extLst>
                <a:ext uri="{FF2B5EF4-FFF2-40B4-BE49-F238E27FC236}">
                  <a16:creationId xmlns:a16="http://schemas.microsoft.com/office/drawing/2014/main" id="{A15BD6F8-2329-FD9E-3582-6F92B22E79C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877933" y="373295"/>
              <a:ext cx="384038" cy="366334"/>
            </a:xfrm>
            <a:custGeom>
              <a:avLst/>
              <a:gdLst>
                <a:gd name="connsiteX0" fmla="*/ 359493 w 384038"/>
                <a:gd name="connsiteY0" fmla="*/ 247371 h 366334"/>
                <a:gd name="connsiteX1" fmla="*/ 351978 w 384038"/>
                <a:gd name="connsiteY1" fmla="*/ 249921 h 366334"/>
                <a:gd name="connsiteX2" fmla="*/ 351633 w 384038"/>
                <a:gd name="connsiteY2" fmla="*/ 250059 h 366334"/>
                <a:gd name="connsiteX3" fmla="*/ 351771 w 384038"/>
                <a:gd name="connsiteY3" fmla="*/ 250403 h 366334"/>
                <a:gd name="connsiteX4" fmla="*/ 366526 w 384038"/>
                <a:gd name="connsiteY4" fmla="*/ 298650 h 366334"/>
                <a:gd name="connsiteX5" fmla="*/ 370525 w 384038"/>
                <a:gd name="connsiteY5" fmla="*/ 298099 h 366334"/>
                <a:gd name="connsiteX6" fmla="*/ 374317 w 384038"/>
                <a:gd name="connsiteY6" fmla="*/ 297203 h 366334"/>
                <a:gd name="connsiteX7" fmla="*/ 359493 w 384038"/>
                <a:gd name="connsiteY7" fmla="*/ 247371 h 366334"/>
                <a:gd name="connsiteX8" fmla="*/ 73360 w 384038"/>
                <a:gd name="connsiteY8" fmla="*/ 7030 h 366334"/>
                <a:gd name="connsiteX9" fmla="*/ 71843 w 384038"/>
                <a:gd name="connsiteY9" fmla="*/ 15163 h 366334"/>
                <a:gd name="connsiteX10" fmla="*/ 72188 w 384038"/>
                <a:gd name="connsiteY10" fmla="*/ 15232 h 366334"/>
                <a:gd name="connsiteX11" fmla="*/ 120934 w 384038"/>
                <a:gd name="connsiteY11" fmla="*/ 28190 h 366334"/>
                <a:gd name="connsiteX12" fmla="*/ 121279 w 384038"/>
                <a:gd name="connsiteY12" fmla="*/ 28328 h 366334"/>
                <a:gd name="connsiteX13" fmla="*/ 123830 w 384038"/>
                <a:gd name="connsiteY13" fmla="*/ 20815 h 366334"/>
                <a:gd name="connsiteX14" fmla="*/ 73705 w 384038"/>
                <a:gd name="connsiteY14" fmla="*/ 7168 h 366334"/>
                <a:gd name="connsiteX15" fmla="*/ 73360 w 384038"/>
                <a:gd name="connsiteY15" fmla="*/ 7030 h 366334"/>
                <a:gd name="connsiteX16" fmla="*/ 379626 w 384038"/>
                <a:gd name="connsiteY16" fmla="*/ 322567 h 366334"/>
                <a:gd name="connsiteX17" fmla="*/ 374869 w 384038"/>
                <a:gd name="connsiteY17" fmla="*/ 322981 h 366334"/>
                <a:gd name="connsiteX18" fmla="*/ 371421 w 384038"/>
                <a:gd name="connsiteY18" fmla="*/ 323532 h 366334"/>
                <a:gd name="connsiteX19" fmla="*/ 371490 w 384038"/>
                <a:gd name="connsiteY19" fmla="*/ 323877 h 366334"/>
                <a:gd name="connsiteX20" fmla="*/ 375972 w 384038"/>
                <a:gd name="connsiteY20" fmla="*/ 366334 h 366334"/>
                <a:gd name="connsiteX21" fmla="*/ 384039 w 384038"/>
                <a:gd name="connsiteY21" fmla="*/ 366334 h 366334"/>
                <a:gd name="connsiteX22" fmla="*/ 379626 w 384038"/>
                <a:gd name="connsiteY22" fmla="*/ 322567 h 366334"/>
                <a:gd name="connsiteX23" fmla="*/ 69 w 384038"/>
                <a:gd name="connsiteY23" fmla="*/ 8064 h 366334"/>
                <a:gd name="connsiteX24" fmla="*/ 46678 w 384038"/>
                <a:gd name="connsiteY24" fmla="*/ 11166 h 366334"/>
                <a:gd name="connsiteX25" fmla="*/ 47367 w 384038"/>
                <a:gd name="connsiteY25" fmla="*/ 8202 h 366334"/>
                <a:gd name="connsiteX26" fmla="*/ 47988 w 384038"/>
                <a:gd name="connsiteY26" fmla="*/ 3308 h 366334"/>
                <a:gd name="connsiteX27" fmla="*/ 0 w 384038"/>
                <a:gd name="connsiteY27" fmla="*/ 0 h 366334"/>
                <a:gd name="connsiteX28" fmla="*/ 0 w 384038"/>
                <a:gd name="connsiteY28" fmla="*/ 8064 h 366334"/>
                <a:gd name="connsiteX29" fmla="*/ 148238 w 384038"/>
                <a:gd name="connsiteY29" fmla="*/ 29569 h 366334"/>
                <a:gd name="connsiteX30" fmla="*/ 146031 w 384038"/>
                <a:gd name="connsiteY30" fmla="*/ 33980 h 366334"/>
                <a:gd name="connsiteX31" fmla="*/ 144790 w 384038"/>
                <a:gd name="connsiteY31" fmla="*/ 37081 h 366334"/>
                <a:gd name="connsiteX32" fmla="*/ 147893 w 384038"/>
                <a:gd name="connsiteY32" fmla="*/ 38460 h 366334"/>
                <a:gd name="connsiteX33" fmla="*/ 190227 w 384038"/>
                <a:gd name="connsiteY33" fmla="*/ 59895 h 366334"/>
                <a:gd name="connsiteX34" fmla="*/ 194570 w 384038"/>
                <a:gd name="connsiteY34" fmla="*/ 53279 h 366334"/>
                <a:gd name="connsiteX35" fmla="*/ 150444 w 384038"/>
                <a:gd name="connsiteY35" fmla="*/ 30603 h 366334"/>
                <a:gd name="connsiteX36" fmla="*/ 148238 w 384038"/>
                <a:gd name="connsiteY36" fmla="*/ 29569 h 366334"/>
                <a:gd name="connsiteX37" fmla="*/ 276342 w 384038"/>
                <a:gd name="connsiteY37" fmla="*/ 116758 h 366334"/>
                <a:gd name="connsiteX38" fmla="*/ 273240 w 384038"/>
                <a:gd name="connsiteY38" fmla="*/ 119309 h 366334"/>
                <a:gd name="connsiteX39" fmla="*/ 270206 w 384038"/>
                <a:gd name="connsiteY39" fmla="*/ 122272 h 366334"/>
                <a:gd name="connsiteX40" fmla="*/ 276618 w 384038"/>
                <a:gd name="connsiteY40" fmla="*/ 129440 h 366334"/>
                <a:gd name="connsiteX41" fmla="*/ 302818 w 384038"/>
                <a:gd name="connsiteY41" fmla="*/ 161215 h 366334"/>
                <a:gd name="connsiteX42" fmla="*/ 308058 w 384038"/>
                <a:gd name="connsiteY42" fmla="*/ 157837 h 366334"/>
                <a:gd name="connsiteX43" fmla="*/ 309437 w 384038"/>
                <a:gd name="connsiteY43" fmla="*/ 156872 h 366334"/>
                <a:gd name="connsiteX44" fmla="*/ 282341 w 384038"/>
                <a:gd name="connsiteY44" fmla="*/ 123513 h 366334"/>
                <a:gd name="connsiteX45" fmla="*/ 276342 w 384038"/>
                <a:gd name="connsiteY45" fmla="*/ 116758 h 366334"/>
                <a:gd name="connsiteX46" fmla="*/ 320676 w 384038"/>
                <a:gd name="connsiteY46" fmla="*/ 179962 h 366334"/>
                <a:gd name="connsiteX47" fmla="*/ 317366 w 384038"/>
                <a:gd name="connsiteY47" fmla="*/ 182030 h 366334"/>
                <a:gd name="connsiteX48" fmla="*/ 317573 w 384038"/>
                <a:gd name="connsiteY48" fmla="*/ 182306 h 366334"/>
                <a:gd name="connsiteX49" fmla="*/ 341705 w 384038"/>
                <a:gd name="connsiteY49" fmla="*/ 226624 h 366334"/>
                <a:gd name="connsiteX50" fmla="*/ 347634 w 384038"/>
                <a:gd name="connsiteY50" fmla="*/ 224281 h 366334"/>
                <a:gd name="connsiteX51" fmla="*/ 349013 w 384038"/>
                <a:gd name="connsiteY51" fmla="*/ 223660 h 366334"/>
                <a:gd name="connsiteX52" fmla="*/ 324537 w 384038"/>
                <a:gd name="connsiteY52" fmla="*/ 177826 h 366334"/>
                <a:gd name="connsiteX53" fmla="*/ 320676 w 384038"/>
                <a:gd name="connsiteY53" fmla="*/ 179962 h 366334"/>
                <a:gd name="connsiteX54" fmla="*/ 216772 w 384038"/>
                <a:gd name="connsiteY54" fmla="*/ 66581 h 366334"/>
                <a:gd name="connsiteX55" fmla="*/ 212014 w 384038"/>
                <a:gd name="connsiteY55" fmla="*/ 72922 h 366334"/>
                <a:gd name="connsiteX56" fmla="*/ 211807 w 384038"/>
                <a:gd name="connsiteY56" fmla="*/ 73198 h 366334"/>
                <a:gd name="connsiteX57" fmla="*/ 222081 w 384038"/>
                <a:gd name="connsiteY57" fmla="*/ 80780 h 366334"/>
                <a:gd name="connsiteX58" fmla="*/ 251590 w 384038"/>
                <a:gd name="connsiteY58" fmla="*/ 104765 h 366334"/>
                <a:gd name="connsiteX59" fmla="*/ 257175 w 384038"/>
                <a:gd name="connsiteY59" fmla="*/ 99114 h 366334"/>
                <a:gd name="connsiteX60" fmla="*/ 226631 w 384038"/>
                <a:gd name="connsiteY60" fmla="*/ 73887 h 366334"/>
                <a:gd name="connsiteX61" fmla="*/ 216772 w 384038"/>
                <a:gd name="connsiteY61" fmla="*/ 66581 h 366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384038" h="366334">
                  <a:moveTo>
                    <a:pt x="359493" y="247371"/>
                  </a:moveTo>
                  <a:cubicBezTo>
                    <a:pt x="359080" y="247164"/>
                    <a:pt x="351978" y="249921"/>
                    <a:pt x="351978" y="249921"/>
                  </a:cubicBezTo>
                  <a:lnTo>
                    <a:pt x="351633" y="250059"/>
                  </a:lnTo>
                  <a:lnTo>
                    <a:pt x="351771" y="250403"/>
                  </a:lnTo>
                  <a:cubicBezTo>
                    <a:pt x="358252" y="267083"/>
                    <a:pt x="363010" y="282798"/>
                    <a:pt x="366526" y="298650"/>
                  </a:cubicBezTo>
                  <a:cubicBezTo>
                    <a:pt x="366940" y="298926"/>
                    <a:pt x="370525" y="298099"/>
                    <a:pt x="370525" y="298099"/>
                  </a:cubicBezTo>
                  <a:lnTo>
                    <a:pt x="374317" y="297203"/>
                  </a:lnTo>
                  <a:cubicBezTo>
                    <a:pt x="371008" y="280592"/>
                    <a:pt x="366043" y="264464"/>
                    <a:pt x="359493" y="247371"/>
                  </a:cubicBezTo>
                  <a:close/>
                  <a:moveTo>
                    <a:pt x="73360" y="7030"/>
                  </a:moveTo>
                  <a:lnTo>
                    <a:pt x="71843" y="15163"/>
                  </a:lnTo>
                  <a:lnTo>
                    <a:pt x="72188" y="15232"/>
                  </a:lnTo>
                  <a:cubicBezTo>
                    <a:pt x="89287" y="18610"/>
                    <a:pt x="105697" y="22952"/>
                    <a:pt x="120934" y="28190"/>
                  </a:cubicBezTo>
                  <a:lnTo>
                    <a:pt x="121279" y="28328"/>
                  </a:lnTo>
                  <a:lnTo>
                    <a:pt x="123830" y="20815"/>
                  </a:lnTo>
                  <a:cubicBezTo>
                    <a:pt x="108041" y="15094"/>
                    <a:pt x="91287" y="10614"/>
                    <a:pt x="73705" y="7168"/>
                  </a:cubicBezTo>
                  <a:lnTo>
                    <a:pt x="73360" y="7030"/>
                  </a:lnTo>
                  <a:close/>
                  <a:moveTo>
                    <a:pt x="379626" y="322567"/>
                  </a:moveTo>
                  <a:cubicBezTo>
                    <a:pt x="379212" y="322292"/>
                    <a:pt x="374869" y="322981"/>
                    <a:pt x="374869" y="322981"/>
                  </a:cubicBezTo>
                  <a:lnTo>
                    <a:pt x="371421" y="323532"/>
                  </a:lnTo>
                  <a:lnTo>
                    <a:pt x="371490" y="323877"/>
                  </a:lnTo>
                  <a:cubicBezTo>
                    <a:pt x="373903" y="337593"/>
                    <a:pt x="375351" y="351860"/>
                    <a:pt x="375972" y="366334"/>
                  </a:cubicBezTo>
                  <a:lnTo>
                    <a:pt x="384039" y="366334"/>
                  </a:lnTo>
                  <a:cubicBezTo>
                    <a:pt x="383625" y="351309"/>
                    <a:pt x="382108" y="336628"/>
                    <a:pt x="379626" y="322567"/>
                  </a:cubicBezTo>
                  <a:close/>
                  <a:moveTo>
                    <a:pt x="69" y="8064"/>
                  </a:moveTo>
                  <a:cubicBezTo>
                    <a:pt x="15100" y="8409"/>
                    <a:pt x="30613" y="9305"/>
                    <a:pt x="46678" y="11166"/>
                  </a:cubicBezTo>
                  <a:cubicBezTo>
                    <a:pt x="47091" y="10890"/>
                    <a:pt x="47367" y="8202"/>
                    <a:pt x="47367" y="8202"/>
                  </a:cubicBezTo>
                  <a:lnTo>
                    <a:pt x="47988" y="3308"/>
                  </a:lnTo>
                  <a:cubicBezTo>
                    <a:pt x="31164" y="1034"/>
                    <a:pt x="15168" y="69"/>
                    <a:pt x="0" y="0"/>
                  </a:cubicBezTo>
                  <a:lnTo>
                    <a:pt x="0" y="8064"/>
                  </a:lnTo>
                  <a:close/>
                  <a:moveTo>
                    <a:pt x="148238" y="29569"/>
                  </a:moveTo>
                  <a:cubicBezTo>
                    <a:pt x="147755" y="29775"/>
                    <a:pt x="146031" y="33980"/>
                    <a:pt x="146031" y="33980"/>
                  </a:cubicBezTo>
                  <a:lnTo>
                    <a:pt x="144790" y="37081"/>
                  </a:lnTo>
                  <a:lnTo>
                    <a:pt x="147893" y="38460"/>
                  </a:lnTo>
                  <a:cubicBezTo>
                    <a:pt x="160510" y="44112"/>
                    <a:pt x="176230" y="51211"/>
                    <a:pt x="190227" y="59895"/>
                  </a:cubicBezTo>
                  <a:cubicBezTo>
                    <a:pt x="190709" y="59758"/>
                    <a:pt x="194570" y="53279"/>
                    <a:pt x="194570" y="53279"/>
                  </a:cubicBezTo>
                  <a:cubicBezTo>
                    <a:pt x="180022" y="43836"/>
                    <a:pt x="163613" y="36461"/>
                    <a:pt x="150444" y="30603"/>
                  </a:cubicBezTo>
                  <a:lnTo>
                    <a:pt x="148238" y="29569"/>
                  </a:lnTo>
                  <a:close/>
                  <a:moveTo>
                    <a:pt x="276342" y="116758"/>
                  </a:moveTo>
                  <a:cubicBezTo>
                    <a:pt x="275860" y="116758"/>
                    <a:pt x="273240" y="119309"/>
                    <a:pt x="273240" y="119309"/>
                  </a:cubicBezTo>
                  <a:lnTo>
                    <a:pt x="270206" y="122272"/>
                  </a:lnTo>
                  <a:lnTo>
                    <a:pt x="276618" y="129440"/>
                  </a:lnTo>
                  <a:cubicBezTo>
                    <a:pt x="286478" y="140331"/>
                    <a:pt x="295303" y="150256"/>
                    <a:pt x="302818" y="161215"/>
                  </a:cubicBezTo>
                  <a:cubicBezTo>
                    <a:pt x="303301" y="161284"/>
                    <a:pt x="308058" y="157837"/>
                    <a:pt x="308058" y="157837"/>
                  </a:cubicBezTo>
                  <a:lnTo>
                    <a:pt x="309437" y="156872"/>
                  </a:lnTo>
                  <a:cubicBezTo>
                    <a:pt x="301095" y="144259"/>
                    <a:pt x="290752" y="132749"/>
                    <a:pt x="282341" y="123513"/>
                  </a:cubicBezTo>
                  <a:lnTo>
                    <a:pt x="276342" y="116758"/>
                  </a:lnTo>
                  <a:close/>
                  <a:moveTo>
                    <a:pt x="320676" y="179962"/>
                  </a:moveTo>
                  <a:lnTo>
                    <a:pt x="317366" y="182030"/>
                  </a:lnTo>
                  <a:lnTo>
                    <a:pt x="317573" y="182306"/>
                  </a:lnTo>
                  <a:cubicBezTo>
                    <a:pt x="325985" y="195953"/>
                    <a:pt x="334741" y="210771"/>
                    <a:pt x="341705" y="226624"/>
                  </a:cubicBezTo>
                  <a:cubicBezTo>
                    <a:pt x="342188" y="226762"/>
                    <a:pt x="347634" y="224281"/>
                    <a:pt x="347634" y="224281"/>
                  </a:cubicBezTo>
                  <a:lnTo>
                    <a:pt x="349013" y="223660"/>
                  </a:lnTo>
                  <a:cubicBezTo>
                    <a:pt x="342050" y="206912"/>
                    <a:pt x="333155" y="191817"/>
                    <a:pt x="324537" y="177826"/>
                  </a:cubicBezTo>
                  <a:cubicBezTo>
                    <a:pt x="324054" y="177757"/>
                    <a:pt x="320676" y="179962"/>
                    <a:pt x="320676" y="179962"/>
                  </a:cubicBezTo>
                  <a:close/>
                  <a:moveTo>
                    <a:pt x="216772" y="66581"/>
                  </a:moveTo>
                  <a:cubicBezTo>
                    <a:pt x="216289" y="66650"/>
                    <a:pt x="212014" y="72922"/>
                    <a:pt x="212014" y="72922"/>
                  </a:cubicBezTo>
                  <a:lnTo>
                    <a:pt x="211807" y="73198"/>
                  </a:lnTo>
                  <a:lnTo>
                    <a:pt x="222081" y="80780"/>
                  </a:lnTo>
                  <a:cubicBezTo>
                    <a:pt x="233043" y="88775"/>
                    <a:pt x="242765" y="96150"/>
                    <a:pt x="251590" y="104765"/>
                  </a:cubicBezTo>
                  <a:cubicBezTo>
                    <a:pt x="252073" y="104765"/>
                    <a:pt x="257175" y="99114"/>
                    <a:pt x="257175" y="99114"/>
                  </a:cubicBezTo>
                  <a:cubicBezTo>
                    <a:pt x="248074" y="89809"/>
                    <a:pt x="238007" y="82158"/>
                    <a:pt x="226631" y="73887"/>
                  </a:cubicBezTo>
                  <a:lnTo>
                    <a:pt x="216772" y="66581"/>
                  </a:lnTo>
                  <a:close/>
                </a:path>
              </a:pathLst>
            </a:custGeom>
            <a:solidFill>
              <a:srgbClr val="E4E4E4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</p:grpSp>
      <p:sp>
        <p:nvSpPr>
          <p:cNvPr id="483" name="Content Placeholder 2">
            <a:extLst>
              <a:ext uri="{FF2B5EF4-FFF2-40B4-BE49-F238E27FC236}">
                <a16:creationId xmlns:a16="http://schemas.microsoft.com/office/drawing/2014/main" id="{76F31837-8232-8E1A-A2CF-238D1E818F9B}"/>
              </a:ext>
            </a:extLst>
          </p:cNvPr>
          <p:cNvSpPr txBox="1">
            <a:spLocks/>
          </p:cNvSpPr>
          <p:nvPr/>
        </p:nvSpPr>
        <p:spPr>
          <a:xfrm>
            <a:off x="573846" y="3046469"/>
            <a:ext cx="899208" cy="2384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1200" dirty="0">
                <a:solidFill>
                  <a:srgbClr val="8098AA"/>
                </a:solidFill>
                <a:cs typeface="Arial" panose="020B0604020202020204" pitchFamily="34" charset="0"/>
              </a:rPr>
              <a:t>Ik solliciteer</a:t>
            </a:r>
            <a:endParaRPr lang="nl-NL" sz="1050" dirty="0">
              <a:solidFill>
                <a:srgbClr val="8098AA"/>
              </a:solidFill>
              <a:cs typeface="Arial" panose="020B0604020202020204" pitchFamily="34" charset="0"/>
            </a:endParaRPr>
          </a:p>
        </p:txBody>
      </p:sp>
      <p:sp>
        <p:nvSpPr>
          <p:cNvPr id="484" name="Freeform 754">
            <a:extLst>
              <a:ext uri="{FF2B5EF4-FFF2-40B4-BE49-F238E27FC236}">
                <a16:creationId xmlns:a16="http://schemas.microsoft.com/office/drawing/2014/main" id="{E71AA46A-F08D-6F36-467F-05E836EAA342}"/>
              </a:ext>
            </a:extLst>
          </p:cNvPr>
          <p:cNvSpPr/>
          <p:nvPr/>
        </p:nvSpPr>
        <p:spPr>
          <a:xfrm>
            <a:off x="849796" y="3191687"/>
            <a:ext cx="105267" cy="354751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rgbClr val="8098AA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pic>
        <p:nvPicPr>
          <p:cNvPr id="485" name="Graphic 484">
            <a:extLst>
              <a:ext uri="{FF2B5EF4-FFF2-40B4-BE49-F238E27FC236}">
                <a16:creationId xmlns:a16="http://schemas.microsoft.com/office/drawing/2014/main" id="{AEF63B2B-EF86-54F5-FF99-757BD5F09078}"/>
              </a:ext>
            </a:extLst>
          </p:cNvPr>
          <p:cNvPicPr>
            <a:picLocks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36634" y="2856282"/>
            <a:ext cx="719709" cy="719709"/>
          </a:xfrm>
          <a:prstGeom prst="rect">
            <a:avLst/>
          </a:prstGeom>
        </p:spPr>
      </p:pic>
      <p:grpSp>
        <p:nvGrpSpPr>
          <p:cNvPr id="510" name="Group 509">
            <a:extLst>
              <a:ext uri="{FF2B5EF4-FFF2-40B4-BE49-F238E27FC236}">
                <a16:creationId xmlns:a16="http://schemas.microsoft.com/office/drawing/2014/main" id="{2DB34351-E636-FE42-8989-D5B4043D52C3}"/>
              </a:ext>
            </a:extLst>
          </p:cNvPr>
          <p:cNvGrpSpPr/>
          <p:nvPr/>
        </p:nvGrpSpPr>
        <p:grpSpPr>
          <a:xfrm>
            <a:off x="138983" y="3809648"/>
            <a:ext cx="781644" cy="415498"/>
            <a:chOff x="204158" y="3398747"/>
            <a:chExt cx="781644" cy="415498"/>
          </a:xfrm>
        </p:grpSpPr>
        <p:sp>
          <p:nvSpPr>
            <p:cNvPr id="486" name="Rectangle: Rounded Corners 485">
              <a:extLst>
                <a:ext uri="{FF2B5EF4-FFF2-40B4-BE49-F238E27FC236}">
                  <a16:creationId xmlns:a16="http://schemas.microsoft.com/office/drawing/2014/main" id="{C632FEF5-EBD8-CC8E-B7C6-A7FAA2E7A8B0}"/>
                </a:ext>
              </a:extLst>
            </p:cNvPr>
            <p:cNvSpPr/>
            <p:nvPr/>
          </p:nvSpPr>
          <p:spPr>
            <a:xfrm>
              <a:off x="204158" y="3439283"/>
              <a:ext cx="781200" cy="346996"/>
            </a:xfrm>
            <a:prstGeom prst="roundRect">
              <a:avLst>
                <a:gd name="adj" fmla="val 8096"/>
              </a:avLst>
            </a:prstGeom>
            <a:solidFill>
              <a:schemeClr val="accent2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100" dirty="0">
                <a:solidFill>
                  <a:schemeClr val="bg1"/>
                </a:solidFill>
              </a:endParaRPr>
            </a:p>
          </p:txBody>
        </p:sp>
        <p:sp>
          <p:nvSpPr>
            <p:cNvPr id="487" name="TextBox 486">
              <a:extLst>
                <a:ext uri="{FF2B5EF4-FFF2-40B4-BE49-F238E27FC236}">
                  <a16:creationId xmlns:a16="http://schemas.microsoft.com/office/drawing/2014/main" id="{7E85894C-687E-649E-AE11-2A7001C0081E}"/>
                </a:ext>
              </a:extLst>
            </p:cNvPr>
            <p:cNvSpPr txBox="1"/>
            <p:nvPr/>
          </p:nvSpPr>
          <p:spPr>
            <a:xfrm>
              <a:off x="204602" y="3398747"/>
              <a:ext cx="781200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nl-NL" sz="1050" dirty="0">
                  <a:solidFill>
                    <a:schemeClr val="bg1"/>
                  </a:solidFill>
                </a:rPr>
                <a:t>Ik zoek een baan</a:t>
              </a:r>
            </a:p>
          </p:txBody>
        </p:sp>
      </p:grpSp>
      <p:sp>
        <p:nvSpPr>
          <p:cNvPr id="488" name="Content Placeholder 2">
            <a:extLst>
              <a:ext uri="{FF2B5EF4-FFF2-40B4-BE49-F238E27FC236}">
                <a16:creationId xmlns:a16="http://schemas.microsoft.com/office/drawing/2014/main" id="{12080FCC-A78D-08F0-39DF-4D5E560AF95A}"/>
              </a:ext>
            </a:extLst>
          </p:cNvPr>
          <p:cNvSpPr txBox="1">
            <a:spLocks/>
          </p:cNvSpPr>
          <p:nvPr/>
        </p:nvSpPr>
        <p:spPr>
          <a:xfrm>
            <a:off x="1054478" y="4210743"/>
            <a:ext cx="899208" cy="2384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1200" dirty="0">
                <a:solidFill>
                  <a:srgbClr val="8098AA"/>
                </a:solidFill>
                <a:cs typeface="Arial" panose="020B0604020202020204" pitchFamily="34" charset="0"/>
              </a:rPr>
              <a:t>Ik heb een gesprek</a:t>
            </a:r>
            <a:endParaRPr lang="nl-NL" sz="1050" dirty="0">
              <a:solidFill>
                <a:srgbClr val="8098AA"/>
              </a:solidFill>
              <a:cs typeface="Arial" panose="020B0604020202020204" pitchFamily="34" charset="0"/>
            </a:endParaRPr>
          </a:p>
        </p:txBody>
      </p:sp>
      <p:sp>
        <p:nvSpPr>
          <p:cNvPr id="489" name="Freeform 754">
            <a:extLst>
              <a:ext uri="{FF2B5EF4-FFF2-40B4-BE49-F238E27FC236}">
                <a16:creationId xmlns:a16="http://schemas.microsoft.com/office/drawing/2014/main" id="{AEB1659F-52D6-B9C3-FB27-2E8732329795}"/>
              </a:ext>
            </a:extLst>
          </p:cNvPr>
          <p:cNvSpPr/>
          <p:nvPr/>
        </p:nvSpPr>
        <p:spPr>
          <a:xfrm flipV="1">
            <a:off x="1418105" y="3568508"/>
            <a:ext cx="85977" cy="557863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rgbClr val="8098AA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490" name="Content Placeholder 2">
            <a:extLst>
              <a:ext uri="{FF2B5EF4-FFF2-40B4-BE49-F238E27FC236}">
                <a16:creationId xmlns:a16="http://schemas.microsoft.com/office/drawing/2014/main" id="{68E47508-6568-35E6-CE52-DA1A99068A0B}"/>
              </a:ext>
            </a:extLst>
          </p:cNvPr>
          <p:cNvSpPr txBox="1">
            <a:spLocks/>
          </p:cNvSpPr>
          <p:nvPr/>
        </p:nvSpPr>
        <p:spPr>
          <a:xfrm>
            <a:off x="1791740" y="4740870"/>
            <a:ext cx="899208" cy="2384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1200" dirty="0">
                <a:solidFill>
                  <a:srgbClr val="8098AA"/>
                </a:solidFill>
                <a:cs typeface="Arial" panose="020B0604020202020204" pitchFamily="34" charset="0"/>
              </a:rPr>
              <a:t>Ik word afgewezen</a:t>
            </a:r>
            <a:endParaRPr lang="nl-NL" sz="1050" dirty="0">
              <a:solidFill>
                <a:srgbClr val="8098AA"/>
              </a:solidFill>
              <a:cs typeface="Arial" panose="020B0604020202020204" pitchFamily="34" charset="0"/>
            </a:endParaRPr>
          </a:p>
        </p:txBody>
      </p:sp>
      <p:sp>
        <p:nvSpPr>
          <p:cNvPr id="491" name="Freeform 754">
            <a:extLst>
              <a:ext uri="{FF2B5EF4-FFF2-40B4-BE49-F238E27FC236}">
                <a16:creationId xmlns:a16="http://schemas.microsoft.com/office/drawing/2014/main" id="{944A65E0-4110-1827-B4B6-50186112DF12}"/>
              </a:ext>
            </a:extLst>
          </p:cNvPr>
          <p:cNvSpPr/>
          <p:nvPr/>
        </p:nvSpPr>
        <p:spPr>
          <a:xfrm flipV="1">
            <a:off x="2155367" y="4098635"/>
            <a:ext cx="85977" cy="557863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rgbClr val="8098AA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492" name="Content Placeholder 2">
            <a:extLst>
              <a:ext uri="{FF2B5EF4-FFF2-40B4-BE49-F238E27FC236}">
                <a16:creationId xmlns:a16="http://schemas.microsoft.com/office/drawing/2014/main" id="{011B4DD2-2710-0E87-9A41-F9429E034336}"/>
              </a:ext>
            </a:extLst>
          </p:cNvPr>
          <p:cNvSpPr txBox="1">
            <a:spLocks/>
          </p:cNvSpPr>
          <p:nvPr/>
        </p:nvSpPr>
        <p:spPr>
          <a:xfrm>
            <a:off x="1223132" y="2781434"/>
            <a:ext cx="899208" cy="2384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1200" dirty="0">
                <a:solidFill>
                  <a:srgbClr val="8098AA"/>
                </a:solidFill>
                <a:cs typeface="Arial" panose="020B0604020202020204" pitchFamily="34" charset="0"/>
              </a:rPr>
              <a:t>Ik krijg een voorstel</a:t>
            </a:r>
            <a:endParaRPr lang="nl-NL" sz="1050" dirty="0">
              <a:solidFill>
                <a:srgbClr val="8098AA"/>
              </a:solidFill>
              <a:cs typeface="Arial" panose="020B0604020202020204" pitchFamily="34" charset="0"/>
            </a:endParaRPr>
          </a:p>
        </p:txBody>
      </p:sp>
      <p:sp>
        <p:nvSpPr>
          <p:cNvPr id="493" name="Freeform 754">
            <a:extLst>
              <a:ext uri="{FF2B5EF4-FFF2-40B4-BE49-F238E27FC236}">
                <a16:creationId xmlns:a16="http://schemas.microsoft.com/office/drawing/2014/main" id="{A08E55C9-0DCA-65BF-0754-2249A0457C7B}"/>
              </a:ext>
            </a:extLst>
          </p:cNvPr>
          <p:cNvSpPr/>
          <p:nvPr/>
        </p:nvSpPr>
        <p:spPr>
          <a:xfrm rot="17058532">
            <a:off x="1734966" y="3127575"/>
            <a:ext cx="385278" cy="354751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rgbClr val="8098AA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500" name="Content Placeholder 2">
            <a:extLst>
              <a:ext uri="{FF2B5EF4-FFF2-40B4-BE49-F238E27FC236}">
                <a16:creationId xmlns:a16="http://schemas.microsoft.com/office/drawing/2014/main" id="{FDA791AF-D4F0-113A-8193-20C130F27734}"/>
              </a:ext>
            </a:extLst>
          </p:cNvPr>
          <p:cNvSpPr txBox="1">
            <a:spLocks/>
          </p:cNvSpPr>
          <p:nvPr/>
        </p:nvSpPr>
        <p:spPr>
          <a:xfrm>
            <a:off x="1511595" y="2413699"/>
            <a:ext cx="899208" cy="2384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1200" dirty="0">
                <a:solidFill>
                  <a:srgbClr val="8098AA"/>
                </a:solidFill>
                <a:cs typeface="Arial" panose="020B0604020202020204" pitchFamily="34" charset="0"/>
              </a:rPr>
              <a:t>Ik teken mijn contract</a:t>
            </a:r>
            <a:endParaRPr lang="nl-NL" sz="1050" dirty="0">
              <a:solidFill>
                <a:srgbClr val="8098AA"/>
              </a:solidFill>
              <a:cs typeface="Arial" panose="020B0604020202020204" pitchFamily="34" charset="0"/>
            </a:endParaRPr>
          </a:p>
        </p:txBody>
      </p:sp>
      <p:sp>
        <p:nvSpPr>
          <p:cNvPr id="501" name="Freeform 754">
            <a:extLst>
              <a:ext uri="{FF2B5EF4-FFF2-40B4-BE49-F238E27FC236}">
                <a16:creationId xmlns:a16="http://schemas.microsoft.com/office/drawing/2014/main" id="{D0BB5241-724C-193D-30D0-9912EE850786}"/>
              </a:ext>
            </a:extLst>
          </p:cNvPr>
          <p:cNvSpPr/>
          <p:nvPr/>
        </p:nvSpPr>
        <p:spPr>
          <a:xfrm rot="17058532">
            <a:off x="2206553" y="2653961"/>
            <a:ext cx="385278" cy="354751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rgbClr val="8098AA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507" name="Content Placeholder 2">
            <a:extLst>
              <a:ext uri="{FF2B5EF4-FFF2-40B4-BE49-F238E27FC236}">
                <a16:creationId xmlns:a16="http://schemas.microsoft.com/office/drawing/2014/main" id="{0DDA7F51-D9DA-0CCF-3BC8-A5CC7022C990}"/>
              </a:ext>
            </a:extLst>
          </p:cNvPr>
          <p:cNvSpPr txBox="1">
            <a:spLocks/>
          </p:cNvSpPr>
          <p:nvPr/>
        </p:nvSpPr>
        <p:spPr>
          <a:xfrm>
            <a:off x="2412661" y="4084748"/>
            <a:ext cx="660354" cy="2384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1200" dirty="0">
                <a:solidFill>
                  <a:srgbClr val="8098AA"/>
                </a:solidFill>
                <a:cs typeface="Arial" panose="020B0604020202020204" pitchFamily="34" charset="0"/>
              </a:rPr>
              <a:t>Ik ga niet in op het aanbod</a:t>
            </a:r>
            <a:endParaRPr lang="nl-NL" sz="1050" dirty="0">
              <a:solidFill>
                <a:srgbClr val="8098AA"/>
              </a:solidFill>
              <a:cs typeface="Arial" panose="020B0604020202020204" pitchFamily="34" charset="0"/>
            </a:endParaRPr>
          </a:p>
        </p:txBody>
      </p:sp>
      <p:sp>
        <p:nvSpPr>
          <p:cNvPr id="508" name="Freeform 754">
            <a:extLst>
              <a:ext uri="{FF2B5EF4-FFF2-40B4-BE49-F238E27FC236}">
                <a16:creationId xmlns:a16="http://schemas.microsoft.com/office/drawing/2014/main" id="{A02A1E80-CE21-FDA1-F1F3-98D57945B0D1}"/>
              </a:ext>
            </a:extLst>
          </p:cNvPr>
          <p:cNvSpPr/>
          <p:nvPr/>
        </p:nvSpPr>
        <p:spPr>
          <a:xfrm rot="2816181" flipV="1">
            <a:off x="2593748" y="3469171"/>
            <a:ext cx="224679" cy="557863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rgbClr val="8098AA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grpSp>
        <p:nvGrpSpPr>
          <p:cNvPr id="511" name="Group 510">
            <a:extLst>
              <a:ext uri="{FF2B5EF4-FFF2-40B4-BE49-F238E27FC236}">
                <a16:creationId xmlns:a16="http://schemas.microsoft.com/office/drawing/2014/main" id="{2D6F551F-1DAF-2CD1-248E-871A804F06A3}"/>
              </a:ext>
            </a:extLst>
          </p:cNvPr>
          <p:cNvGrpSpPr/>
          <p:nvPr/>
        </p:nvGrpSpPr>
        <p:grpSpPr>
          <a:xfrm>
            <a:off x="2506496" y="1097544"/>
            <a:ext cx="1008000" cy="415498"/>
            <a:chOff x="90758" y="3406994"/>
            <a:chExt cx="1008000" cy="415498"/>
          </a:xfrm>
        </p:grpSpPr>
        <p:sp>
          <p:nvSpPr>
            <p:cNvPr id="88" name="Rectangle: Rounded Corners 87">
              <a:extLst>
                <a:ext uri="{FF2B5EF4-FFF2-40B4-BE49-F238E27FC236}">
                  <a16:creationId xmlns:a16="http://schemas.microsoft.com/office/drawing/2014/main" id="{099C954C-69E6-E740-FFCB-3FAB22D0D862}"/>
                </a:ext>
              </a:extLst>
            </p:cNvPr>
            <p:cNvSpPr/>
            <p:nvPr/>
          </p:nvSpPr>
          <p:spPr>
            <a:xfrm>
              <a:off x="204158" y="3439283"/>
              <a:ext cx="781200" cy="346996"/>
            </a:xfrm>
            <a:prstGeom prst="roundRect">
              <a:avLst>
                <a:gd name="adj" fmla="val 8096"/>
              </a:avLst>
            </a:prstGeom>
            <a:solidFill>
              <a:schemeClr val="accent2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100" dirty="0">
                <a:solidFill>
                  <a:schemeClr val="bg1"/>
                </a:solidFill>
              </a:endParaRPr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33F034E0-F708-FC68-45F9-0F8B08943D46}"/>
                </a:ext>
              </a:extLst>
            </p:cNvPr>
            <p:cNvSpPr txBox="1"/>
            <p:nvPr/>
          </p:nvSpPr>
          <p:spPr>
            <a:xfrm>
              <a:off x="90758" y="3406994"/>
              <a:ext cx="1008000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nl-NL" sz="1050" dirty="0">
                  <a:solidFill>
                    <a:schemeClr val="bg1"/>
                  </a:solidFill>
                </a:rPr>
                <a:t>Ik start met werken</a:t>
              </a:r>
            </a:p>
          </p:txBody>
        </p:sp>
      </p:grpSp>
      <p:pic>
        <p:nvPicPr>
          <p:cNvPr id="144" name="Graphic 143">
            <a:extLst>
              <a:ext uri="{FF2B5EF4-FFF2-40B4-BE49-F238E27FC236}">
                <a16:creationId xmlns:a16="http://schemas.microsoft.com/office/drawing/2014/main" id="{FD374492-B798-A276-493F-98F81ECBB3C0}"/>
              </a:ext>
            </a:extLst>
          </p:cNvPr>
          <p:cNvPicPr>
            <a:picLocks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52521" y="2591914"/>
            <a:ext cx="294602" cy="294602"/>
          </a:xfrm>
          <a:prstGeom prst="rect">
            <a:avLst/>
          </a:prstGeom>
        </p:spPr>
      </p:pic>
      <p:grpSp>
        <p:nvGrpSpPr>
          <p:cNvPr id="145" name="Group 144">
            <a:extLst>
              <a:ext uri="{FF2B5EF4-FFF2-40B4-BE49-F238E27FC236}">
                <a16:creationId xmlns:a16="http://schemas.microsoft.com/office/drawing/2014/main" id="{385C7960-63C3-113B-55E2-B46D15603932}"/>
              </a:ext>
            </a:extLst>
          </p:cNvPr>
          <p:cNvGrpSpPr/>
          <p:nvPr/>
        </p:nvGrpSpPr>
        <p:grpSpPr>
          <a:xfrm>
            <a:off x="3081388" y="5813014"/>
            <a:ext cx="796712" cy="415498"/>
            <a:chOff x="162328" y="3404906"/>
            <a:chExt cx="796712" cy="415498"/>
          </a:xfrm>
        </p:grpSpPr>
        <p:sp>
          <p:nvSpPr>
            <p:cNvPr id="146" name="Rectangle: Rounded Corners 145">
              <a:extLst>
                <a:ext uri="{FF2B5EF4-FFF2-40B4-BE49-F238E27FC236}">
                  <a16:creationId xmlns:a16="http://schemas.microsoft.com/office/drawing/2014/main" id="{48FFE4E4-AF56-687B-198B-56EB037ABAE9}"/>
                </a:ext>
              </a:extLst>
            </p:cNvPr>
            <p:cNvSpPr/>
            <p:nvPr/>
          </p:nvSpPr>
          <p:spPr>
            <a:xfrm>
              <a:off x="204158" y="3439283"/>
              <a:ext cx="664776" cy="346996"/>
            </a:xfrm>
            <a:prstGeom prst="roundRect">
              <a:avLst>
                <a:gd name="adj" fmla="val 8096"/>
              </a:avLst>
            </a:prstGeom>
            <a:solidFill>
              <a:schemeClr val="accent2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100" dirty="0">
                <a:solidFill>
                  <a:schemeClr val="bg1"/>
                </a:solidFill>
              </a:endParaRPr>
            </a:p>
          </p:txBody>
        </p:sp>
        <p:sp>
          <p:nvSpPr>
            <p:cNvPr id="147" name="TextBox 146">
              <a:extLst>
                <a:ext uri="{FF2B5EF4-FFF2-40B4-BE49-F238E27FC236}">
                  <a16:creationId xmlns:a16="http://schemas.microsoft.com/office/drawing/2014/main" id="{4933A9DB-3BD6-594B-9390-396AC0E66023}"/>
                </a:ext>
              </a:extLst>
            </p:cNvPr>
            <p:cNvSpPr txBox="1"/>
            <p:nvPr/>
          </p:nvSpPr>
          <p:spPr>
            <a:xfrm>
              <a:off x="162328" y="3404906"/>
              <a:ext cx="796712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nl-NL" sz="1050" dirty="0">
                  <a:solidFill>
                    <a:schemeClr val="bg1"/>
                  </a:solidFill>
                </a:rPr>
                <a:t>Ik ben aan het werk</a:t>
              </a:r>
            </a:p>
          </p:txBody>
        </p:sp>
      </p:grp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99B90F16-C9FC-79DB-2CD8-DAA646D42DD1}"/>
              </a:ext>
            </a:extLst>
          </p:cNvPr>
          <p:cNvGrpSpPr/>
          <p:nvPr/>
        </p:nvGrpSpPr>
        <p:grpSpPr>
          <a:xfrm>
            <a:off x="5955397" y="4832094"/>
            <a:ext cx="1008000" cy="415498"/>
            <a:chOff x="109903" y="3408595"/>
            <a:chExt cx="857812" cy="415498"/>
          </a:xfrm>
        </p:grpSpPr>
        <p:sp>
          <p:nvSpPr>
            <p:cNvPr id="149" name="Rectangle: Rounded Corners 148">
              <a:extLst>
                <a:ext uri="{FF2B5EF4-FFF2-40B4-BE49-F238E27FC236}">
                  <a16:creationId xmlns:a16="http://schemas.microsoft.com/office/drawing/2014/main" id="{D8C09FAE-CF5C-818A-4730-3220410FB4A1}"/>
                </a:ext>
              </a:extLst>
            </p:cNvPr>
            <p:cNvSpPr/>
            <p:nvPr/>
          </p:nvSpPr>
          <p:spPr>
            <a:xfrm>
              <a:off x="204158" y="3439283"/>
              <a:ext cx="664776" cy="346996"/>
            </a:xfrm>
            <a:prstGeom prst="roundRect">
              <a:avLst>
                <a:gd name="adj" fmla="val 8096"/>
              </a:avLst>
            </a:prstGeom>
            <a:solidFill>
              <a:schemeClr val="accent2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100" dirty="0">
                <a:solidFill>
                  <a:schemeClr val="bg1"/>
                </a:solidFill>
              </a:endParaRPr>
            </a:p>
          </p:txBody>
        </p:sp>
        <p:sp>
          <p:nvSpPr>
            <p:cNvPr id="150" name="TextBox 149">
              <a:extLst>
                <a:ext uri="{FF2B5EF4-FFF2-40B4-BE49-F238E27FC236}">
                  <a16:creationId xmlns:a16="http://schemas.microsoft.com/office/drawing/2014/main" id="{967F06AA-48A9-9AA9-EC0F-366B4EBB4B71}"/>
                </a:ext>
              </a:extLst>
            </p:cNvPr>
            <p:cNvSpPr txBox="1"/>
            <p:nvPr/>
          </p:nvSpPr>
          <p:spPr>
            <a:xfrm>
              <a:off x="109903" y="3408595"/>
              <a:ext cx="857812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nl-NL" sz="1050" dirty="0">
                  <a:solidFill>
                    <a:schemeClr val="bg1"/>
                  </a:solidFill>
                </a:rPr>
                <a:t>Ik ontwikkel mezelf</a:t>
              </a:r>
            </a:p>
          </p:txBody>
        </p:sp>
      </p:grpSp>
      <p:grpSp>
        <p:nvGrpSpPr>
          <p:cNvPr id="151" name="Group 150">
            <a:extLst>
              <a:ext uri="{FF2B5EF4-FFF2-40B4-BE49-F238E27FC236}">
                <a16:creationId xmlns:a16="http://schemas.microsoft.com/office/drawing/2014/main" id="{00CF8D70-2521-4D54-14B3-B76D9561BD8A}"/>
              </a:ext>
            </a:extLst>
          </p:cNvPr>
          <p:cNvGrpSpPr/>
          <p:nvPr/>
        </p:nvGrpSpPr>
        <p:grpSpPr>
          <a:xfrm>
            <a:off x="10634227" y="3671877"/>
            <a:ext cx="1036196" cy="415498"/>
            <a:chOff x="89237" y="3409696"/>
            <a:chExt cx="1036196" cy="415498"/>
          </a:xfrm>
        </p:grpSpPr>
        <p:sp>
          <p:nvSpPr>
            <p:cNvPr id="152" name="Rectangle: Rounded Corners 151">
              <a:extLst>
                <a:ext uri="{FF2B5EF4-FFF2-40B4-BE49-F238E27FC236}">
                  <a16:creationId xmlns:a16="http://schemas.microsoft.com/office/drawing/2014/main" id="{4C432101-269C-0E74-1520-5BBDAD4F40BC}"/>
                </a:ext>
              </a:extLst>
            </p:cNvPr>
            <p:cNvSpPr/>
            <p:nvPr/>
          </p:nvSpPr>
          <p:spPr>
            <a:xfrm>
              <a:off x="204156" y="3439283"/>
              <a:ext cx="781200" cy="346996"/>
            </a:xfrm>
            <a:prstGeom prst="roundRect">
              <a:avLst>
                <a:gd name="adj" fmla="val 8096"/>
              </a:avLst>
            </a:prstGeom>
            <a:solidFill>
              <a:schemeClr val="accent2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100" dirty="0">
                <a:solidFill>
                  <a:schemeClr val="bg1"/>
                </a:solidFill>
              </a:endParaRPr>
            </a:p>
          </p:txBody>
        </p:sp>
        <p:sp>
          <p:nvSpPr>
            <p:cNvPr id="179" name="TextBox 178">
              <a:extLst>
                <a:ext uri="{FF2B5EF4-FFF2-40B4-BE49-F238E27FC236}">
                  <a16:creationId xmlns:a16="http://schemas.microsoft.com/office/drawing/2014/main" id="{1ED28BF7-AE84-74EB-E826-59728DAB835F}"/>
                </a:ext>
              </a:extLst>
            </p:cNvPr>
            <p:cNvSpPr txBox="1"/>
            <p:nvPr/>
          </p:nvSpPr>
          <p:spPr>
            <a:xfrm>
              <a:off x="89237" y="3409696"/>
              <a:ext cx="1036196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nl-NL" sz="1050" dirty="0">
                  <a:solidFill>
                    <a:schemeClr val="bg1"/>
                  </a:solidFill>
                </a:rPr>
                <a:t>Mijn contract eindigt</a:t>
              </a:r>
            </a:p>
          </p:txBody>
        </p:sp>
      </p:grpSp>
      <p:grpSp>
        <p:nvGrpSpPr>
          <p:cNvPr id="181" name="Graphic 179">
            <a:extLst>
              <a:ext uri="{FF2B5EF4-FFF2-40B4-BE49-F238E27FC236}">
                <a16:creationId xmlns:a16="http://schemas.microsoft.com/office/drawing/2014/main" id="{66F5D483-4E77-D22D-D759-DFB8953EE62A}"/>
              </a:ext>
            </a:extLst>
          </p:cNvPr>
          <p:cNvGrpSpPr/>
          <p:nvPr/>
        </p:nvGrpSpPr>
        <p:grpSpPr>
          <a:xfrm>
            <a:off x="3219782" y="5160755"/>
            <a:ext cx="487103" cy="564012"/>
            <a:chOff x="3862574" y="6337796"/>
            <a:chExt cx="314867" cy="364582"/>
          </a:xfrm>
          <a:solidFill>
            <a:schemeClr val="accent2"/>
          </a:solidFill>
        </p:grpSpPr>
        <p:sp>
          <p:nvSpPr>
            <p:cNvPr id="182" name="Freeform: Shape 181">
              <a:extLst>
                <a:ext uri="{FF2B5EF4-FFF2-40B4-BE49-F238E27FC236}">
                  <a16:creationId xmlns:a16="http://schemas.microsoft.com/office/drawing/2014/main" id="{80EAAB26-8FB5-EAC1-FBA8-CEDC4E79D9CC}"/>
                </a:ext>
              </a:extLst>
            </p:cNvPr>
            <p:cNvSpPr/>
            <p:nvPr/>
          </p:nvSpPr>
          <p:spPr>
            <a:xfrm>
              <a:off x="4061438" y="6536659"/>
              <a:ext cx="116003" cy="165719"/>
            </a:xfrm>
            <a:custGeom>
              <a:avLst/>
              <a:gdLst>
                <a:gd name="connsiteX0" fmla="*/ 107718 w 116003"/>
                <a:gd name="connsiteY0" fmla="*/ 165719 h 165719"/>
                <a:gd name="connsiteX1" fmla="*/ 91146 w 116003"/>
                <a:gd name="connsiteY1" fmla="*/ 165719 h 165719"/>
                <a:gd name="connsiteX2" fmla="*/ 82860 w 116003"/>
                <a:gd name="connsiteY2" fmla="*/ 157433 h 165719"/>
                <a:gd name="connsiteX3" fmla="*/ 82860 w 116003"/>
                <a:gd name="connsiteY3" fmla="*/ 33144 h 165719"/>
                <a:gd name="connsiteX4" fmla="*/ 8286 w 116003"/>
                <a:gd name="connsiteY4" fmla="*/ 33144 h 165719"/>
                <a:gd name="connsiteX5" fmla="*/ 0 w 116003"/>
                <a:gd name="connsiteY5" fmla="*/ 24858 h 165719"/>
                <a:gd name="connsiteX6" fmla="*/ 0 w 116003"/>
                <a:gd name="connsiteY6" fmla="*/ 8286 h 165719"/>
                <a:gd name="connsiteX7" fmla="*/ 8286 w 116003"/>
                <a:gd name="connsiteY7" fmla="*/ 0 h 165719"/>
                <a:gd name="connsiteX8" fmla="*/ 99432 w 116003"/>
                <a:gd name="connsiteY8" fmla="*/ 0 h 165719"/>
                <a:gd name="connsiteX9" fmla="*/ 116004 w 116003"/>
                <a:gd name="connsiteY9" fmla="*/ 16572 h 165719"/>
                <a:gd name="connsiteX10" fmla="*/ 116004 w 116003"/>
                <a:gd name="connsiteY10" fmla="*/ 157433 h 165719"/>
                <a:gd name="connsiteX11" fmla="*/ 107718 w 116003"/>
                <a:gd name="connsiteY11" fmla="*/ 165719 h 165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6003" h="165719">
                  <a:moveTo>
                    <a:pt x="107718" y="165719"/>
                  </a:moveTo>
                  <a:lnTo>
                    <a:pt x="91146" y="165719"/>
                  </a:lnTo>
                  <a:cubicBezTo>
                    <a:pt x="86571" y="165719"/>
                    <a:pt x="82860" y="162008"/>
                    <a:pt x="82860" y="157433"/>
                  </a:cubicBezTo>
                  <a:lnTo>
                    <a:pt x="82860" y="33144"/>
                  </a:lnTo>
                  <a:lnTo>
                    <a:pt x="8286" y="33144"/>
                  </a:lnTo>
                  <a:cubicBezTo>
                    <a:pt x="3712" y="33144"/>
                    <a:pt x="0" y="29432"/>
                    <a:pt x="0" y="24858"/>
                  </a:cubicBezTo>
                  <a:lnTo>
                    <a:pt x="0" y="8286"/>
                  </a:lnTo>
                  <a:cubicBezTo>
                    <a:pt x="0" y="3712"/>
                    <a:pt x="3712" y="0"/>
                    <a:pt x="8286" y="0"/>
                  </a:cubicBezTo>
                  <a:lnTo>
                    <a:pt x="99432" y="0"/>
                  </a:lnTo>
                  <a:cubicBezTo>
                    <a:pt x="108580" y="0"/>
                    <a:pt x="116004" y="7423"/>
                    <a:pt x="116004" y="16572"/>
                  </a:cubicBezTo>
                  <a:lnTo>
                    <a:pt x="116004" y="157433"/>
                  </a:lnTo>
                  <a:cubicBezTo>
                    <a:pt x="116004" y="162008"/>
                    <a:pt x="112292" y="165719"/>
                    <a:pt x="107718" y="165719"/>
                  </a:cubicBezTo>
                  <a:close/>
                </a:path>
              </a:pathLst>
            </a:custGeom>
            <a:solidFill>
              <a:schemeClr val="accent2"/>
            </a:solidFill>
            <a:ln w="5429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183" name="Freeform: Shape 182">
              <a:extLst>
                <a:ext uri="{FF2B5EF4-FFF2-40B4-BE49-F238E27FC236}">
                  <a16:creationId xmlns:a16="http://schemas.microsoft.com/office/drawing/2014/main" id="{E2872F5F-7EF6-5762-FAB8-76BFC228A970}"/>
                </a:ext>
              </a:extLst>
            </p:cNvPr>
            <p:cNvSpPr/>
            <p:nvPr/>
          </p:nvSpPr>
          <p:spPr>
            <a:xfrm>
              <a:off x="4061438" y="6418873"/>
              <a:ext cx="114227" cy="101214"/>
            </a:xfrm>
            <a:custGeom>
              <a:avLst/>
              <a:gdLst>
                <a:gd name="connsiteX0" fmla="*/ 82860 w 114227"/>
                <a:gd name="connsiteY0" fmla="*/ 101214 h 101214"/>
                <a:gd name="connsiteX1" fmla="*/ 8286 w 114227"/>
                <a:gd name="connsiteY1" fmla="*/ 101214 h 101214"/>
                <a:gd name="connsiteX2" fmla="*/ 0 w 114227"/>
                <a:gd name="connsiteY2" fmla="*/ 92928 h 101214"/>
                <a:gd name="connsiteX3" fmla="*/ 0 w 114227"/>
                <a:gd name="connsiteY3" fmla="*/ 76356 h 101214"/>
                <a:gd name="connsiteX4" fmla="*/ 8286 w 114227"/>
                <a:gd name="connsiteY4" fmla="*/ 68070 h 101214"/>
                <a:gd name="connsiteX5" fmla="*/ 69287 w 114227"/>
                <a:gd name="connsiteY5" fmla="*/ 68070 h 101214"/>
                <a:gd name="connsiteX6" fmla="*/ 81565 w 114227"/>
                <a:gd name="connsiteY6" fmla="*/ 6660 h 101214"/>
                <a:gd name="connsiteX7" fmla="*/ 91319 w 114227"/>
                <a:gd name="connsiteY7" fmla="*/ 165 h 101214"/>
                <a:gd name="connsiteX8" fmla="*/ 107567 w 114227"/>
                <a:gd name="connsiteY8" fmla="*/ 3423 h 101214"/>
                <a:gd name="connsiteX9" fmla="*/ 114062 w 114227"/>
                <a:gd name="connsiteY9" fmla="*/ 13176 h 101214"/>
                <a:gd name="connsiteX10" fmla="*/ 99109 w 114227"/>
                <a:gd name="connsiteY10" fmla="*/ 87899 h 101214"/>
                <a:gd name="connsiteX11" fmla="*/ 82860 w 114227"/>
                <a:gd name="connsiteY11" fmla="*/ 101213 h 101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227" h="101214">
                  <a:moveTo>
                    <a:pt x="82860" y="101214"/>
                  </a:moveTo>
                  <a:lnTo>
                    <a:pt x="8286" y="101214"/>
                  </a:lnTo>
                  <a:cubicBezTo>
                    <a:pt x="3712" y="101214"/>
                    <a:pt x="0" y="97503"/>
                    <a:pt x="0" y="92928"/>
                  </a:cubicBezTo>
                  <a:lnTo>
                    <a:pt x="0" y="76356"/>
                  </a:lnTo>
                  <a:cubicBezTo>
                    <a:pt x="0" y="71782"/>
                    <a:pt x="3712" y="68070"/>
                    <a:pt x="8286" y="68070"/>
                  </a:cubicBezTo>
                  <a:lnTo>
                    <a:pt x="69287" y="68070"/>
                  </a:lnTo>
                  <a:lnTo>
                    <a:pt x="81565" y="6660"/>
                  </a:lnTo>
                  <a:cubicBezTo>
                    <a:pt x="82450" y="2172"/>
                    <a:pt x="86830" y="-741"/>
                    <a:pt x="91319" y="165"/>
                  </a:cubicBezTo>
                  <a:lnTo>
                    <a:pt x="107567" y="3423"/>
                  </a:lnTo>
                  <a:cubicBezTo>
                    <a:pt x="112055" y="4330"/>
                    <a:pt x="114968" y="8689"/>
                    <a:pt x="114062" y="13176"/>
                  </a:cubicBezTo>
                  <a:lnTo>
                    <a:pt x="99109" y="87899"/>
                  </a:lnTo>
                  <a:cubicBezTo>
                    <a:pt x="97555" y="95645"/>
                    <a:pt x="90758" y="101213"/>
                    <a:pt x="82860" y="101213"/>
                  </a:cubicBezTo>
                  <a:close/>
                </a:path>
              </a:pathLst>
            </a:custGeom>
            <a:solidFill>
              <a:schemeClr val="accent2"/>
            </a:solidFill>
            <a:ln w="5429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184" name="Freeform: Shape 183">
              <a:extLst>
                <a:ext uri="{FF2B5EF4-FFF2-40B4-BE49-F238E27FC236}">
                  <a16:creationId xmlns:a16="http://schemas.microsoft.com/office/drawing/2014/main" id="{5403223A-D295-4FAE-EC3D-DC856F89D126}"/>
                </a:ext>
              </a:extLst>
            </p:cNvPr>
            <p:cNvSpPr/>
            <p:nvPr/>
          </p:nvSpPr>
          <p:spPr>
            <a:xfrm>
              <a:off x="3862574" y="6470371"/>
              <a:ext cx="116003" cy="232007"/>
            </a:xfrm>
            <a:custGeom>
              <a:avLst/>
              <a:gdLst>
                <a:gd name="connsiteX0" fmla="*/ 116004 w 116003"/>
                <a:gd name="connsiteY0" fmla="*/ 149147 h 232007"/>
                <a:gd name="connsiteX1" fmla="*/ 99432 w 116003"/>
                <a:gd name="connsiteY1" fmla="*/ 165719 h 232007"/>
                <a:gd name="connsiteX2" fmla="*/ 82860 w 116003"/>
                <a:gd name="connsiteY2" fmla="*/ 165719 h 232007"/>
                <a:gd name="connsiteX3" fmla="*/ 82860 w 116003"/>
                <a:gd name="connsiteY3" fmla="*/ 198863 h 232007"/>
                <a:gd name="connsiteX4" fmla="*/ 99432 w 116003"/>
                <a:gd name="connsiteY4" fmla="*/ 215435 h 232007"/>
                <a:gd name="connsiteX5" fmla="*/ 99432 w 116003"/>
                <a:gd name="connsiteY5" fmla="*/ 232007 h 232007"/>
                <a:gd name="connsiteX6" fmla="*/ 33144 w 116003"/>
                <a:gd name="connsiteY6" fmla="*/ 232007 h 232007"/>
                <a:gd name="connsiteX7" fmla="*/ 33144 w 116003"/>
                <a:gd name="connsiteY7" fmla="*/ 215435 h 232007"/>
                <a:gd name="connsiteX8" fmla="*/ 49716 w 116003"/>
                <a:gd name="connsiteY8" fmla="*/ 198863 h 232007"/>
                <a:gd name="connsiteX9" fmla="*/ 49716 w 116003"/>
                <a:gd name="connsiteY9" fmla="*/ 165719 h 232007"/>
                <a:gd name="connsiteX10" fmla="*/ 0 w 116003"/>
                <a:gd name="connsiteY10" fmla="*/ 116004 h 232007"/>
                <a:gd name="connsiteX11" fmla="*/ 0 w 116003"/>
                <a:gd name="connsiteY11" fmla="*/ 16572 h 232007"/>
                <a:gd name="connsiteX12" fmla="*/ 16572 w 116003"/>
                <a:gd name="connsiteY12" fmla="*/ 0 h 232007"/>
                <a:gd name="connsiteX13" fmla="*/ 33144 w 116003"/>
                <a:gd name="connsiteY13" fmla="*/ 16572 h 232007"/>
                <a:gd name="connsiteX14" fmla="*/ 33144 w 116003"/>
                <a:gd name="connsiteY14" fmla="*/ 116004 h 232007"/>
                <a:gd name="connsiteX15" fmla="*/ 49716 w 116003"/>
                <a:gd name="connsiteY15" fmla="*/ 132576 h 232007"/>
                <a:gd name="connsiteX16" fmla="*/ 99432 w 116003"/>
                <a:gd name="connsiteY16" fmla="*/ 132576 h 232007"/>
                <a:gd name="connsiteX17" fmla="*/ 116004 w 116003"/>
                <a:gd name="connsiteY17" fmla="*/ 149147 h 232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16003" h="232007">
                  <a:moveTo>
                    <a:pt x="116004" y="149147"/>
                  </a:moveTo>
                  <a:cubicBezTo>
                    <a:pt x="116004" y="158296"/>
                    <a:pt x="108580" y="165719"/>
                    <a:pt x="99432" y="165719"/>
                  </a:cubicBezTo>
                  <a:lnTo>
                    <a:pt x="82860" y="165719"/>
                  </a:lnTo>
                  <a:lnTo>
                    <a:pt x="82860" y="198863"/>
                  </a:lnTo>
                  <a:cubicBezTo>
                    <a:pt x="92009" y="198863"/>
                    <a:pt x="99432" y="206286"/>
                    <a:pt x="99432" y="215435"/>
                  </a:cubicBezTo>
                  <a:lnTo>
                    <a:pt x="99432" y="232007"/>
                  </a:lnTo>
                  <a:lnTo>
                    <a:pt x="33144" y="232007"/>
                  </a:lnTo>
                  <a:lnTo>
                    <a:pt x="33144" y="215435"/>
                  </a:lnTo>
                  <a:cubicBezTo>
                    <a:pt x="33144" y="206286"/>
                    <a:pt x="40567" y="198863"/>
                    <a:pt x="49716" y="198863"/>
                  </a:cubicBezTo>
                  <a:lnTo>
                    <a:pt x="49716" y="165719"/>
                  </a:lnTo>
                  <a:cubicBezTo>
                    <a:pt x="22290" y="165719"/>
                    <a:pt x="0" y="143429"/>
                    <a:pt x="0" y="116004"/>
                  </a:cubicBezTo>
                  <a:lnTo>
                    <a:pt x="0" y="16572"/>
                  </a:lnTo>
                  <a:cubicBezTo>
                    <a:pt x="0" y="7423"/>
                    <a:pt x="7423" y="0"/>
                    <a:pt x="16572" y="0"/>
                  </a:cubicBezTo>
                  <a:cubicBezTo>
                    <a:pt x="25721" y="0"/>
                    <a:pt x="33144" y="7423"/>
                    <a:pt x="33144" y="16572"/>
                  </a:cubicBezTo>
                  <a:lnTo>
                    <a:pt x="33144" y="116004"/>
                  </a:lnTo>
                  <a:cubicBezTo>
                    <a:pt x="33144" y="125152"/>
                    <a:pt x="40567" y="132576"/>
                    <a:pt x="49716" y="132576"/>
                  </a:cubicBezTo>
                  <a:lnTo>
                    <a:pt x="99432" y="132576"/>
                  </a:lnTo>
                  <a:cubicBezTo>
                    <a:pt x="108580" y="132576"/>
                    <a:pt x="116004" y="139999"/>
                    <a:pt x="116004" y="149147"/>
                  </a:cubicBezTo>
                  <a:close/>
                </a:path>
              </a:pathLst>
            </a:custGeom>
            <a:solidFill>
              <a:schemeClr val="accent2"/>
            </a:solidFill>
            <a:ln w="5429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185" name="Freeform: Shape 184">
              <a:extLst>
                <a:ext uri="{FF2B5EF4-FFF2-40B4-BE49-F238E27FC236}">
                  <a16:creationId xmlns:a16="http://schemas.microsoft.com/office/drawing/2014/main" id="{87D007B4-9690-C2FD-3A75-25094FB17D1E}"/>
                </a:ext>
              </a:extLst>
            </p:cNvPr>
            <p:cNvSpPr/>
            <p:nvPr/>
          </p:nvSpPr>
          <p:spPr>
            <a:xfrm>
              <a:off x="3912292" y="6437230"/>
              <a:ext cx="132575" cy="265148"/>
            </a:xfrm>
            <a:custGeom>
              <a:avLst/>
              <a:gdLst>
                <a:gd name="connsiteX0" fmla="*/ 132573 w 132575"/>
                <a:gd name="connsiteY0" fmla="*/ 149145 h 265148"/>
                <a:gd name="connsiteX1" fmla="*/ 132573 w 132575"/>
                <a:gd name="connsiteY1" fmla="*/ 248577 h 265148"/>
                <a:gd name="connsiteX2" fmla="*/ 116001 w 132575"/>
                <a:gd name="connsiteY2" fmla="*/ 265149 h 265148"/>
                <a:gd name="connsiteX3" fmla="*/ 99429 w 132575"/>
                <a:gd name="connsiteY3" fmla="*/ 248577 h 265148"/>
                <a:gd name="connsiteX4" fmla="*/ 99429 w 132575"/>
                <a:gd name="connsiteY4" fmla="*/ 163193 h 265148"/>
                <a:gd name="connsiteX5" fmla="*/ 27706 w 132575"/>
                <a:gd name="connsiteY5" fmla="*/ 151238 h 265148"/>
                <a:gd name="connsiteX6" fmla="*/ 0 w 132575"/>
                <a:gd name="connsiteY6" fmla="*/ 118613 h 265148"/>
                <a:gd name="connsiteX7" fmla="*/ 0 w 132575"/>
                <a:gd name="connsiteY7" fmla="*/ 33079 h 265148"/>
                <a:gd name="connsiteX8" fmla="*/ 33144 w 132575"/>
                <a:gd name="connsiteY8" fmla="*/ 0 h 265148"/>
                <a:gd name="connsiteX9" fmla="*/ 66288 w 132575"/>
                <a:gd name="connsiteY9" fmla="*/ 33144 h 265148"/>
                <a:gd name="connsiteX10" fmla="*/ 66288 w 132575"/>
                <a:gd name="connsiteY10" fmla="*/ 49716 h 265148"/>
                <a:gd name="connsiteX11" fmla="*/ 116004 w 132575"/>
                <a:gd name="connsiteY11" fmla="*/ 49716 h 265148"/>
                <a:gd name="connsiteX12" fmla="*/ 132576 w 132575"/>
                <a:gd name="connsiteY12" fmla="*/ 66288 h 265148"/>
                <a:gd name="connsiteX13" fmla="*/ 116004 w 132575"/>
                <a:gd name="connsiteY13" fmla="*/ 82860 h 265148"/>
                <a:gd name="connsiteX14" fmla="*/ 66288 w 132575"/>
                <a:gd name="connsiteY14" fmla="*/ 82860 h 265148"/>
                <a:gd name="connsiteX15" fmla="*/ 66288 w 132575"/>
                <a:gd name="connsiteY15" fmla="*/ 124117 h 265148"/>
                <a:gd name="connsiteX16" fmla="*/ 118722 w 132575"/>
                <a:gd name="connsiteY16" fmla="*/ 132813 h 265148"/>
                <a:gd name="connsiteX17" fmla="*/ 132576 w 132575"/>
                <a:gd name="connsiteY17" fmla="*/ 149147 h 265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32575" h="265148">
                  <a:moveTo>
                    <a:pt x="132573" y="149145"/>
                  </a:moveTo>
                  <a:lnTo>
                    <a:pt x="132573" y="248577"/>
                  </a:lnTo>
                  <a:cubicBezTo>
                    <a:pt x="132573" y="257726"/>
                    <a:pt x="125150" y="265149"/>
                    <a:pt x="116001" y="265149"/>
                  </a:cubicBezTo>
                  <a:cubicBezTo>
                    <a:pt x="106853" y="265149"/>
                    <a:pt x="99429" y="257726"/>
                    <a:pt x="99429" y="248577"/>
                  </a:cubicBezTo>
                  <a:lnTo>
                    <a:pt x="99429" y="163193"/>
                  </a:lnTo>
                  <a:lnTo>
                    <a:pt x="27706" y="151238"/>
                  </a:lnTo>
                  <a:cubicBezTo>
                    <a:pt x="11630" y="148541"/>
                    <a:pt x="0" y="134817"/>
                    <a:pt x="0" y="118613"/>
                  </a:cubicBezTo>
                  <a:lnTo>
                    <a:pt x="0" y="33079"/>
                  </a:lnTo>
                  <a:cubicBezTo>
                    <a:pt x="0" y="14846"/>
                    <a:pt x="14867" y="0"/>
                    <a:pt x="33144" y="0"/>
                  </a:cubicBezTo>
                  <a:cubicBezTo>
                    <a:pt x="51421" y="0"/>
                    <a:pt x="66288" y="14867"/>
                    <a:pt x="66288" y="33144"/>
                  </a:cubicBezTo>
                  <a:lnTo>
                    <a:pt x="66288" y="49716"/>
                  </a:lnTo>
                  <a:lnTo>
                    <a:pt x="116004" y="49716"/>
                  </a:lnTo>
                  <a:cubicBezTo>
                    <a:pt x="125152" y="49716"/>
                    <a:pt x="132576" y="57139"/>
                    <a:pt x="132576" y="66288"/>
                  </a:cubicBezTo>
                  <a:cubicBezTo>
                    <a:pt x="132576" y="75437"/>
                    <a:pt x="125152" y="82860"/>
                    <a:pt x="116004" y="82860"/>
                  </a:cubicBezTo>
                  <a:lnTo>
                    <a:pt x="66288" y="82860"/>
                  </a:lnTo>
                  <a:lnTo>
                    <a:pt x="66288" y="124117"/>
                  </a:lnTo>
                  <a:lnTo>
                    <a:pt x="118722" y="132813"/>
                  </a:lnTo>
                  <a:cubicBezTo>
                    <a:pt x="126706" y="134129"/>
                    <a:pt x="132576" y="141034"/>
                    <a:pt x="132576" y="149147"/>
                  </a:cubicBezTo>
                  <a:close/>
                </a:path>
              </a:pathLst>
            </a:custGeom>
            <a:solidFill>
              <a:schemeClr val="accent2"/>
            </a:solidFill>
            <a:ln w="5429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578" name="Freeform: Shape 577">
              <a:extLst>
                <a:ext uri="{FF2B5EF4-FFF2-40B4-BE49-F238E27FC236}">
                  <a16:creationId xmlns:a16="http://schemas.microsoft.com/office/drawing/2014/main" id="{0D112754-82FD-19D2-17E0-ADBABAC2CECF}"/>
                </a:ext>
              </a:extLst>
            </p:cNvPr>
            <p:cNvSpPr/>
            <p:nvPr/>
          </p:nvSpPr>
          <p:spPr>
            <a:xfrm>
              <a:off x="3912290" y="6337796"/>
              <a:ext cx="82859" cy="82859"/>
            </a:xfrm>
            <a:custGeom>
              <a:avLst/>
              <a:gdLst>
                <a:gd name="connsiteX0" fmla="*/ 41430 w 82859"/>
                <a:gd name="connsiteY0" fmla="*/ 0 h 82859"/>
                <a:gd name="connsiteX1" fmla="*/ 82860 w 82859"/>
                <a:gd name="connsiteY1" fmla="*/ 41430 h 82859"/>
                <a:gd name="connsiteX2" fmla="*/ 41430 w 82859"/>
                <a:gd name="connsiteY2" fmla="*/ 82860 h 82859"/>
                <a:gd name="connsiteX3" fmla="*/ 0 w 82859"/>
                <a:gd name="connsiteY3" fmla="*/ 41430 h 82859"/>
                <a:gd name="connsiteX4" fmla="*/ 41430 w 82859"/>
                <a:gd name="connsiteY4" fmla="*/ 0 h 82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859" h="82859">
                  <a:moveTo>
                    <a:pt x="41430" y="0"/>
                  </a:moveTo>
                  <a:cubicBezTo>
                    <a:pt x="64302" y="0"/>
                    <a:pt x="82860" y="18557"/>
                    <a:pt x="82860" y="41430"/>
                  </a:cubicBezTo>
                  <a:cubicBezTo>
                    <a:pt x="82860" y="64302"/>
                    <a:pt x="64302" y="82860"/>
                    <a:pt x="41430" y="82860"/>
                  </a:cubicBezTo>
                  <a:cubicBezTo>
                    <a:pt x="18557" y="82860"/>
                    <a:pt x="0" y="64302"/>
                    <a:pt x="0" y="41430"/>
                  </a:cubicBezTo>
                  <a:cubicBezTo>
                    <a:pt x="0" y="18557"/>
                    <a:pt x="18557" y="0"/>
                    <a:pt x="41430" y="0"/>
                  </a:cubicBezTo>
                  <a:close/>
                </a:path>
              </a:pathLst>
            </a:custGeom>
            <a:solidFill>
              <a:schemeClr val="accent2"/>
            </a:solidFill>
            <a:ln w="5429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</p:grpSp>
      <p:grpSp>
        <p:nvGrpSpPr>
          <p:cNvPr id="611" name="Group 610">
            <a:extLst>
              <a:ext uri="{FF2B5EF4-FFF2-40B4-BE49-F238E27FC236}">
                <a16:creationId xmlns:a16="http://schemas.microsoft.com/office/drawing/2014/main" id="{99709BAF-560C-4FC4-73C0-0A49B7FD35F2}"/>
              </a:ext>
            </a:extLst>
          </p:cNvPr>
          <p:cNvGrpSpPr/>
          <p:nvPr/>
        </p:nvGrpSpPr>
        <p:grpSpPr>
          <a:xfrm>
            <a:off x="2741371" y="1558771"/>
            <a:ext cx="498387" cy="598723"/>
            <a:chOff x="3478096" y="1137247"/>
            <a:chExt cx="498387" cy="598723"/>
          </a:xfrm>
        </p:grpSpPr>
        <p:sp>
          <p:nvSpPr>
            <p:cNvPr id="582" name="Freeform: Shape 581">
              <a:extLst>
                <a:ext uri="{FF2B5EF4-FFF2-40B4-BE49-F238E27FC236}">
                  <a16:creationId xmlns:a16="http://schemas.microsoft.com/office/drawing/2014/main" id="{3D8BBF2E-BE08-56FB-C071-34CDCDD42ABA}"/>
                </a:ext>
              </a:extLst>
            </p:cNvPr>
            <p:cNvSpPr/>
            <p:nvPr/>
          </p:nvSpPr>
          <p:spPr>
            <a:xfrm>
              <a:off x="3533220" y="1214767"/>
              <a:ext cx="97041" cy="97041"/>
            </a:xfrm>
            <a:custGeom>
              <a:avLst/>
              <a:gdLst>
                <a:gd name="connsiteX0" fmla="*/ 97041 w 97041"/>
                <a:gd name="connsiteY0" fmla="*/ 48521 h 97041"/>
                <a:gd name="connsiteX1" fmla="*/ 48521 w 97041"/>
                <a:gd name="connsiteY1" fmla="*/ 97041 h 97041"/>
                <a:gd name="connsiteX2" fmla="*/ 0 w 97041"/>
                <a:gd name="connsiteY2" fmla="*/ 48521 h 97041"/>
                <a:gd name="connsiteX3" fmla="*/ 48521 w 97041"/>
                <a:gd name="connsiteY3" fmla="*/ 0 h 97041"/>
                <a:gd name="connsiteX4" fmla="*/ 97041 w 97041"/>
                <a:gd name="connsiteY4" fmla="*/ 48521 h 970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7041" h="97041">
                  <a:moveTo>
                    <a:pt x="97041" y="48521"/>
                  </a:moveTo>
                  <a:cubicBezTo>
                    <a:pt x="97041" y="75329"/>
                    <a:pt x="75304" y="97041"/>
                    <a:pt x="48521" y="97041"/>
                  </a:cubicBezTo>
                  <a:cubicBezTo>
                    <a:pt x="21712" y="97041"/>
                    <a:pt x="0" y="75329"/>
                    <a:pt x="0" y="48521"/>
                  </a:cubicBezTo>
                  <a:cubicBezTo>
                    <a:pt x="0" y="21712"/>
                    <a:pt x="21712" y="0"/>
                    <a:pt x="48521" y="0"/>
                  </a:cubicBezTo>
                  <a:cubicBezTo>
                    <a:pt x="75304" y="0"/>
                    <a:pt x="97041" y="21712"/>
                    <a:pt x="97041" y="48521"/>
                  </a:cubicBezTo>
                </a:path>
              </a:pathLst>
            </a:custGeom>
            <a:solidFill>
              <a:schemeClr val="accent2"/>
            </a:solidFill>
            <a:ln w="6287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583" name="Freeform: Shape 582">
              <a:extLst>
                <a:ext uri="{FF2B5EF4-FFF2-40B4-BE49-F238E27FC236}">
                  <a16:creationId xmlns:a16="http://schemas.microsoft.com/office/drawing/2014/main" id="{31E72DBC-3CBC-C7E3-B5F2-9F7D1C0B0D98}"/>
                </a:ext>
              </a:extLst>
            </p:cNvPr>
            <p:cNvSpPr/>
            <p:nvPr/>
          </p:nvSpPr>
          <p:spPr>
            <a:xfrm>
              <a:off x="3478096" y="1320007"/>
              <a:ext cx="218774" cy="415963"/>
            </a:xfrm>
            <a:custGeom>
              <a:avLst/>
              <a:gdLst>
                <a:gd name="connsiteX0" fmla="*/ 200073 w 218774"/>
                <a:gd name="connsiteY0" fmla="*/ 111539 h 415963"/>
                <a:gd name="connsiteX1" fmla="*/ 149016 w 218774"/>
                <a:gd name="connsiteY1" fmla="*/ 96424 h 415963"/>
                <a:gd name="connsiteX2" fmla="*/ 113100 w 218774"/>
                <a:gd name="connsiteY2" fmla="*/ 24593 h 415963"/>
                <a:gd name="connsiteX3" fmla="*/ 104902 w 218774"/>
                <a:gd name="connsiteY3" fmla="*/ 13244 h 415963"/>
                <a:gd name="connsiteX4" fmla="*/ 70241 w 218774"/>
                <a:gd name="connsiteY4" fmla="*/ 0 h 415963"/>
                <a:gd name="connsiteX5" fmla="*/ 38090 w 218774"/>
                <a:gd name="connsiteY5" fmla="*/ 15755 h 415963"/>
                <a:gd name="connsiteX6" fmla="*/ 31148 w 218774"/>
                <a:gd name="connsiteY6" fmla="*/ 28999 h 415963"/>
                <a:gd name="connsiteX7" fmla="*/ 893 w 218774"/>
                <a:gd name="connsiteY7" fmla="*/ 147484 h 415963"/>
                <a:gd name="connsiteX8" fmla="*/ 3404 w 218774"/>
                <a:gd name="connsiteY8" fmla="*/ 168286 h 415963"/>
                <a:gd name="connsiteX9" fmla="*/ 53820 w 218774"/>
                <a:gd name="connsiteY9" fmla="*/ 263459 h 415963"/>
                <a:gd name="connsiteX10" fmla="*/ 55076 w 218774"/>
                <a:gd name="connsiteY10" fmla="*/ 270402 h 415963"/>
                <a:gd name="connsiteX11" fmla="*/ 37425 w 218774"/>
                <a:gd name="connsiteY11" fmla="*/ 380687 h 415963"/>
                <a:gd name="connsiteX12" fmla="*/ 57587 w 218774"/>
                <a:gd name="connsiteY12" fmla="*/ 414708 h 415963"/>
                <a:gd name="connsiteX13" fmla="*/ 65784 w 218774"/>
                <a:gd name="connsiteY13" fmla="*/ 415964 h 415963"/>
                <a:gd name="connsiteX14" fmla="*/ 94784 w 218774"/>
                <a:gd name="connsiteY14" fmla="*/ 392011 h 415963"/>
                <a:gd name="connsiteX15" fmla="*/ 118737 w 218774"/>
                <a:gd name="connsiteY15" fmla="*/ 266613 h 415963"/>
                <a:gd name="connsiteX16" fmla="*/ 117481 w 218774"/>
                <a:gd name="connsiteY16" fmla="*/ 251498 h 415963"/>
                <a:gd name="connsiteX17" fmla="*/ 91042 w 218774"/>
                <a:gd name="connsiteY17" fmla="*/ 173315 h 415963"/>
                <a:gd name="connsiteX18" fmla="*/ 90402 w 218774"/>
                <a:gd name="connsiteY18" fmla="*/ 166373 h 415963"/>
                <a:gd name="connsiteX19" fmla="*/ 102366 w 218774"/>
                <a:gd name="connsiteY19" fmla="*/ 112165 h 415963"/>
                <a:gd name="connsiteX20" fmla="*/ 109923 w 218774"/>
                <a:gd name="connsiteY20" fmla="*/ 127280 h 415963"/>
                <a:gd name="connsiteX21" fmla="*/ 125038 w 218774"/>
                <a:gd name="connsiteY21" fmla="*/ 139884 h 415963"/>
                <a:gd name="connsiteX22" fmla="*/ 187418 w 218774"/>
                <a:gd name="connsiteY22" fmla="*/ 158150 h 415963"/>
                <a:gd name="connsiteX23" fmla="*/ 194361 w 218774"/>
                <a:gd name="connsiteY23" fmla="*/ 159405 h 415963"/>
                <a:gd name="connsiteX24" fmla="*/ 218313 w 218774"/>
                <a:gd name="connsiteY24" fmla="*/ 139244 h 415963"/>
                <a:gd name="connsiteX25" fmla="*/ 200072 w 218774"/>
                <a:gd name="connsiteY25" fmla="*/ 111549 h 4159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8774" h="415963">
                  <a:moveTo>
                    <a:pt x="200073" y="111539"/>
                  </a:moveTo>
                  <a:lnTo>
                    <a:pt x="149016" y="96424"/>
                  </a:lnTo>
                  <a:lnTo>
                    <a:pt x="113100" y="24593"/>
                  </a:lnTo>
                  <a:cubicBezTo>
                    <a:pt x="112459" y="23338"/>
                    <a:pt x="110589" y="18931"/>
                    <a:pt x="104902" y="13244"/>
                  </a:cubicBezTo>
                  <a:cubicBezTo>
                    <a:pt x="95449" y="4432"/>
                    <a:pt x="82845" y="0"/>
                    <a:pt x="70241" y="0"/>
                  </a:cubicBezTo>
                  <a:cubicBezTo>
                    <a:pt x="57637" y="640"/>
                    <a:pt x="46288" y="6302"/>
                    <a:pt x="38090" y="15755"/>
                  </a:cubicBezTo>
                  <a:cubicBezTo>
                    <a:pt x="35579" y="18906"/>
                    <a:pt x="32428" y="25208"/>
                    <a:pt x="31148" y="28999"/>
                  </a:cubicBezTo>
                  <a:lnTo>
                    <a:pt x="893" y="147484"/>
                  </a:lnTo>
                  <a:cubicBezTo>
                    <a:pt x="-1003" y="154426"/>
                    <a:pt x="253" y="161984"/>
                    <a:pt x="3404" y="168286"/>
                  </a:cubicBezTo>
                  <a:lnTo>
                    <a:pt x="53820" y="263459"/>
                  </a:lnTo>
                  <a:cubicBezTo>
                    <a:pt x="55076" y="265355"/>
                    <a:pt x="55076" y="267866"/>
                    <a:pt x="55076" y="270402"/>
                  </a:cubicBezTo>
                  <a:lnTo>
                    <a:pt x="37425" y="380687"/>
                  </a:lnTo>
                  <a:cubicBezTo>
                    <a:pt x="34914" y="395187"/>
                    <a:pt x="43087" y="410302"/>
                    <a:pt x="57587" y="414708"/>
                  </a:cubicBezTo>
                  <a:cubicBezTo>
                    <a:pt x="60738" y="415349"/>
                    <a:pt x="63249" y="415964"/>
                    <a:pt x="65784" y="415964"/>
                  </a:cubicBezTo>
                  <a:cubicBezTo>
                    <a:pt x="79644" y="415964"/>
                    <a:pt x="91633" y="406511"/>
                    <a:pt x="94784" y="392011"/>
                  </a:cubicBezTo>
                  <a:lnTo>
                    <a:pt x="118737" y="266613"/>
                  </a:lnTo>
                  <a:cubicBezTo>
                    <a:pt x="119992" y="261566"/>
                    <a:pt x="119376" y="256519"/>
                    <a:pt x="117481" y="251498"/>
                  </a:cubicBezTo>
                  <a:lnTo>
                    <a:pt x="91042" y="173315"/>
                  </a:lnTo>
                  <a:cubicBezTo>
                    <a:pt x="90402" y="171419"/>
                    <a:pt x="90402" y="168909"/>
                    <a:pt x="90402" y="166373"/>
                  </a:cubicBezTo>
                  <a:lnTo>
                    <a:pt x="102366" y="112165"/>
                  </a:lnTo>
                  <a:lnTo>
                    <a:pt x="109923" y="127280"/>
                  </a:lnTo>
                  <a:cubicBezTo>
                    <a:pt x="113074" y="133582"/>
                    <a:pt x="118121" y="137988"/>
                    <a:pt x="125038" y="139884"/>
                  </a:cubicBezTo>
                  <a:lnTo>
                    <a:pt x="187418" y="158150"/>
                  </a:lnTo>
                  <a:cubicBezTo>
                    <a:pt x="189929" y="158790"/>
                    <a:pt x="191825" y="159405"/>
                    <a:pt x="194361" y="159405"/>
                  </a:cubicBezTo>
                  <a:cubicBezTo>
                    <a:pt x="205709" y="159405"/>
                    <a:pt x="216418" y="151207"/>
                    <a:pt x="218313" y="139244"/>
                  </a:cubicBezTo>
                  <a:cubicBezTo>
                    <a:pt x="220849" y="127304"/>
                    <a:pt x="212676" y="115340"/>
                    <a:pt x="200072" y="111549"/>
                  </a:cubicBezTo>
                  <a:close/>
                </a:path>
              </a:pathLst>
            </a:custGeom>
            <a:solidFill>
              <a:schemeClr val="accent2"/>
            </a:solidFill>
            <a:ln w="6287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584" name="Freeform: Shape 583">
              <a:extLst>
                <a:ext uri="{FF2B5EF4-FFF2-40B4-BE49-F238E27FC236}">
                  <a16:creationId xmlns:a16="http://schemas.microsoft.com/office/drawing/2014/main" id="{F9F38D9F-8187-5FA8-ACF7-E15F55248B9B}"/>
                </a:ext>
              </a:extLst>
            </p:cNvPr>
            <p:cNvSpPr/>
            <p:nvPr/>
          </p:nvSpPr>
          <p:spPr>
            <a:xfrm>
              <a:off x="3825622" y="1214767"/>
              <a:ext cx="97041" cy="97041"/>
            </a:xfrm>
            <a:custGeom>
              <a:avLst/>
              <a:gdLst>
                <a:gd name="connsiteX0" fmla="*/ 97041 w 97041"/>
                <a:gd name="connsiteY0" fmla="*/ 48521 h 97041"/>
                <a:gd name="connsiteX1" fmla="*/ 48521 w 97041"/>
                <a:gd name="connsiteY1" fmla="*/ 97041 h 97041"/>
                <a:gd name="connsiteX2" fmla="*/ 0 w 97041"/>
                <a:gd name="connsiteY2" fmla="*/ 48521 h 97041"/>
                <a:gd name="connsiteX3" fmla="*/ 48521 w 97041"/>
                <a:gd name="connsiteY3" fmla="*/ 0 h 97041"/>
                <a:gd name="connsiteX4" fmla="*/ 97041 w 97041"/>
                <a:gd name="connsiteY4" fmla="*/ 48521 h 970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7041" h="97041">
                  <a:moveTo>
                    <a:pt x="97041" y="48521"/>
                  </a:moveTo>
                  <a:cubicBezTo>
                    <a:pt x="97041" y="75329"/>
                    <a:pt x="75329" y="97041"/>
                    <a:pt x="48521" y="97041"/>
                  </a:cubicBezTo>
                  <a:cubicBezTo>
                    <a:pt x="21737" y="97041"/>
                    <a:pt x="0" y="75329"/>
                    <a:pt x="0" y="48521"/>
                  </a:cubicBezTo>
                  <a:cubicBezTo>
                    <a:pt x="0" y="21712"/>
                    <a:pt x="21737" y="0"/>
                    <a:pt x="48521" y="0"/>
                  </a:cubicBezTo>
                  <a:cubicBezTo>
                    <a:pt x="75329" y="0"/>
                    <a:pt x="97041" y="21712"/>
                    <a:pt x="97041" y="48521"/>
                  </a:cubicBezTo>
                </a:path>
              </a:pathLst>
            </a:custGeom>
            <a:solidFill>
              <a:schemeClr val="accent2"/>
            </a:solidFill>
            <a:ln w="6287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585" name="Freeform: Shape 584">
              <a:extLst>
                <a:ext uri="{FF2B5EF4-FFF2-40B4-BE49-F238E27FC236}">
                  <a16:creationId xmlns:a16="http://schemas.microsoft.com/office/drawing/2014/main" id="{E9D4B557-5578-88D7-C69B-41A4194A5150}"/>
                </a:ext>
              </a:extLst>
            </p:cNvPr>
            <p:cNvSpPr/>
            <p:nvPr/>
          </p:nvSpPr>
          <p:spPr>
            <a:xfrm>
              <a:off x="3759013" y="1319917"/>
              <a:ext cx="217470" cy="416038"/>
            </a:xfrm>
            <a:custGeom>
              <a:avLst/>
              <a:gdLst>
                <a:gd name="connsiteX0" fmla="*/ 214067 w 217470"/>
                <a:gd name="connsiteY0" fmla="*/ 168347 h 416038"/>
                <a:gd name="connsiteX1" fmla="*/ 216577 w 217470"/>
                <a:gd name="connsiteY1" fmla="*/ 147545 h 416038"/>
                <a:gd name="connsiteX2" fmla="*/ 186322 w 217470"/>
                <a:gd name="connsiteY2" fmla="*/ 29060 h 416038"/>
                <a:gd name="connsiteX3" fmla="*/ 179380 w 217470"/>
                <a:gd name="connsiteY3" fmla="*/ 15816 h 416038"/>
                <a:gd name="connsiteX4" fmla="*/ 147230 w 217470"/>
                <a:gd name="connsiteY4" fmla="*/ 61 h 416038"/>
                <a:gd name="connsiteX5" fmla="*/ 112568 w 217470"/>
                <a:gd name="connsiteY5" fmla="*/ 13305 h 416038"/>
                <a:gd name="connsiteX6" fmla="*/ 104371 w 217470"/>
                <a:gd name="connsiteY6" fmla="*/ 24654 h 416038"/>
                <a:gd name="connsiteX7" fmla="*/ 69759 w 217470"/>
                <a:gd name="connsiteY7" fmla="*/ 96510 h 416038"/>
                <a:gd name="connsiteX8" fmla="*/ 18702 w 217470"/>
                <a:gd name="connsiteY8" fmla="*/ 111009 h 416038"/>
                <a:gd name="connsiteX9" fmla="*/ 436 w 217470"/>
                <a:gd name="connsiteY9" fmla="*/ 139368 h 416038"/>
                <a:gd name="connsiteX10" fmla="*/ 24389 w 217470"/>
                <a:gd name="connsiteY10" fmla="*/ 159530 h 416038"/>
                <a:gd name="connsiteX11" fmla="*/ 31331 w 217470"/>
                <a:gd name="connsiteY11" fmla="*/ 158275 h 416038"/>
                <a:gd name="connsiteX12" fmla="*/ 93711 w 217470"/>
                <a:gd name="connsiteY12" fmla="*/ 140009 h 416038"/>
                <a:gd name="connsiteX13" fmla="*/ 108826 w 217470"/>
                <a:gd name="connsiteY13" fmla="*/ 127405 h 416038"/>
                <a:gd name="connsiteX14" fmla="*/ 116384 w 217470"/>
                <a:gd name="connsiteY14" fmla="*/ 112290 h 416038"/>
                <a:gd name="connsiteX15" fmla="*/ 128348 w 217470"/>
                <a:gd name="connsiteY15" fmla="*/ 166498 h 416038"/>
                <a:gd name="connsiteX16" fmla="*/ 127708 w 217470"/>
                <a:gd name="connsiteY16" fmla="*/ 173440 h 416038"/>
                <a:gd name="connsiteX17" fmla="*/ 99989 w 217470"/>
                <a:gd name="connsiteY17" fmla="*/ 251573 h 416038"/>
                <a:gd name="connsiteX18" fmla="*/ 98734 w 217470"/>
                <a:gd name="connsiteY18" fmla="*/ 266687 h 416038"/>
                <a:gd name="connsiteX19" fmla="*/ 122686 w 217470"/>
                <a:gd name="connsiteY19" fmla="*/ 392085 h 416038"/>
                <a:gd name="connsiteX20" fmla="*/ 151046 w 217470"/>
                <a:gd name="connsiteY20" fmla="*/ 416038 h 416038"/>
                <a:gd name="connsiteX21" fmla="*/ 159243 w 217470"/>
                <a:gd name="connsiteY21" fmla="*/ 414783 h 416038"/>
                <a:gd name="connsiteX22" fmla="*/ 179405 w 217470"/>
                <a:gd name="connsiteY22" fmla="*/ 380762 h 416038"/>
                <a:gd name="connsiteX23" fmla="*/ 161754 w 217470"/>
                <a:gd name="connsiteY23" fmla="*/ 270476 h 416038"/>
                <a:gd name="connsiteX24" fmla="*/ 163009 w 217470"/>
                <a:gd name="connsiteY24" fmla="*/ 263534 h 4160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17470" h="416038">
                  <a:moveTo>
                    <a:pt x="214067" y="168347"/>
                  </a:moveTo>
                  <a:cubicBezTo>
                    <a:pt x="217218" y="162045"/>
                    <a:pt x="218473" y="154487"/>
                    <a:pt x="216577" y="147545"/>
                  </a:cubicBezTo>
                  <a:lnTo>
                    <a:pt x="186322" y="29060"/>
                  </a:lnTo>
                  <a:cubicBezTo>
                    <a:pt x="185067" y="25269"/>
                    <a:pt x="182532" y="18967"/>
                    <a:pt x="179380" y="15816"/>
                  </a:cubicBezTo>
                  <a:cubicBezTo>
                    <a:pt x="171182" y="6363"/>
                    <a:pt x="159834" y="701"/>
                    <a:pt x="147230" y="61"/>
                  </a:cubicBezTo>
                  <a:cubicBezTo>
                    <a:pt x="134626" y="-580"/>
                    <a:pt x="122021" y="3852"/>
                    <a:pt x="112568" y="13305"/>
                  </a:cubicBezTo>
                  <a:cubicBezTo>
                    <a:pt x="106907" y="18967"/>
                    <a:pt x="105011" y="23398"/>
                    <a:pt x="104371" y="24654"/>
                  </a:cubicBezTo>
                  <a:lnTo>
                    <a:pt x="69759" y="96510"/>
                  </a:lnTo>
                  <a:lnTo>
                    <a:pt x="18702" y="111009"/>
                  </a:lnTo>
                  <a:cubicBezTo>
                    <a:pt x="6738" y="114801"/>
                    <a:pt x="-2100" y="126764"/>
                    <a:pt x="436" y="139368"/>
                  </a:cubicBezTo>
                  <a:cubicBezTo>
                    <a:pt x="2948" y="151332"/>
                    <a:pt x="13040" y="159530"/>
                    <a:pt x="24389" y="159530"/>
                  </a:cubicBezTo>
                  <a:cubicBezTo>
                    <a:pt x="26900" y="159530"/>
                    <a:pt x="28796" y="158890"/>
                    <a:pt x="31331" y="158275"/>
                  </a:cubicBezTo>
                  <a:lnTo>
                    <a:pt x="93711" y="140009"/>
                  </a:lnTo>
                  <a:cubicBezTo>
                    <a:pt x="100014" y="138113"/>
                    <a:pt x="105675" y="133707"/>
                    <a:pt x="108826" y="127405"/>
                  </a:cubicBezTo>
                  <a:lnTo>
                    <a:pt x="116384" y="112290"/>
                  </a:lnTo>
                  <a:lnTo>
                    <a:pt x="128348" y="166498"/>
                  </a:lnTo>
                  <a:cubicBezTo>
                    <a:pt x="128988" y="169008"/>
                    <a:pt x="128988" y="170904"/>
                    <a:pt x="127708" y="173440"/>
                  </a:cubicBezTo>
                  <a:lnTo>
                    <a:pt x="99989" y="251573"/>
                  </a:lnTo>
                  <a:cubicBezTo>
                    <a:pt x="98093" y="256619"/>
                    <a:pt x="98093" y="261666"/>
                    <a:pt x="98734" y="266687"/>
                  </a:cubicBezTo>
                  <a:lnTo>
                    <a:pt x="122686" y="392085"/>
                  </a:lnTo>
                  <a:cubicBezTo>
                    <a:pt x="125197" y="405945"/>
                    <a:pt x="137801" y="416038"/>
                    <a:pt x="151046" y="416038"/>
                  </a:cubicBezTo>
                  <a:cubicBezTo>
                    <a:pt x="153556" y="416038"/>
                    <a:pt x="156707" y="415398"/>
                    <a:pt x="159243" y="414783"/>
                  </a:cubicBezTo>
                  <a:cubicBezTo>
                    <a:pt x="173743" y="410376"/>
                    <a:pt x="181941" y="395236"/>
                    <a:pt x="179405" y="380762"/>
                  </a:cubicBezTo>
                  <a:lnTo>
                    <a:pt x="161754" y="270476"/>
                  </a:lnTo>
                  <a:cubicBezTo>
                    <a:pt x="161114" y="267965"/>
                    <a:pt x="161754" y="266069"/>
                    <a:pt x="163009" y="263534"/>
                  </a:cubicBezTo>
                  <a:close/>
                </a:path>
              </a:pathLst>
            </a:custGeom>
            <a:solidFill>
              <a:schemeClr val="accent2"/>
            </a:solidFill>
            <a:ln w="6287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586" name="Freeform: Shape 585">
              <a:extLst>
                <a:ext uri="{FF2B5EF4-FFF2-40B4-BE49-F238E27FC236}">
                  <a16:creationId xmlns:a16="http://schemas.microsoft.com/office/drawing/2014/main" id="{08C3414F-A52E-5A80-E22F-E190D5F7037C}"/>
                </a:ext>
              </a:extLst>
            </p:cNvPr>
            <p:cNvSpPr/>
            <p:nvPr/>
          </p:nvSpPr>
          <p:spPr>
            <a:xfrm>
              <a:off x="3648524" y="1137247"/>
              <a:ext cx="158836" cy="144494"/>
            </a:xfrm>
            <a:custGeom>
              <a:avLst/>
              <a:gdLst>
                <a:gd name="connsiteX0" fmla="*/ 158837 w 158836"/>
                <a:gd name="connsiteY0" fmla="*/ 63020 h 144494"/>
                <a:gd name="connsiteX1" fmla="*/ 79418 w 158836"/>
                <a:gd name="connsiteY1" fmla="*/ 0 h 144494"/>
                <a:gd name="connsiteX2" fmla="*/ 0 w 158836"/>
                <a:gd name="connsiteY2" fmla="*/ 63020 h 144494"/>
                <a:gd name="connsiteX3" fmla="*/ 29615 w 158836"/>
                <a:gd name="connsiteY3" fmla="*/ 112181 h 144494"/>
                <a:gd name="connsiteX4" fmla="*/ 18906 w 158836"/>
                <a:gd name="connsiteY4" fmla="*/ 134879 h 144494"/>
                <a:gd name="connsiteX5" fmla="*/ 23953 w 158836"/>
                <a:gd name="connsiteY5" fmla="*/ 144332 h 144494"/>
                <a:gd name="connsiteX6" fmla="*/ 66171 w 158836"/>
                <a:gd name="connsiteY6" fmla="*/ 124785 h 144494"/>
                <a:gd name="connsiteX7" fmla="*/ 78776 w 158836"/>
                <a:gd name="connsiteY7" fmla="*/ 125426 h 144494"/>
                <a:gd name="connsiteX8" fmla="*/ 158830 w 158836"/>
                <a:gd name="connsiteY8" fmla="*/ 63021 h 144494"/>
                <a:gd name="connsiteX9" fmla="*/ 120384 w 158836"/>
                <a:gd name="connsiteY9" fmla="*/ 51057 h 144494"/>
                <a:gd name="connsiteX10" fmla="*/ 131733 w 158836"/>
                <a:gd name="connsiteY10" fmla="*/ 62405 h 144494"/>
                <a:gd name="connsiteX11" fmla="*/ 120384 w 158836"/>
                <a:gd name="connsiteY11" fmla="*/ 73754 h 144494"/>
                <a:gd name="connsiteX12" fmla="*/ 109035 w 158836"/>
                <a:gd name="connsiteY12" fmla="*/ 62405 h 144494"/>
                <a:gd name="connsiteX13" fmla="*/ 120384 w 158836"/>
                <a:gd name="connsiteY13" fmla="*/ 51057 h 144494"/>
                <a:gd name="connsiteX14" fmla="*/ 38458 w 158836"/>
                <a:gd name="connsiteY14" fmla="*/ 51057 h 144494"/>
                <a:gd name="connsiteX15" fmla="*/ 49806 w 158836"/>
                <a:gd name="connsiteY15" fmla="*/ 62405 h 144494"/>
                <a:gd name="connsiteX16" fmla="*/ 38458 w 158836"/>
                <a:gd name="connsiteY16" fmla="*/ 73754 h 144494"/>
                <a:gd name="connsiteX17" fmla="*/ 27109 w 158836"/>
                <a:gd name="connsiteY17" fmla="*/ 62405 h 144494"/>
                <a:gd name="connsiteX18" fmla="*/ 38458 w 158836"/>
                <a:gd name="connsiteY18" fmla="*/ 51057 h 144494"/>
                <a:gd name="connsiteX19" fmla="*/ 68072 w 158836"/>
                <a:gd name="connsiteY19" fmla="*/ 63020 h 144494"/>
                <a:gd name="connsiteX20" fmla="*/ 79421 w 158836"/>
                <a:gd name="connsiteY20" fmla="*/ 51672 h 144494"/>
                <a:gd name="connsiteX21" fmla="*/ 90770 w 158836"/>
                <a:gd name="connsiteY21" fmla="*/ 63020 h 144494"/>
                <a:gd name="connsiteX22" fmla="*/ 79421 w 158836"/>
                <a:gd name="connsiteY22" fmla="*/ 74369 h 144494"/>
                <a:gd name="connsiteX23" fmla="*/ 68072 w 158836"/>
                <a:gd name="connsiteY23" fmla="*/ 63020 h 144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58836" h="144494">
                  <a:moveTo>
                    <a:pt x="158837" y="63020"/>
                  </a:moveTo>
                  <a:cubicBezTo>
                    <a:pt x="158837" y="28359"/>
                    <a:pt x="123535" y="0"/>
                    <a:pt x="79418" y="0"/>
                  </a:cubicBezTo>
                  <a:cubicBezTo>
                    <a:pt x="35302" y="0"/>
                    <a:pt x="0" y="28359"/>
                    <a:pt x="0" y="63020"/>
                  </a:cubicBezTo>
                  <a:cubicBezTo>
                    <a:pt x="0" y="82567"/>
                    <a:pt x="11349" y="100192"/>
                    <a:pt x="29615" y="112181"/>
                  </a:cubicBezTo>
                  <a:cubicBezTo>
                    <a:pt x="28359" y="117843"/>
                    <a:pt x="25208" y="127296"/>
                    <a:pt x="18906" y="134879"/>
                  </a:cubicBezTo>
                  <a:cubicBezTo>
                    <a:pt x="15115" y="139285"/>
                    <a:pt x="18906" y="145587"/>
                    <a:pt x="23953" y="144332"/>
                  </a:cubicBezTo>
                  <a:cubicBezTo>
                    <a:pt x="48521" y="140541"/>
                    <a:pt x="60510" y="131087"/>
                    <a:pt x="66171" y="124785"/>
                  </a:cubicBezTo>
                  <a:cubicBezTo>
                    <a:pt x="70578" y="125426"/>
                    <a:pt x="74369" y="125426"/>
                    <a:pt x="78776" y="125426"/>
                  </a:cubicBezTo>
                  <a:cubicBezTo>
                    <a:pt x="122890" y="126041"/>
                    <a:pt x="158830" y="97682"/>
                    <a:pt x="158830" y="63021"/>
                  </a:cubicBezTo>
                  <a:close/>
                  <a:moveTo>
                    <a:pt x="120384" y="51057"/>
                  </a:moveTo>
                  <a:cubicBezTo>
                    <a:pt x="126686" y="51057"/>
                    <a:pt x="131733" y="56103"/>
                    <a:pt x="131733" y="62405"/>
                  </a:cubicBezTo>
                  <a:cubicBezTo>
                    <a:pt x="131733" y="68707"/>
                    <a:pt x="126686" y="73754"/>
                    <a:pt x="120384" y="73754"/>
                  </a:cubicBezTo>
                  <a:cubicBezTo>
                    <a:pt x="114082" y="73754"/>
                    <a:pt x="109035" y="68707"/>
                    <a:pt x="109035" y="62405"/>
                  </a:cubicBezTo>
                  <a:cubicBezTo>
                    <a:pt x="108420" y="56719"/>
                    <a:pt x="113442" y="51057"/>
                    <a:pt x="120384" y="51057"/>
                  </a:cubicBezTo>
                  <a:close/>
                  <a:moveTo>
                    <a:pt x="38458" y="51057"/>
                  </a:moveTo>
                  <a:cubicBezTo>
                    <a:pt x="44760" y="51057"/>
                    <a:pt x="49806" y="56103"/>
                    <a:pt x="49806" y="62405"/>
                  </a:cubicBezTo>
                  <a:cubicBezTo>
                    <a:pt x="49806" y="68707"/>
                    <a:pt x="44760" y="73754"/>
                    <a:pt x="38458" y="73754"/>
                  </a:cubicBezTo>
                  <a:cubicBezTo>
                    <a:pt x="32156" y="73754"/>
                    <a:pt x="27109" y="68707"/>
                    <a:pt x="27109" y="62405"/>
                  </a:cubicBezTo>
                  <a:cubicBezTo>
                    <a:pt x="27109" y="56719"/>
                    <a:pt x="32156" y="51057"/>
                    <a:pt x="38458" y="51057"/>
                  </a:cubicBezTo>
                  <a:close/>
                  <a:moveTo>
                    <a:pt x="68072" y="63020"/>
                  </a:moveTo>
                  <a:cubicBezTo>
                    <a:pt x="68072" y="56718"/>
                    <a:pt x="73119" y="51672"/>
                    <a:pt x="79421" y="51672"/>
                  </a:cubicBezTo>
                  <a:cubicBezTo>
                    <a:pt x="85723" y="51672"/>
                    <a:pt x="90770" y="56718"/>
                    <a:pt x="90770" y="63020"/>
                  </a:cubicBezTo>
                  <a:cubicBezTo>
                    <a:pt x="90770" y="69322"/>
                    <a:pt x="85723" y="74369"/>
                    <a:pt x="79421" y="74369"/>
                  </a:cubicBezTo>
                  <a:cubicBezTo>
                    <a:pt x="73119" y="74369"/>
                    <a:pt x="68072" y="69322"/>
                    <a:pt x="68072" y="63020"/>
                  </a:cubicBezTo>
                  <a:close/>
                </a:path>
              </a:pathLst>
            </a:custGeom>
            <a:solidFill>
              <a:schemeClr val="accent2"/>
            </a:solidFill>
            <a:ln w="6287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</p:grpSp>
      <p:pic>
        <p:nvPicPr>
          <p:cNvPr id="610" name="Graphic 609">
            <a:extLst>
              <a:ext uri="{FF2B5EF4-FFF2-40B4-BE49-F238E27FC236}">
                <a16:creationId xmlns:a16="http://schemas.microsoft.com/office/drawing/2014/main" id="{3F326B9D-BD07-291C-2B4B-8C448C7E86DB}"/>
              </a:ext>
            </a:extLst>
          </p:cNvPr>
          <p:cNvPicPr>
            <a:picLocks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104280" y="3522309"/>
            <a:ext cx="719710" cy="719710"/>
          </a:xfrm>
          <a:prstGeom prst="rect">
            <a:avLst/>
          </a:prstGeom>
        </p:spPr>
      </p:pic>
      <p:sp>
        <p:nvSpPr>
          <p:cNvPr id="612" name="Content Placeholder 2">
            <a:extLst>
              <a:ext uri="{FF2B5EF4-FFF2-40B4-BE49-F238E27FC236}">
                <a16:creationId xmlns:a16="http://schemas.microsoft.com/office/drawing/2014/main" id="{85422D2D-5E5B-30F0-036A-C931F749102B}"/>
              </a:ext>
            </a:extLst>
          </p:cNvPr>
          <p:cNvSpPr txBox="1">
            <a:spLocks/>
          </p:cNvSpPr>
          <p:nvPr/>
        </p:nvSpPr>
        <p:spPr>
          <a:xfrm>
            <a:off x="3742530" y="1372681"/>
            <a:ext cx="899208" cy="2384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1200" dirty="0">
                <a:solidFill>
                  <a:srgbClr val="8098AA"/>
                </a:solidFill>
                <a:cs typeface="Arial" panose="020B0604020202020204" pitchFamily="34" charset="0"/>
              </a:rPr>
              <a:t>Ik heb mijn eerste werkdag</a:t>
            </a:r>
            <a:endParaRPr lang="nl-NL" sz="1050" dirty="0">
              <a:solidFill>
                <a:srgbClr val="8098AA"/>
              </a:solidFill>
              <a:cs typeface="Arial" panose="020B0604020202020204" pitchFamily="34" charset="0"/>
            </a:endParaRPr>
          </a:p>
        </p:txBody>
      </p:sp>
      <p:sp>
        <p:nvSpPr>
          <p:cNvPr id="613" name="Freeform 754">
            <a:extLst>
              <a:ext uri="{FF2B5EF4-FFF2-40B4-BE49-F238E27FC236}">
                <a16:creationId xmlns:a16="http://schemas.microsoft.com/office/drawing/2014/main" id="{E26F3079-69C2-CBCB-9CFB-38457BD5DE38}"/>
              </a:ext>
            </a:extLst>
          </p:cNvPr>
          <p:cNvSpPr/>
          <p:nvPr/>
        </p:nvSpPr>
        <p:spPr>
          <a:xfrm rot="4541468" flipH="1">
            <a:off x="3516502" y="1770498"/>
            <a:ext cx="385278" cy="354751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rgbClr val="8098AA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614" name="Content Placeholder 2">
            <a:extLst>
              <a:ext uri="{FF2B5EF4-FFF2-40B4-BE49-F238E27FC236}">
                <a16:creationId xmlns:a16="http://schemas.microsoft.com/office/drawing/2014/main" id="{FE78EB62-7C25-C73E-BF79-FFCFF2042206}"/>
              </a:ext>
            </a:extLst>
          </p:cNvPr>
          <p:cNvSpPr txBox="1">
            <a:spLocks/>
          </p:cNvSpPr>
          <p:nvPr/>
        </p:nvSpPr>
        <p:spPr>
          <a:xfrm>
            <a:off x="3717694" y="3539536"/>
            <a:ext cx="899208" cy="2384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1200" dirty="0">
                <a:solidFill>
                  <a:srgbClr val="8098AA"/>
                </a:solidFill>
                <a:cs typeface="Arial" panose="020B0604020202020204" pitchFamily="34" charset="0"/>
              </a:rPr>
              <a:t>Ik word ingewerkt</a:t>
            </a:r>
            <a:endParaRPr lang="nl-NL" sz="1050" dirty="0">
              <a:solidFill>
                <a:srgbClr val="8098AA"/>
              </a:solidFill>
              <a:cs typeface="Arial" panose="020B0604020202020204" pitchFamily="34" charset="0"/>
            </a:endParaRPr>
          </a:p>
        </p:txBody>
      </p:sp>
      <p:sp>
        <p:nvSpPr>
          <p:cNvPr id="615" name="Freeform 754">
            <a:extLst>
              <a:ext uri="{FF2B5EF4-FFF2-40B4-BE49-F238E27FC236}">
                <a16:creationId xmlns:a16="http://schemas.microsoft.com/office/drawing/2014/main" id="{8056EB24-8041-B0A5-4AEE-AAC1467D7924}"/>
              </a:ext>
            </a:extLst>
          </p:cNvPr>
          <p:cNvSpPr/>
          <p:nvPr/>
        </p:nvSpPr>
        <p:spPr>
          <a:xfrm rot="17573318" flipH="1">
            <a:off x="3582025" y="2636715"/>
            <a:ext cx="385278" cy="354751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rgbClr val="8098AA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616" name="Content Placeholder 2">
            <a:extLst>
              <a:ext uri="{FF2B5EF4-FFF2-40B4-BE49-F238E27FC236}">
                <a16:creationId xmlns:a16="http://schemas.microsoft.com/office/drawing/2014/main" id="{A323B3E8-6713-53B5-4348-943EBFEC8D9F}"/>
              </a:ext>
            </a:extLst>
          </p:cNvPr>
          <p:cNvSpPr txBox="1">
            <a:spLocks/>
          </p:cNvSpPr>
          <p:nvPr/>
        </p:nvSpPr>
        <p:spPr>
          <a:xfrm>
            <a:off x="3824852" y="4081496"/>
            <a:ext cx="701572" cy="2384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1200" dirty="0">
                <a:solidFill>
                  <a:srgbClr val="8098AA"/>
                </a:solidFill>
                <a:cs typeface="Arial" panose="020B0604020202020204" pitchFamily="34" charset="0"/>
              </a:rPr>
              <a:t>Mijn proeftijd loopt af</a:t>
            </a:r>
            <a:endParaRPr lang="nl-NL" sz="1050" dirty="0">
              <a:solidFill>
                <a:srgbClr val="8098AA"/>
              </a:solidFill>
              <a:cs typeface="Arial" panose="020B0604020202020204" pitchFamily="34" charset="0"/>
            </a:endParaRPr>
          </a:p>
        </p:txBody>
      </p:sp>
      <p:sp>
        <p:nvSpPr>
          <p:cNvPr id="617" name="Freeform 754">
            <a:extLst>
              <a:ext uri="{FF2B5EF4-FFF2-40B4-BE49-F238E27FC236}">
                <a16:creationId xmlns:a16="http://schemas.microsoft.com/office/drawing/2014/main" id="{6F204C29-EFB7-8A66-D2D4-58C27F265EF0}"/>
              </a:ext>
            </a:extLst>
          </p:cNvPr>
          <p:cNvSpPr/>
          <p:nvPr/>
        </p:nvSpPr>
        <p:spPr>
          <a:xfrm flipV="1">
            <a:off x="3854944" y="3315749"/>
            <a:ext cx="287403" cy="110835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rgbClr val="8098AA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193" name="Content Placeholder 2">
            <a:extLst>
              <a:ext uri="{FF2B5EF4-FFF2-40B4-BE49-F238E27FC236}">
                <a16:creationId xmlns:a16="http://schemas.microsoft.com/office/drawing/2014/main" id="{CA7B8C93-F386-57D0-62AC-01334076260A}"/>
              </a:ext>
            </a:extLst>
          </p:cNvPr>
          <p:cNvSpPr txBox="1">
            <a:spLocks/>
          </p:cNvSpPr>
          <p:nvPr/>
        </p:nvSpPr>
        <p:spPr>
          <a:xfrm>
            <a:off x="2999589" y="2592709"/>
            <a:ext cx="683374" cy="2384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1200" dirty="0">
                <a:solidFill>
                  <a:srgbClr val="8098AA"/>
                </a:solidFill>
                <a:cs typeface="Arial" panose="020B0604020202020204" pitchFamily="34" charset="0"/>
              </a:rPr>
              <a:t>Ik ontmoet mijn team</a:t>
            </a:r>
            <a:endParaRPr lang="nl-NL" sz="1050" dirty="0">
              <a:solidFill>
                <a:srgbClr val="8098AA"/>
              </a:solidFill>
              <a:cs typeface="Arial" panose="020B0604020202020204" pitchFamily="34" charset="0"/>
            </a:endParaRPr>
          </a:p>
        </p:txBody>
      </p:sp>
      <p:sp>
        <p:nvSpPr>
          <p:cNvPr id="194" name="Freeform 754">
            <a:extLst>
              <a:ext uri="{FF2B5EF4-FFF2-40B4-BE49-F238E27FC236}">
                <a16:creationId xmlns:a16="http://schemas.microsoft.com/office/drawing/2014/main" id="{4EB17EF6-43EC-1E05-4916-78399D3AFE4D}"/>
              </a:ext>
            </a:extLst>
          </p:cNvPr>
          <p:cNvSpPr/>
          <p:nvPr/>
        </p:nvSpPr>
        <p:spPr>
          <a:xfrm flipV="1">
            <a:off x="3398229" y="4131642"/>
            <a:ext cx="521635" cy="101202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rgbClr val="8098AA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196" name="Content Placeholder 2">
            <a:extLst>
              <a:ext uri="{FF2B5EF4-FFF2-40B4-BE49-F238E27FC236}">
                <a16:creationId xmlns:a16="http://schemas.microsoft.com/office/drawing/2014/main" id="{DA4DB481-5E9E-D92E-FB87-8A601378CE96}"/>
              </a:ext>
            </a:extLst>
          </p:cNvPr>
          <p:cNvSpPr txBox="1">
            <a:spLocks/>
          </p:cNvSpPr>
          <p:nvPr/>
        </p:nvSpPr>
        <p:spPr>
          <a:xfrm>
            <a:off x="5039484" y="4286499"/>
            <a:ext cx="860530" cy="2384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1200" dirty="0">
                <a:solidFill>
                  <a:srgbClr val="8098AA"/>
                </a:solidFill>
                <a:cs typeface="Arial" panose="020B0604020202020204" pitchFamily="34" charset="0"/>
              </a:rPr>
              <a:t>Ik werk samen met mijn collega’s</a:t>
            </a:r>
            <a:endParaRPr lang="nl-NL" sz="1050" dirty="0">
              <a:solidFill>
                <a:srgbClr val="8098AA"/>
              </a:solidFill>
              <a:cs typeface="Arial" panose="020B0604020202020204" pitchFamily="34" charset="0"/>
            </a:endParaRPr>
          </a:p>
        </p:txBody>
      </p:sp>
      <p:sp>
        <p:nvSpPr>
          <p:cNvPr id="197" name="Content Placeholder 2">
            <a:extLst>
              <a:ext uri="{FF2B5EF4-FFF2-40B4-BE49-F238E27FC236}">
                <a16:creationId xmlns:a16="http://schemas.microsoft.com/office/drawing/2014/main" id="{36B5A6D5-20D7-939E-F149-CAB738E4442F}"/>
              </a:ext>
            </a:extLst>
          </p:cNvPr>
          <p:cNvSpPr txBox="1">
            <a:spLocks/>
          </p:cNvSpPr>
          <p:nvPr/>
        </p:nvSpPr>
        <p:spPr>
          <a:xfrm>
            <a:off x="5055868" y="5452694"/>
            <a:ext cx="1308883" cy="2384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1200" dirty="0">
                <a:solidFill>
                  <a:srgbClr val="8098AA"/>
                </a:solidFill>
                <a:cs typeface="Arial" panose="020B0604020202020204" pitchFamily="34" charset="0"/>
              </a:rPr>
              <a:t>Ik word aangestuurd door mijn leidinggevende</a:t>
            </a:r>
            <a:endParaRPr lang="nl-NL" sz="1050" dirty="0">
              <a:solidFill>
                <a:srgbClr val="8098AA"/>
              </a:solidFill>
              <a:cs typeface="Arial" panose="020B0604020202020204" pitchFamily="34" charset="0"/>
            </a:endParaRPr>
          </a:p>
        </p:txBody>
      </p:sp>
      <p:sp>
        <p:nvSpPr>
          <p:cNvPr id="198" name="Content Placeholder 2">
            <a:extLst>
              <a:ext uri="{FF2B5EF4-FFF2-40B4-BE49-F238E27FC236}">
                <a16:creationId xmlns:a16="http://schemas.microsoft.com/office/drawing/2014/main" id="{6CAC45A2-1CD4-1E1F-E2EE-7BCD9F1939E8}"/>
              </a:ext>
            </a:extLst>
          </p:cNvPr>
          <p:cNvSpPr txBox="1">
            <a:spLocks/>
          </p:cNvSpPr>
          <p:nvPr/>
        </p:nvSpPr>
        <p:spPr>
          <a:xfrm>
            <a:off x="5892624" y="612971"/>
            <a:ext cx="701572" cy="2384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1200" dirty="0">
                <a:solidFill>
                  <a:srgbClr val="8098AA"/>
                </a:solidFill>
                <a:cs typeface="Arial" panose="020B0604020202020204" pitchFamily="34" charset="0"/>
              </a:rPr>
              <a:t>Ik ontvang mijn salaris</a:t>
            </a:r>
            <a:endParaRPr lang="nl-NL" sz="1050" dirty="0">
              <a:solidFill>
                <a:srgbClr val="8098AA"/>
              </a:solidFill>
              <a:cs typeface="Arial" panose="020B0604020202020204" pitchFamily="34" charset="0"/>
            </a:endParaRPr>
          </a:p>
        </p:txBody>
      </p:sp>
      <p:sp>
        <p:nvSpPr>
          <p:cNvPr id="199" name="Content Placeholder 2">
            <a:extLst>
              <a:ext uri="{FF2B5EF4-FFF2-40B4-BE49-F238E27FC236}">
                <a16:creationId xmlns:a16="http://schemas.microsoft.com/office/drawing/2014/main" id="{271BB058-AAA3-FCAD-57D4-8FAE2CA9FD31}"/>
              </a:ext>
            </a:extLst>
          </p:cNvPr>
          <p:cNvSpPr txBox="1">
            <a:spLocks/>
          </p:cNvSpPr>
          <p:nvPr/>
        </p:nvSpPr>
        <p:spPr>
          <a:xfrm>
            <a:off x="6461052" y="1417465"/>
            <a:ext cx="701572" cy="2384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1200" dirty="0">
                <a:solidFill>
                  <a:srgbClr val="8098AA"/>
                </a:solidFill>
                <a:cs typeface="Arial" panose="020B0604020202020204" pitchFamily="34" charset="0"/>
              </a:rPr>
              <a:t>Ik ben ziek of afwezig</a:t>
            </a:r>
            <a:endParaRPr lang="nl-NL" sz="1050" dirty="0">
              <a:solidFill>
                <a:srgbClr val="8098AA"/>
              </a:solidFill>
              <a:cs typeface="Arial" panose="020B0604020202020204" pitchFamily="34" charset="0"/>
            </a:endParaRPr>
          </a:p>
        </p:txBody>
      </p:sp>
      <p:sp>
        <p:nvSpPr>
          <p:cNvPr id="224" name="Content Placeholder 2">
            <a:extLst>
              <a:ext uri="{FF2B5EF4-FFF2-40B4-BE49-F238E27FC236}">
                <a16:creationId xmlns:a16="http://schemas.microsoft.com/office/drawing/2014/main" id="{B7CD4D5D-D952-0CE6-02F4-FFB4B8A75BC8}"/>
              </a:ext>
            </a:extLst>
          </p:cNvPr>
          <p:cNvSpPr txBox="1">
            <a:spLocks/>
          </p:cNvSpPr>
          <p:nvPr/>
        </p:nvSpPr>
        <p:spPr>
          <a:xfrm>
            <a:off x="6452408" y="2890298"/>
            <a:ext cx="1109106" cy="2384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1200" dirty="0">
                <a:solidFill>
                  <a:srgbClr val="8098AA"/>
                </a:solidFill>
                <a:cs typeface="Arial" panose="020B0604020202020204" pitchFamily="34" charset="0"/>
              </a:rPr>
              <a:t>Er wordt aandacht besteed aan voor mij belangrijke momenten</a:t>
            </a:r>
            <a:endParaRPr lang="nl-NL" sz="1050" dirty="0">
              <a:solidFill>
                <a:srgbClr val="8098AA"/>
              </a:solidFill>
              <a:cs typeface="Arial" panose="020B0604020202020204" pitchFamily="34" charset="0"/>
            </a:endParaRPr>
          </a:p>
        </p:txBody>
      </p:sp>
      <p:sp>
        <p:nvSpPr>
          <p:cNvPr id="248" name="Content Placeholder 2">
            <a:extLst>
              <a:ext uri="{FF2B5EF4-FFF2-40B4-BE49-F238E27FC236}">
                <a16:creationId xmlns:a16="http://schemas.microsoft.com/office/drawing/2014/main" id="{0309AD5F-A0A7-2515-2489-5C14501E7801}"/>
              </a:ext>
            </a:extLst>
          </p:cNvPr>
          <p:cNvSpPr txBox="1">
            <a:spLocks/>
          </p:cNvSpPr>
          <p:nvPr/>
        </p:nvSpPr>
        <p:spPr>
          <a:xfrm>
            <a:off x="5101210" y="2856282"/>
            <a:ext cx="860530" cy="2384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1200" dirty="0">
                <a:solidFill>
                  <a:srgbClr val="8098AA"/>
                </a:solidFill>
                <a:cs typeface="Arial" panose="020B0604020202020204" pitchFamily="34" charset="0"/>
              </a:rPr>
              <a:t>Ik combineer mijn werk met mijn privé leven</a:t>
            </a:r>
            <a:endParaRPr lang="nl-NL" sz="1050" dirty="0">
              <a:solidFill>
                <a:srgbClr val="8098AA"/>
              </a:solidFill>
              <a:cs typeface="Arial" panose="020B0604020202020204" pitchFamily="34" charset="0"/>
            </a:endParaRPr>
          </a:p>
        </p:txBody>
      </p:sp>
      <p:sp>
        <p:nvSpPr>
          <p:cNvPr id="249" name="Content Placeholder 2">
            <a:extLst>
              <a:ext uri="{FF2B5EF4-FFF2-40B4-BE49-F238E27FC236}">
                <a16:creationId xmlns:a16="http://schemas.microsoft.com/office/drawing/2014/main" id="{8976C1DC-7B3E-63FA-FC02-E30A4B09549E}"/>
              </a:ext>
            </a:extLst>
          </p:cNvPr>
          <p:cNvSpPr txBox="1">
            <a:spLocks/>
          </p:cNvSpPr>
          <p:nvPr/>
        </p:nvSpPr>
        <p:spPr>
          <a:xfrm>
            <a:off x="7279924" y="5349151"/>
            <a:ext cx="937190" cy="2384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1200" dirty="0">
                <a:solidFill>
                  <a:srgbClr val="8098AA"/>
                </a:solidFill>
                <a:cs typeface="Arial" panose="020B0604020202020204" pitchFamily="34" charset="0"/>
              </a:rPr>
              <a:t>Ik bespreek mijn ontwikkeling met mijn leidinggevende</a:t>
            </a:r>
            <a:endParaRPr lang="nl-NL" sz="1050" dirty="0">
              <a:solidFill>
                <a:srgbClr val="8098AA"/>
              </a:solidFill>
              <a:cs typeface="Arial" panose="020B0604020202020204" pitchFamily="34" charset="0"/>
            </a:endParaRPr>
          </a:p>
        </p:txBody>
      </p:sp>
      <p:sp>
        <p:nvSpPr>
          <p:cNvPr id="255" name="Content Placeholder 2">
            <a:extLst>
              <a:ext uri="{FF2B5EF4-FFF2-40B4-BE49-F238E27FC236}">
                <a16:creationId xmlns:a16="http://schemas.microsoft.com/office/drawing/2014/main" id="{ED814772-74CE-E1D9-FB88-887E26FCA852}"/>
              </a:ext>
            </a:extLst>
          </p:cNvPr>
          <p:cNvSpPr txBox="1">
            <a:spLocks/>
          </p:cNvSpPr>
          <p:nvPr/>
        </p:nvSpPr>
        <p:spPr>
          <a:xfrm>
            <a:off x="8023360" y="3407780"/>
            <a:ext cx="941634" cy="2384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1200" dirty="0">
                <a:solidFill>
                  <a:srgbClr val="8098AA"/>
                </a:solidFill>
                <a:cs typeface="Arial" panose="020B0604020202020204" pitchFamily="34" charset="0"/>
              </a:rPr>
              <a:t>Ik formuleer en bereik doelen</a:t>
            </a:r>
            <a:endParaRPr lang="nl-NL" sz="1050" dirty="0">
              <a:solidFill>
                <a:srgbClr val="8098AA"/>
              </a:solidFill>
              <a:cs typeface="Arial" panose="020B0604020202020204" pitchFamily="34" charset="0"/>
            </a:endParaRPr>
          </a:p>
        </p:txBody>
      </p:sp>
      <p:sp>
        <p:nvSpPr>
          <p:cNvPr id="256" name="Content Placeholder 2">
            <a:extLst>
              <a:ext uri="{FF2B5EF4-FFF2-40B4-BE49-F238E27FC236}">
                <a16:creationId xmlns:a16="http://schemas.microsoft.com/office/drawing/2014/main" id="{D48DC697-C0B7-31BA-C2B3-BB9DFD1DEAEE}"/>
              </a:ext>
            </a:extLst>
          </p:cNvPr>
          <p:cNvSpPr txBox="1">
            <a:spLocks/>
          </p:cNvSpPr>
          <p:nvPr/>
        </p:nvSpPr>
        <p:spPr>
          <a:xfrm>
            <a:off x="7863381" y="4495697"/>
            <a:ext cx="904312" cy="2384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1200" dirty="0">
                <a:solidFill>
                  <a:srgbClr val="8098AA"/>
                </a:solidFill>
                <a:cs typeface="Arial" panose="020B0604020202020204" pitchFamily="34" charset="0"/>
              </a:rPr>
              <a:t>Ik bespreek mijn ontwikkeling met HR</a:t>
            </a:r>
            <a:endParaRPr lang="nl-NL" sz="1050" dirty="0">
              <a:solidFill>
                <a:srgbClr val="8098AA"/>
              </a:solidFill>
              <a:cs typeface="Arial" panose="020B0604020202020204" pitchFamily="34" charset="0"/>
            </a:endParaRPr>
          </a:p>
        </p:txBody>
      </p:sp>
      <p:sp>
        <p:nvSpPr>
          <p:cNvPr id="257" name="Content Placeholder 2">
            <a:extLst>
              <a:ext uri="{FF2B5EF4-FFF2-40B4-BE49-F238E27FC236}">
                <a16:creationId xmlns:a16="http://schemas.microsoft.com/office/drawing/2014/main" id="{BB2615D7-1F92-219E-764E-22B2108FAE2E}"/>
              </a:ext>
            </a:extLst>
          </p:cNvPr>
          <p:cNvSpPr txBox="1">
            <a:spLocks/>
          </p:cNvSpPr>
          <p:nvPr/>
        </p:nvSpPr>
        <p:spPr>
          <a:xfrm>
            <a:off x="9318834" y="2134279"/>
            <a:ext cx="943563" cy="2747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1200" dirty="0">
                <a:solidFill>
                  <a:srgbClr val="8098AA"/>
                </a:solidFill>
                <a:cs typeface="Arial" panose="020B0604020202020204" pitchFamily="34" charset="0"/>
              </a:rPr>
              <a:t>Ik volg  trainingen en opleidingen</a:t>
            </a:r>
            <a:endParaRPr lang="nl-NL" sz="1050" dirty="0">
              <a:solidFill>
                <a:srgbClr val="8098AA"/>
              </a:solidFill>
              <a:cs typeface="Arial" panose="020B0604020202020204" pitchFamily="34" charset="0"/>
            </a:endParaRPr>
          </a:p>
        </p:txBody>
      </p:sp>
      <p:sp>
        <p:nvSpPr>
          <p:cNvPr id="258" name="Content Placeholder 2">
            <a:extLst>
              <a:ext uri="{FF2B5EF4-FFF2-40B4-BE49-F238E27FC236}">
                <a16:creationId xmlns:a16="http://schemas.microsoft.com/office/drawing/2014/main" id="{CF092BD6-CF7D-B408-0858-5872CDC109A5}"/>
              </a:ext>
            </a:extLst>
          </p:cNvPr>
          <p:cNvSpPr txBox="1">
            <a:spLocks/>
          </p:cNvSpPr>
          <p:nvPr/>
        </p:nvSpPr>
        <p:spPr>
          <a:xfrm>
            <a:off x="8153924" y="1056865"/>
            <a:ext cx="1054490" cy="2384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1200" dirty="0">
                <a:solidFill>
                  <a:srgbClr val="8098AA"/>
                </a:solidFill>
                <a:cs typeface="Arial" panose="020B0604020202020204" pitchFamily="34" charset="0"/>
              </a:rPr>
              <a:t>Ik groei door naar een nieuwe functie</a:t>
            </a:r>
            <a:endParaRPr lang="nl-NL" sz="1050" dirty="0">
              <a:solidFill>
                <a:srgbClr val="8098AA"/>
              </a:solidFill>
              <a:cs typeface="Arial" panose="020B0604020202020204" pitchFamily="34" charset="0"/>
            </a:endParaRPr>
          </a:p>
        </p:txBody>
      </p:sp>
      <p:sp>
        <p:nvSpPr>
          <p:cNvPr id="265" name="Content Placeholder 2">
            <a:extLst>
              <a:ext uri="{FF2B5EF4-FFF2-40B4-BE49-F238E27FC236}">
                <a16:creationId xmlns:a16="http://schemas.microsoft.com/office/drawing/2014/main" id="{FFA51739-6C8D-6DBB-73A0-80C4AC8E665A}"/>
              </a:ext>
            </a:extLst>
          </p:cNvPr>
          <p:cNvSpPr txBox="1">
            <a:spLocks/>
          </p:cNvSpPr>
          <p:nvPr/>
        </p:nvSpPr>
        <p:spPr>
          <a:xfrm>
            <a:off x="9416991" y="868529"/>
            <a:ext cx="897272" cy="2384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1200" dirty="0">
                <a:solidFill>
                  <a:srgbClr val="8098AA"/>
                </a:solidFill>
                <a:cs typeface="Arial" panose="020B0604020202020204" pitchFamily="34" charset="0"/>
              </a:rPr>
              <a:t>Ik maak promotie</a:t>
            </a:r>
            <a:endParaRPr lang="nl-NL" sz="1050" dirty="0">
              <a:solidFill>
                <a:srgbClr val="8098AA"/>
              </a:solidFill>
              <a:cs typeface="Arial" panose="020B0604020202020204" pitchFamily="34" charset="0"/>
            </a:endParaRPr>
          </a:p>
        </p:txBody>
      </p:sp>
      <p:sp>
        <p:nvSpPr>
          <p:cNvPr id="266" name="Content Placeholder 2">
            <a:extLst>
              <a:ext uri="{FF2B5EF4-FFF2-40B4-BE49-F238E27FC236}">
                <a16:creationId xmlns:a16="http://schemas.microsoft.com/office/drawing/2014/main" id="{7CC8A329-348B-21E8-BB9C-3299AB228785}"/>
              </a:ext>
            </a:extLst>
          </p:cNvPr>
          <p:cNvSpPr txBox="1">
            <a:spLocks/>
          </p:cNvSpPr>
          <p:nvPr/>
        </p:nvSpPr>
        <p:spPr>
          <a:xfrm>
            <a:off x="10555441" y="1393732"/>
            <a:ext cx="1193769" cy="2384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1200" dirty="0">
                <a:solidFill>
                  <a:srgbClr val="8098AA"/>
                </a:solidFill>
                <a:cs typeface="Arial" panose="020B0604020202020204" pitchFamily="34" charset="0"/>
              </a:rPr>
              <a:t>Ik krijg een salarisverhoging</a:t>
            </a:r>
            <a:endParaRPr lang="nl-NL" sz="1050" dirty="0">
              <a:solidFill>
                <a:srgbClr val="8098AA"/>
              </a:solidFill>
              <a:cs typeface="Arial" panose="020B0604020202020204" pitchFamily="34" charset="0"/>
            </a:endParaRPr>
          </a:p>
        </p:txBody>
      </p:sp>
      <p:sp>
        <p:nvSpPr>
          <p:cNvPr id="267" name="Content Placeholder 2">
            <a:extLst>
              <a:ext uri="{FF2B5EF4-FFF2-40B4-BE49-F238E27FC236}">
                <a16:creationId xmlns:a16="http://schemas.microsoft.com/office/drawing/2014/main" id="{B351D8AB-6C83-CEDD-81EC-E5D9CC722472}"/>
              </a:ext>
            </a:extLst>
          </p:cNvPr>
          <p:cNvSpPr txBox="1">
            <a:spLocks/>
          </p:cNvSpPr>
          <p:nvPr/>
        </p:nvSpPr>
        <p:spPr>
          <a:xfrm>
            <a:off x="10594266" y="2052353"/>
            <a:ext cx="1193769" cy="2384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1200" dirty="0">
                <a:solidFill>
                  <a:srgbClr val="8098AA"/>
                </a:solidFill>
                <a:cs typeface="Arial" panose="020B0604020202020204" pitchFamily="34" charset="0"/>
              </a:rPr>
              <a:t>Ik ontvang een bonus</a:t>
            </a:r>
            <a:endParaRPr lang="nl-NL" sz="1050" dirty="0">
              <a:solidFill>
                <a:srgbClr val="8098AA"/>
              </a:solidFill>
              <a:cs typeface="Arial" panose="020B0604020202020204" pitchFamily="34" charset="0"/>
            </a:endParaRPr>
          </a:p>
        </p:txBody>
      </p:sp>
      <p:sp>
        <p:nvSpPr>
          <p:cNvPr id="268" name="Content Placeholder 2">
            <a:extLst>
              <a:ext uri="{FF2B5EF4-FFF2-40B4-BE49-F238E27FC236}">
                <a16:creationId xmlns:a16="http://schemas.microsoft.com/office/drawing/2014/main" id="{E672626F-0493-9B8E-2C5B-4F2ADCD8441A}"/>
              </a:ext>
            </a:extLst>
          </p:cNvPr>
          <p:cNvSpPr txBox="1">
            <a:spLocks/>
          </p:cNvSpPr>
          <p:nvPr/>
        </p:nvSpPr>
        <p:spPr>
          <a:xfrm>
            <a:off x="7347384" y="2152622"/>
            <a:ext cx="1239536" cy="2384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1200" dirty="0">
                <a:solidFill>
                  <a:srgbClr val="8098AA"/>
                </a:solidFill>
                <a:cs typeface="Arial" panose="020B0604020202020204" pitchFamily="34" charset="0"/>
              </a:rPr>
              <a:t>Ik word beoordeeld door mijn leidinggevende</a:t>
            </a:r>
            <a:endParaRPr lang="nl-NL" sz="1050" dirty="0">
              <a:solidFill>
                <a:srgbClr val="8098AA"/>
              </a:solidFill>
              <a:cs typeface="Arial" panose="020B0604020202020204" pitchFamily="34" charset="0"/>
            </a:endParaRPr>
          </a:p>
        </p:txBody>
      </p:sp>
      <p:sp>
        <p:nvSpPr>
          <p:cNvPr id="269" name="Content Placeholder 2">
            <a:extLst>
              <a:ext uri="{FF2B5EF4-FFF2-40B4-BE49-F238E27FC236}">
                <a16:creationId xmlns:a16="http://schemas.microsoft.com/office/drawing/2014/main" id="{C8159F87-7340-D204-C61A-5C70B4F98F31}"/>
              </a:ext>
            </a:extLst>
          </p:cNvPr>
          <p:cNvSpPr txBox="1">
            <a:spLocks/>
          </p:cNvSpPr>
          <p:nvPr/>
        </p:nvSpPr>
        <p:spPr>
          <a:xfrm>
            <a:off x="10820440" y="2810197"/>
            <a:ext cx="928770" cy="2384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1200" dirty="0">
                <a:solidFill>
                  <a:srgbClr val="8098AA"/>
                </a:solidFill>
                <a:cs typeface="Arial" panose="020B0604020202020204" pitchFamily="34" charset="0"/>
              </a:rPr>
              <a:t>Mijn contract wordt verlengd</a:t>
            </a:r>
            <a:endParaRPr lang="nl-NL" sz="1050" dirty="0">
              <a:solidFill>
                <a:srgbClr val="8098AA"/>
              </a:solidFill>
              <a:cs typeface="Arial" panose="020B0604020202020204" pitchFamily="34" charset="0"/>
            </a:endParaRPr>
          </a:p>
        </p:txBody>
      </p:sp>
      <p:sp>
        <p:nvSpPr>
          <p:cNvPr id="270" name="Content Placeholder 2">
            <a:extLst>
              <a:ext uri="{FF2B5EF4-FFF2-40B4-BE49-F238E27FC236}">
                <a16:creationId xmlns:a16="http://schemas.microsoft.com/office/drawing/2014/main" id="{D3DE457D-1B6C-6423-2CC5-B6264355BEB0}"/>
              </a:ext>
            </a:extLst>
          </p:cNvPr>
          <p:cNvSpPr txBox="1">
            <a:spLocks/>
          </p:cNvSpPr>
          <p:nvPr/>
        </p:nvSpPr>
        <p:spPr>
          <a:xfrm>
            <a:off x="10393715" y="4338366"/>
            <a:ext cx="1036197" cy="18782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1200" dirty="0">
                <a:solidFill>
                  <a:srgbClr val="8098AA"/>
                </a:solidFill>
                <a:cs typeface="Arial" panose="020B0604020202020204" pitchFamily="34" charset="0"/>
              </a:rPr>
              <a:t>Mijn contract wordt beëindigd of ik stop zelf</a:t>
            </a:r>
            <a:endParaRPr lang="nl-NL" sz="1050" dirty="0">
              <a:solidFill>
                <a:srgbClr val="8098AA"/>
              </a:solidFill>
              <a:cs typeface="Arial" panose="020B0604020202020204" pitchFamily="34" charset="0"/>
            </a:endParaRPr>
          </a:p>
        </p:txBody>
      </p:sp>
      <p:sp>
        <p:nvSpPr>
          <p:cNvPr id="282" name="Content Placeholder 2">
            <a:extLst>
              <a:ext uri="{FF2B5EF4-FFF2-40B4-BE49-F238E27FC236}">
                <a16:creationId xmlns:a16="http://schemas.microsoft.com/office/drawing/2014/main" id="{E8827D96-F513-6D58-DF47-D629893E8279}"/>
              </a:ext>
            </a:extLst>
          </p:cNvPr>
          <p:cNvSpPr txBox="1">
            <a:spLocks/>
          </p:cNvSpPr>
          <p:nvPr/>
        </p:nvSpPr>
        <p:spPr>
          <a:xfrm>
            <a:off x="9504411" y="4914487"/>
            <a:ext cx="776689" cy="2459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1200" dirty="0">
                <a:solidFill>
                  <a:srgbClr val="8098AA"/>
                </a:solidFill>
                <a:cs typeface="Arial" panose="020B0604020202020204" pitchFamily="34" charset="0"/>
              </a:rPr>
              <a:t>Ik heb een exit gesprek</a:t>
            </a:r>
            <a:endParaRPr lang="nl-NL" sz="1050" dirty="0">
              <a:solidFill>
                <a:srgbClr val="8098AA"/>
              </a:solidFill>
              <a:cs typeface="Arial" panose="020B0604020202020204" pitchFamily="34" charset="0"/>
            </a:endParaRPr>
          </a:p>
        </p:txBody>
      </p:sp>
      <p:sp>
        <p:nvSpPr>
          <p:cNvPr id="285" name="Content Placeholder 2">
            <a:extLst>
              <a:ext uri="{FF2B5EF4-FFF2-40B4-BE49-F238E27FC236}">
                <a16:creationId xmlns:a16="http://schemas.microsoft.com/office/drawing/2014/main" id="{8AA4AF45-585D-A965-F35A-FBE3D4CA5AC6}"/>
              </a:ext>
            </a:extLst>
          </p:cNvPr>
          <p:cNvSpPr txBox="1">
            <a:spLocks/>
          </p:cNvSpPr>
          <p:nvPr/>
        </p:nvSpPr>
        <p:spPr>
          <a:xfrm>
            <a:off x="9137763" y="5928990"/>
            <a:ext cx="846018" cy="23150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1200" dirty="0">
                <a:solidFill>
                  <a:srgbClr val="8098AA"/>
                </a:solidFill>
                <a:cs typeface="Arial" panose="020B0604020202020204" pitchFamily="34" charset="0"/>
              </a:rPr>
              <a:t>Ik neem afscheid van mijn team</a:t>
            </a:r>
            <a:endParaRPr lang="nl-NL" sz="1050" dirty="0">
              <a:solidFill>
                <a:srgbClr val="8098AA"/>
              </a:solidFill>
              <a:cs typeface="Arial" panose="020B0604020202020204" pitchFamily="34" charset="0"/>
            </a:endParaRPr>
          </a:p>
        </p:txBody>
      </p:sp>
      <p:sp>
        <p:nvSpPr>
          <p:cNvPr id="287" name="Content Placeholder 2">
            <a:extLst>
              <a:ext uri="{FF2B5EF4-FFF2-40B4-BE49-F238E27FC236}">
                <a16:creationId xmlns:a16="http://schemas.microsoft.com/office/drawing/2014/main" id="{7F16ABFC-2D27-3A8A-C697-0C0EA72C5009}"/>
              </a:ext>
            </a:extLst>
          </p:cNvPr>
          <p:cNvSpPr txBox="1">
            <a:spLocks/>
          </p:cNvSpPr>
          <p:nvPr/>
        </p:nvSpPr>
        <p:spPr>
          <a:xfrm>
            <a:off x="11290823" y="4901750"/>
            <a:ext cx="846018" cy="23150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1200" dirty="0">
                <a:solidFill>
                  <a:srgbClr val="8098AA"/>
                </a:solidFill>
                <a:cs typeface="Arial" panose="020B0604020202020204" pitchFamily="34" charset="0"/>
              </a:rPr>
              <a:t>Ik houd contact</a:t>
            </a:r>
            <a:endParaRPr lang="nl-NL" sz="1050" dirty="0">
              <a:solidFill>
                <a:srgbClr val="8098AA"/>
              </a:solidFill>
              <a:cs typeface="Arial" panose="020B0604020202020204" pitchFamily="34" charset="0"/>
            </a:endParaRPr>
          </a:p>
        </p:txBody>
      </p:sp>
      <p:sp>
        <p:nvSpPr>
          <p:cNvPr id="288" name="Content Placeholder 2">
            <a:extLst>
              <a:ext uri="{FF2B5EF4-FFF2-40B4-BE49-F238E27FC236}">
                <a16:creationId xmlns:a16="http://schemas.microsoft.com/office/drawing/2014/main" id="{C5F3AD5F-F3AA-8133-AF2E-55BC0FEFC3CE}"/>
              </a:ext>
            </a:extLst>
          </p:cNvPr>
          <p:cNvSpPr txBox="1">
            <a:spLocks/>
          </p:cNvSpPr>
          <p:nvPr/>
        </p:nvSpPr>
        <p:spPr>
          <a:xfrm>
            <a:off x="10265867" y="6015548"/>
            <a:ext cx="846018" cy="22147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1200" dirty="0">
                <a:solidFill>
                  <a:srgbClr val="8098AA"/>
                </a:solidFill>
                <a:cs typeface="Arial" panose="020B0604020202020204" pitchFamily="34" charset="0"/>
              </a:rPr>
              <a:t>Ik lever mijn spullen in</a:t>
            </a:r>
            <a:endParaRPr lang="nl-NL" sz="1050" dirty="0">
              <a:solidFill>
                <a:srgbClr val="8098AA"/>
              </a:solidFill>
              <a:cs typeface="Arial" panose="020B0604020202020204" pitchFamily="34" charset="0"/>
            </a:endParaRPr>
          </a:p>
        </p:txBody>
      </p:sp>
      <p:sp>
        <p:nvSpPr>
          <p:cNvPr id="289" name="Freeform 754">
            <a:extLst>
              <a:ext uri="{FF2B5EF4-FFF2-40B4-BE49-F238E27FC236}">
                <a16:creationId xmlns:a16="http://schemas.microsoft.com/office/drawing/2014/main" id="{A874E14F-89F7-0EB6-B168-A36A997931D8}"/>
              </a:ext>
            </a:extLst>
          </p:cNvPr>
          <p:cNvSpPr/>
          <p:nvPr/>
        </p:nvSpPr>
        <p:spPr>
          <a:xfrm flipV="1">
            <a:off x="4459239" y="5944065"/>
            <a:ext cx="340081" cy="268049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rgbClr val="8098AA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291" name="Freeform 754">
            <a:extLst>
              <a:ext uri="{FF2B5EF4-FFF2-40B4-BE49-F238E27FC236}">
                <a16:creationId xmlns:a16="http://schemas.microsoft.com/office/drawing/2014/main" id="{B2F68670-0671-D5A5-CCA4-FD8CC69914D6}"/>
              </a:ext>
            </a:extLst>
          </p:cNvPr>
          <p:cNvSpPr/>
          <p:nvPr/>
        </p:nvSpPr>
        <p:spPr>
          <a:xfrm flipV="1">
            <a:off x="4799597" y="4938426"/>
            <a:ext cx="420827" cy="374036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rgbClr val="8098AA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292" name="Freeform 754">
            <a:extLst>
              <a:ext uri="{FF2B5EF4-FFF2-40B4-BE49-F238E27FC236}">
                <a16:creationId xmlns:a16="http://schemas.microsoft.com/office/drawing/2014/main" id="{C7C02676-CE1C-E084-9FBA-D0D663223657}"/>
              </a:ext>
            </a:extLst>
          </p:cNvPr>
          <p:cNvSpPr/>
          <p:nvPr/>
        </p:nvSpPr>
        <p:spPr>
          <a:xfrm flipV="1">
            <a:off x="4809476" y="4011479"/>
            <a:ext cx="409075" cy="220388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rgbClr val="8098AA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293" name="Freeform 754">
            <a:extLst>
              <a:ext uri="{FF2B5EF4-FFF2-40B4-BE49-F238E27FC236}">
                <a16:creationId xmlns:a16="http://schemas.microsoft.com/office/drawing/2014/main" id="{A2697F1E-D024-4E76-7788-E81D9FCBC769}"/>
              </a:ext>
            </a:extLst>
          </p:cNvPr>
          <p:cNvSpPr/>
          <p:nvPr/>
        </p:nvSpPr>
        <p:spPr>
          <a:xfrm rot="11050930" flipH="1">
            <a:off x="4802709" y="2549021"/>
            <a:ext cx="590031" cy="229093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rgbClr val="8098AA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294" name="Freeform 754">
            <a:extLst>
              <a:ext uri="{FF2B5EF4-FFF2-40B4-BE49-F238E27FC236}">
                <a16:creationId xmlns:a16="http://schemas.microsoft.com/office/drawing/2014/main" id="{8867A97F-D64F-5524-08BF-79054C2FFB5D}"/>
              </a:ext>
            </a:extLst>
          </p:cNvPr>
          <p:cNvSpPr/>
          <p:nvPr/>
        </p:nvSpPr>
        <p:spPr>
          <a:xfrm rot="5772746" flipH="1">
            <a:off x="5493747" y="691981"/>
            <a:ext cx="385278" cy="354751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rgbClr val="8098AA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295" name="Freeform 754">
            <a:extLst>
              <a:ext uri="{FF2B5EF4-FFF2-40B4-BE49-F238E27FC236}">
                <a16:creationId xmlns:a16="http://schemas.microsoft.com/office/drawing/2014/main" id="{68E94E6F-A8FC-D7F6-E698-A0295FD611D1}"/>
              </a:ext>
            </a:extLst>
          </p:cNvPr>
          <p:cNvSpPr/>
          <p:nvPr/>
        </p:nvSpPr>
        <p:spPr>
          <a:xfrm rot="6842120" flipH="1">
            <a:off x="6244758" y="1237056"/>
            <a:ext cx="385278" cy="354751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rgbClr val="8098AA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296" name="Freeform 754">
            <a:extLst>
              <a:ext uri="{FF2B5EF4-FFF2-40B4-BE49-F238E27FC236}">
                <a16:creationId xmlns:a16="http://schemas.microsoft.com/office/drawing/2014/main" id="{643DD2F1-7A8B-C515-B559-EA9294FB5680}"/>
              </a:ext>
            </a:extLst>
          </p:cNvPr>
          <p:cNvSpPr/>
          <p:nvPr/>
        </p:nvSpPr>
        <p:spPr>
          <a:xfrm rot="8144550" flipH="1">
            <a:off x="6301104" y="2686946"/>
            <a:ext cx="385278" cy="354751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rgbClr val="8098AA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297" name="Freeform 754">
            <a:extLst>
              <a:ext uri="{FF2B5EF4-FFF2-40B4-BE49-F238E27FC236}">
                <a16:creationId xmlns:a16="http://schemas.microsoft.com/office/drawing/2014/main" id="{4591F38C-93E5-A405-ED27-97EF03FD4908}"/>
              </a:ext>
            </a:extLst>
          </p:cNvPr>
          <p:cNvSpPr/>
          <p:nvPr/>
        </p:nvSpPr>
        <p:spPr>
          <a:xfrm rot="5400000">
            <a:off x="6913773" y="5173792"/>
            <a:ext cx="590031" cy="229093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rgbClr val="8098AA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298" name="Freeform 754">
            <a:extLst>
              <a:ext uri="{FF2B5EF4-FFF2-40B4-BE49-F238E27FC236}">
                <a16:creationId xmlns:a16="http://schemas.microsoft.com/office/drawing/2014/main" id="{84BD494B-37EF-2BFE-450A-F73E373123A8}"/>
              </a:ext>
            </a:extLst>
          </p:cNvPr>
          <p:cNvSpPr/>
          <p:nvPr/>
        </p:nvSpPr>
        <p:spPr>
          <a:xfrm rot="2794782">
            <a:off x="7379022" y="4862806"/>
            <a:ext cx="590031" cy="229093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rgbClr val="8098AA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299" name="Freeform 754">
            <a:extLst>
              <a:ext uri="{FF2B5EF4-FFF2-40B4-BE49-F238E27FC236}">
                <a16:creationId xmlns:a16="http://schemas.microsoft.com/office/drawing/2014/main" id="{281DFC90-662A-2870-0E3C-629F84D3119D}"/>
              </a:ext>
            </a:extLst>
          </p:cNvPr>
          <p:cNvSpPr/>
          <p:nvPr/>
        </p:nvSpPr>
        <p:spPr>
          <a:xfrm rot="2794782">
            <a:off x="7744184" y="3537158"/>
            <a:ext cx="515413" cy="516145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rgbClr val="8098AA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303" name="Freeform 754">
            <a:extLst>
              <a:ext uri="{FF2B5EF4-FFF2-40B4-BE49-F238E27FC236}">
                <a16:creationId xmlns:a16="http://schemas.microsoft.com/office/drawing/2014/main" id="{3C52A5DE-D1FD-8579-E9ED-D0B4D9DFEA62}"/>
              </a:ext>
            </a:extLst>
          </p:cNvPr>
          <p:cNvSpPr/>
          <p:nvPr/>
        </p:nvSpPr>
        <p:spPr>
          <a:xfrm rot="2096207">
            <a:off x="9035161" y="2491160"/>
            <a:ext cx="590031" cy="229093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rgbClr val="8098AA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305" name="Freeform 754">
            <a:extLst>
              <a:ext uri="{FF2B5EF4-FFF2-40B4-BE49-F238E27FC236}">
                <a16:creationId xmlns:a16="http://schemas.microsoft.com/office/drawing/2014/main" id="{17182AC8-3187-6AD4-2C97-065B6DF23670}"/>
              </a:ext>
            </a:extLst>
          </p:cNvPr>
          <p:cNvSpPr/>
          <p:nvPr/>
        </p:nvSpPr>
        <p:spPr>
          <a:xfrm rot="14277313" flipV="1">
            <a:off x="7968441" y="2775189"/>
            <a:ext cx="287403" cy="110835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rgbClr val="8098AA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306" name="Freeform 754">
            <a:extLst>
              <a:ext uri="{FF2B5EF4-FFF2-40B4-BE49-F238E27FC236}">
                <a16:creationId xmlns:a16="http://schemas.microsoft.com/office/drawing/2014/main" id="{A9E64F6C-0C35-F89D-5FCA-13644A7DEDAF}"/>
              </a:ext>
            </a:extLst>
          </p:cNvPr>
          <p:cNvSpPr/>
          <p:nvPr/>
        </p:nvSpPr>
        <p:spPr>
          <a:xfrm rot="5400000">
            <a:off x="9933910" y="4225535"/>
            <a:ext cx="438078" cy="229093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rgbClr val="8098AA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309" name="Freeform 754">
            <a:extLst>
              <a:ext uri="{FF2B5EF4-FFF2-40B4-BE49-F238E27FC236}">
                <a16:creationId xmlns:a16="http://schemas.microsoft.com/office/drawing/2014/main" id="{57A13987-F112-ECA0-31BD-37BDDDD3612F}"/>
              </a:ext>
            </a:extLst>
          </p:cNvPr>
          <p:cNvSpPr/>
          <p:nvPr/>
        </p:nvSpPr>
        <p:spPr>
          <a:xfrm rot="14277313" flipV="1">
            <a:off x="11436873" y="5366205"/>
            <a:ext cx="287403" cy="110835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rgbClr val="8098AA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310" name="Freeform 754">
            <a:extLst>
              <a:ext uri="{FF2B5EF4-FFF2-40B4-BE49-F238E27FC236}">
                <a16:creationId xmlns:a16="http://schemas.microsoft.com/office/drawing/2014/main" id="{5C942EEF-2479-02E8-58DE-178EB626DAA6}"/>
              </a:ext>
            </a:extLst>
          </p:cNvPr>
          <p:cNvSpPr/>
          <p:nvPr/>
        </p:nvSpPr>
        <p:spPr>
          <a:xfrm rot="8418227">
            <a:off x="9026486" y="5587624"/>
            <a:ext cx="455385" cy="229093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rgbClr val="8098AA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311" name="Freeform 754">
            <a:extLst>
              <a:ext uri="{FF2B5EF4-FFF2-40B4-BE49-F238E27FC236}">
                <a16:creationId xmlns:a16="http://schemas.microsoft.com/office/drawing/2014/main" id="{660FD98C-C008-AA51-6F31-8747D61CC1FA}"/>
              </a:ext>
            </a:extLst>
          </p:cNvPr>
          <p:cNvSpPr/>
          <p:nvPr/>
        </p:nvSpPr>
        <p:spPr>
          <a:xfrm rot="17198682" flipH="1" flipV="1">
            <a:off x="10192613" y="5680009"/>
            <a:ext cx="287403" cy="110835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rgbClr val="8098AA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312" name="Freeform 754">
            <a:extLst>
              <a:ext uri="{FF2B5EF4-FFF2-40B4-BE49-F238E27FC236}">
                <a16:creationId xmlns:a16="http://schemas.microsoft.com/office/drawing/2014/main" id="{60CF4DF5-7CB7-9143-D379-FCB82EA713AF}"/>
              </a:ext>
            </a:extLst>
          </p:cNvPr>
          <p:cNvSpPr/>
          <p:nvPr/>
        </p:nvSpPr>
        <p:spPr>
          <a:xfrm rot="10130306" flipH="1">
            <a:off x="4928373" y="1342313"/>
            <a:ext cx="544516" cy="229093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rgbClr val="8098AA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313" name="Content Placeholder 2">
            <a:extLst>
              <a:ext uri="{FF2B5EF4-FFF2-40B4-BE49-F238E27FC236}">
                <a16:creationId xmlns:a16="http://schemas.microsoft.com/office/drawing/2014/main" id="{B3F3FDBB-684A-84DB-2AD6-E5B825405C20}"/>
              </a:ext>
            </a:extLst>
          </p:cNvPr>
          <p:cNvSpPr txBox="1">
            <a:spLocks/>
          </p:cNvSpPr>
          <p:nvPr/>
        </p:nvSpPr>
        <p:spPr>
          <a:xfrm>
            <a:off x="5174631" y="1610185"/>
            <a:ext cx="717583" cy="2384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1200" dirty="0">
                <a:solidFill>
                  <a:srgbClr val="8098AA"/>
                </a:solidFill>
                <a:cs typeface="Arial" panose="020B0604020202020204" pitchFamily="34" charset="0"/>
              </a:rPr>
              <a:t>We hebben een team uitje</a:t>
            </a:r>
            <a:endParaRPr lang="nl-NL" sz="1050" dirty="0">
              <a:solidFill>
                <a:srgbClr val="8098AA"/>
              </a:solidFill>
              <a:cs typeface="Arial" panose="020B0604020202020204" pitchFamily="34" charset="0"/>
            </a:endParaRPr>
          </a:p>
        </p:txBody>
      </p:sp>
      <p:sp>
        <p:nvSpPr>
          <p:cNvPr id="42" name="Freeform 754">
            <a:extLst>
              <a:ext uri="{FF2B5EF4-FFF2-40B4-BE49-F238E27FC236}">
                <a16:creationId xmlns:a16="http://schemas.microsoft.com/office/drawing/2014/main" id="{3B52D63E-5DCF-1136-C699-4A3A28A43486}"/>
              </a:ext>
            </a:extLst>
          </p:cNvPr>
          <p:cNvSpPr/>
          <p:nvPr/>
        </p:nvSpPr>
        <p:spPr>
          <a:xfrm rot="8144550" flipH="1">
            <a:off x="9138550" y="4640340"/>
            <a:ext cx="385278" cy="354751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rgbClr val="8098AA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03173C9-351B-FDFF-429E-BE963E7840B7}"/>
              </a:ext>
            </a:extLst>
          </p:cNvPr>
          <p:cNvGrpSpPr/>
          <p:nvPr/>
        </p:nvGrpSpPr>
        <p:grpSpPr>
          <a:xfrm>
            <a:off x="8831137" y="1344205"/>
            <a:ext cx="1890783" cy="929163"/>
            <a:chOff x="3251818" y="1389545"/>
            <a:chExt cx="2062588" cy="1032959"/>
          </a:xfrm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DB18B819-5F51-0B53-DBBE-38910D033BDA}"/>
                </a:ext>
              </a:extLst>
            </p:cNvPr>
            <p:cNvGrpSpPr>
              <a:grpSpLocks noChangeAspect="1"/>
            </p:cNvGrpSpPr>
            <p:nvPr/>
          </p:nvGrpSpPr>
          <p:grpSpPr>
            <a:xfrm rot="16200000">
              <a:off x="3251644" y="1389719"/>
              <a:ext cx="1032959" cy="1032611"/>
              <a:chOff x="2877933" y="261637"/>
              <a:chExt cx="495803" cy="495636"/>
            </a:xfrm>
          </p:grpSpPr>
          <p:grpSp>
            <p:nvGrpSpPr>
              <p:cNvPr id="24" name="Graphic 4">
                <a:extLst>
                  <a:ext uri="{FF2B5EF4-FFF2-40B4-BE49-F238E27FC236}">
                    <a16:creationId xmlns:a16="http://schemas.microsoft.com/office/drawing/2014/main" id="{E8101E8D-4454-3DCD-E7BA-62B25C79D717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2878002" y="261637"/>
                <a:ext cx="495734" cy="495636"/>
                <a:chOff x="2878002" y="261637"/>
                <a:chExt cx="495734" cy="495636"/>
              </a:xfrm>
            </p:grpSpPr>
            <p:sp>
              <p:nvSpPr>
                <p:cNvPr id="26" name="Freeform 70">
                  <a:extLst>
                    <a:ext uri="{FF2B5EF4-FFF2-40B4-BE49-F238E27FC236}">
                      <a16:creationId xmlns:a16="http://schemas.microsoft.com/office/drawing/2014/main" id="{B6FD2441-457F-32BE-1BE4-2A47AF3A629F}"/>
                    </a:ext>
                  </a:extLst>
                </p:cNvPr>
                <p:cNvSpPr/>
                <p:nvPr/>
              </p:nvSpPr>
              <p:spPr>
                <a:xfrm>
                  <a:off x="2878002" y="261637"/>
                  <a:ext cx="495734" cy="495568"/>
                </a:xfrm>
                <a:custGeom>
                  <a:avLst/>
                  <a:gdLst>
                    <a:gd name="connsiteX0" fmla="*/ 0 w 495734"/>
                    <a:gd name="connsiteY0" fmla="*/ 0 h 495568"/>
                    <a:gd name="connsiteX1" fmla="*/ 0 w 495734"/>
                    <a:gd name="connsiteY1" fmla="*/ 233999 h 495568"/>
                    <a:gd name="connsiteX2" fmla="*/ 261657 w 495734"/>
                    <a:gd name="connsiteY2" fmla="*/ 495568 h 495568"/>
                    <a:gd name="connsiteX3" fmla="*/ 495734 w 495734"/>
                    <a:gd name="connsiteY3" fmla="*/ 495568 h 495568"/>
                    <a:gd name="connsiteX4" fmla="*/ 0 w 495734"/>
                    <a:gd name="connsiteY4" fmla="*/ 0 h 4955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95734" h="495568">
                      <a:moveTo>
                        <a:pt x="0" y="0"/>
                      </a:moveTo>
                      <a:lnTo>
                        <a:pt x="0" y="233999"/>
                      </a:lnTo>
                      <a:cubicBezTo>
                        <a:pt x="144239" y="233999"/>
                        <a:pt x="261657" y="351309"/>
                        <a:pt x="261657" y="495568"/>
                      </a:cubicBezTo>
                      <a:lnTo>
                        <a:pt x="495734" y="495568"/>
                      </a:lnTo>
                      <a:cubicBezTo>
                        <a:pt x="495734" y="222351"/>
                        <a:pt x="273309" y="0"/>
                        <a:pt x="0" y="0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 w="68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 dirty="0"/>
                </a:p>
              </p:txBody>
            </p:sp>
            <p:sp>
              <p:nvSpPr>
                <p:cNvPr id="27" name="Freeform 71">
                  <a:extLst>
                    <a:ext uri="{FF2B5EF4-FFF2-40B4-BE49-F238E27FC236}">
                      <a16:creationId xmlns:a16="http://schemas.microsoft.com/office/drawing/2014/main" id="{62124D69-567E-D039-BF2B-28FE7EB95D91}"/>
                    </a:ext>
                  </a:extLst>
                </p:cNvPr>
                <p:cNvSpPr/>
                <p:nvPr/>
              </p:nvSpPr>
              <p:spPr>
                <a:xfrm>
                  <a:off x="2878002" y="274733"/>
                  <a:ext cx="482703" cy="482541"/>
                </a:xfrm>
                <a:custGeom>
                  <a:avLst/>
                  <a:gdLst>
                    <a:gd name="connsiteX0" fmla="*/ 0 w 482703"/>
                    <a:gd name="connsiteY0" fmla="*/ 199606 h 482541"/>
                    <a:gd name="connsiteX1" fmla="*/ 0 w 482703"/>
                    <a:gd name="connsiteY1" fmla="*/ 207877 h 482541"/>
                    <a:gd name="connsiteX2" fmla="*/ 274757 w 482703"/>
                    <a:gd name="connsiteY2" fmla="*/ 482541 h 482541"/>
                    <a:gd name="connsiteX3" fmla="*/ 283031 w 482703"/>
                    <a:gd name="connsiteY3" fmla="*/ 482541 h 482541"/>
                    <a:gd name="connsiteX4" fmla="*/ 0 w 482703"/>
                    <a:gd name="connsiteY4" fmla="*/ 199606 h 482541"/>
                    <a:gd name="connsiteX5" fmla="*/ 0 w 482703"/>
                    <a:gd name="connsiteY5" fmla="*/ 0 h 482541"/>
                    <a:gd name="connsiteX6" fmla="*/ 0 w 482703"/>
                    <a:gd name="connsiteY6" fmla="*/ 8271 h 482541"/>
                    <a:gd name="connsiteX7" fmla="*/ 474429 w 482703"/>
                    <a:gd name="connsiteY7" fmla="*/ 482541 h 482541"/>
                    <a:gd name="connsiteX8" fmla="*/ 482703 w 482703"/>
                    <a:gd name="connsiteY8" fmla="*/ 482541 h 482541"/>
                    <a:gd name="connsiteX9" fmla="*/ 0 w 482703"/>
                    <a:gd name="connsiteY9" fmla="*/ 0 h 4825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482703" h="482541">
                      <a:moveTo>
                        <a:pt x="0" y="199606"/>
                      </a:moveTo>
                      <a:lnTo>
                        <a:pt x="0" y="207877"/>
                      </a:lnTo>
                      <a:cubicBezTo>
                        <a:pt x="151478" y="207877"/>
                        <a:pt x="274757" y="331114"/>
                        <a:pt x="274757" y="482541"/>
                      </a:cubicBezTo>
                      <a:lnTo>
                        <a:pt x="283031" y="482541"/>
                      </a:lnTo>
                      <a:cubicBezTo>
                        <a:pt x="282962" y="326496"/>
                        <a:pt x="156029" y="199606"/>
                        <a:pt x="0" y="199606"/>
                      </a:cubicBezTo>
                      <a:close/>
                      <a:moveTo>
                        <a:pt x="0" y="0"/>
                      </a:moveTo>
                      <a:lnTo>
                        <a:pt x="0" y="8271"/>
                      </a:lnTo>
                      <a:cubicBezTo>
                        <a:pt x="261588" y="8271"/>
                        <a:pt x="474429" y="221041"/>
                        <a:pt x="474429" y="482541"/>
                      </a:cubicBezTo>
                      <a:lnTo>
                        <a:pt x="482703" y="482541"/>
                      </a:lnTo>
                      <a:cubicBezTo>
                        <a:pt x="482634" y="216492"/>
                        <a:pt x="266138" y="0"/>
                        <a:pt x="0" y="0"/>
                      </a:cubicBezTo>
                      <a:close/>
                    </a:path>
                  </a:pathLst>
                </a:custGeom>
                <a:solidFill>
                  <a:srgbClr val="E4E4E4"/>
                </a:solidFill>
                <a:ln w="68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 dirty="0"/>
                </a:p>
              </p:txBody>
            </p:sp>
          </p:grpSp>
          <p:sp>
            <p:nvSpPr>
              <p:cNvPr id="25" name="Freeform 69">
                <a:extLst>
                  <a:ext uri="{FF2B5EF4-FFF2-40B4-BE49-F238E27FC236}">
                    <a16:creationId xmlns:a16="http://schemas.microsoft.com/office/drawing/2014/main" id="{A730B54A-8830-3278-747F-8D77F3D56B1A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877933" y="373295"/>
                <a:ext cx="384038" cy="366334"/>
              </a:xfrm>
              <a:custGeom>
                <a:avLst/>
                <a:gdLst>
                  <a:gd name="connsiteX0" fmla="*/ 359493 w 384038"/>
                  <a:gd name="connsiteY0" fmla="*/ 247371 h 366334"/>
                  <a:gd name="connsiteX1" fmla="*/ 351978 w 384038"/>
                  <a:gd name="connsiteY1" fmla="*/ 249921 h 366334"/>
                  <a:gd name="connsiteX2" fmla="*/ 351633 w 384038"/>
                  <a:gd name="connsiteY2" fmla="*/ 250059 h 366334"/>
                  <a:gd name="connsiteX3" fmla="*/ 351771 w 384038"/>
                  <a:gd name="connsiteY3" fmla="*/ 250403 h 366334"/>
                  <a:gd name="connsiteX4" fmla="*/ 366526 w 384038"/>
                  <a:gd name="connsiteY4" fmla="*/ 298650 h 366334"/>
                  <a:gd name="connsiteX5" fmla="*/ 370525 w 384038"/>
                  <a:gd name="connsiteY5" fmla="*/ 298099 h 366334"/>
                  <a:gd name="connsiteX6" fmla="*/ 374317 w 384038"/>
                  <a:gd name="connsiteY6" fmla="*/ 297203 h 366334"/>
                  <a:gd name="connsiteX7" fmla="*/ 359493 w 384038"/>
                  <a:gd name="connsiteY7" fmla="*/ 247371 h 366334"/>
                  <a:gd name="connsiteX8" fmla="*/ 73360 w 384038"/>
                  <a:gd name="connsiteY8" fmla="*/ 7030 h 366334"/>
                  <a:gd name="connsiteX9" fmla="*/ 71843 w 384038"/>
                  <a:gd name="connsiteY9" fmla="*/ 15163 h 366334"/>
                  <a:gd name="connsiteX10" fmla="*/ 72188 w 384038"/>
                  <a:gd name="connsiteY10" fmla="*/ 15232 h 366334"/>
                  <a:gd name="connsiteX11" fmla="*/ 120934 w 384038"/>
                  <a:gd name="connsiteY11" fmla="*/ 28190 h 366334"/>
                  <a:gd name="connsiteX12" fmla="*/ 121279 w 384038"/>
                  <a:gd name="connsiteY12" fmla="*/ 28328 h 366334"/>
                  <a:gd name="connsiteX13" fmla="*/ 123830 w 384038"/>
                  <a:gd name="connsiteY13" fmla="*/ 20815 h 366334"/>
                  <a:gd name="connsiteX14" fmla="*/ 73705 w 384038"/>
                  <a:gd name="connsiteY14" fmla="*/ 7168 h 366334"/>
                  <a:gd name="connsiteX15" fmla="*/ 73360 w 384038"/>
                  <a:gd name="connsiteY15" fmla="*/ 7030 h 366334"/>
                  <a:gd name="connsiteX16" fmla="*/ 379626 w 384038"/>
                  <a:gd name="connsiteY16" fmla="*/ 322567 h 366334"/>
                  <a:gd name="connsiteX17" fmla="*/ 374869 w 384038"/>
                  <a:gd name="connsiteY17" fmla="*/ 322981 h 366334"/>
                  <a:gd name="connsiteX18" fmla="*/ 371421 w 384038"/>
                  <a:gd name="connsiteY18" fmla="*/ 323532 h 366334"/>
                  <a:gd name="connsiteX19" fmla="*/ 371490 w 384038"/>
                  <a:gd name="connsiteY19" fmla="*/ 323877 h 366334"/>
                  <a:gd name="connsiteX20" fmla="*/ 375972 w 384038"/>
                  <a:gd name="connsiteY20" fmla="*/ 366334 h 366334"/>
                  <a:gd name="connsiteX21" fmla="*/ 384039 w 384038"/>
                  <a:gd name="connsiteY21" fmla="*/ 366334 h 366334"/>
                  <a:gd name="connsiteX22" fmla="*/ 379626 w 384038"/>
                  <a:gd name="connsiteY22" fmla="*/ 322567 h 366334"/>
                  <a:gd name="connsiteX23" fmla="*/ 69 w 384038"/>
                  <a:gd name="connsiteY23" fmla="*/ 8064 h 366334"/>
                  <a:gd name="connsiteX24" fmla="*/ 46678 w 384038"/>
                  <a:gd name="connsiteY24" fmla="*/ 11166 h 366334"/>
                  <a:gd name="connsiteX25" fmla="*/ 47367 w 384038"/>
                  <a:gd name="connsiteY25" fmla="*/ 8202 h 366334"/>
                  <a:gd name="connsiteX26" fmla="*/ 47988 w 384038"/>
                  <a:gd name="connsiteY26" fmla="*/ 3308 h 366334"/>
                  <a:gd name="connsiteX27" fmla="*/ 0 w 384038"/>
                  <a:gd name="connsiteY27" fmla="*/ 0 h 366334"/>
                  <a:gd name="connsiteX28" fmla="*/ 0 w 384038"/>
                  <a:gd name="connsiteY28" fmla="*/ 8064 h 366334"/>
                  <a:gd name="connsiteX29" fmla="*/ 148238 w 384038"/>
                  <a:gd name="connsiteY29" fmla="*/ 29569 h 366334"/>
                  <a:gd name="connsiteX30" fmla="*/ 146031 w 384038"/>
                  <a:gd name="connsiteY30" fmla="*/ 33980 h 366334"/>
                  <a:gd name="connsiteX31" fmla="*/ 144790 w 384038"/>
                  <a:gd name="connsiteY31" fmla="*/ 37081 h 366334"/>
                  <a:gd name="connsiteX32" fmla="*/ 147893 w 384038"/>
                  <a:gd name="connsiteY32" fmla="*/ 38460 h 366334"/>
                  <a:gd name="connsiteX33" fmla="*/ 190227 w 384038"/>
                  <a:gd name="connsiteY33" fmla="*/ 59895 h 366334"/>
                  <a:gd name="connsiteX34" fmla="*/ 194570 w 384038"/>
                  <a:gd name="connsiteY34" fmla="*/ 53279 h 366334"/>
                  <a:gd name="connsiteX35" fmla="*/ 150444 w 384038"/>
                  <a:gd name="connsiteY35" fmla="*/ 30603 h 366334"/>
                  <a:gd name="connsiteX36" fmla="*/ 148238 w 384038"/>
                  <a:gd name="connsiteY36" fmla="*/ 29569 h 366334"/>
                  <a:gd name="connsiteX37" fmla="*/ 276342 w 384038"/>
                  <a:gd name="connsiteY37" fmla="*/ 116758 h 366334"/>
                  <a:gd name="connsiteX38" fmla="*/ 273240 w 384038"/>
                  <a:gd name="connsiteY38" fmla="*/ 119309 h 366334"/>
                  <a:gd name="connsiteX39" fmla="*/ 270206 w 384038"/>
                  <a:gd name="connsiteY39" fmla="*/ 122272 h 366334"/>
                  <a:gd name="connsiteX40" fmla="*/ 276618 w 384038"/>
                  <a:gd name="connsiteY40" fmla="*/ 129440 h 366334"/>
                  <a:gd name="connsiteX41" fmla="*/ 302818 w 384038"/>
                  <a:gd name="connsiteY41" fmla="*/ 161215 h 366334"/>
                  <a:gd name="connsiteX42" fmla="*/ 308058 w 384038"/>
                  <a:gd name="connsiteY42" fmla="*/ 157837 h 366334"/>
                  <a:gd name="connsiteX43" fmla="*/ 309437 w 384038"/>
                  <a:gd name="connsiteY43" fmla="*/ 156872 h 366334"/>
                  <a:gd name="connsiteX44" fmla="*/ 282341 w 384038"/>
                  <a:gd name="connsiteY44" fmla="*/ 123513 h 366334"/>
                  <a:gd name="connsiteX45" fmla="*/ 276342 w 384038"/>
                  <a:gd name="connsiteY45" fmla="*/ 116758 h 366334"/>
                  <a:gd name="connsiteX46" fmla="*/ 320676 w 384038"/>
                  <a:gd name="connsiteY46" fmla="*/ 179962 h 366334"/>
                  <a:gd name="connsiteX47" fmla="*/ 317366 w 384038"/>
                  <a:gd name="connsiteY47" fmla="*/ 182030 h 366334"/>
                  <a:gd name="connsiteX48" fmla="*/ 317573 w 384038"/>
                  <a:gd name="connsiteY48" fmla="*/ 182306 h 366334"/>
                  <a:gd name="connsiteX49" fmla="*/ 341705 w 384038"/>
                  <a:gd name="connsiteY49" fmla="*/ 226624 h 366334"/>
                  <a:gd name="connsiteX50" fmla="*/ 347634 w 384038"/>
                  <a:gd name="connsiteY50" fmla="*/ 224281 h 366334"/>
                  <a:gd name="connsiteX51" fmla="*/ 349013 w 384038"/>
                  <a:gd name="connsiteY51" fmla="*/ 223660 h 366334"/>
                  <a:gd name="connsiteX52" fmla="*/ 324537 w 384038"/>
                  <a:gd name="connsiteY52" fmla="*/ 177826 h 366334"/>
                  <a:gd name="connsiteX53" fmla="*/ 320676 w 384038"/>
                  <a:gd name="connsiteY53" fmla="*/ 179962 h 366334"/>
                  <a:gd name="connsiteX54" fmla="*/ 216772 w 384038"/>
                  <a:gd name="connsiteY54" fmla="*/ 66581 h 366334"/>
                  <a:gd name="connsiteX55" fmla="*/ 212014 w 384038"/>
                  <a:gd name="connsiteY55" fmla="*/ 72922 h 366334"/>
                  <a:gd name="connsiteX56" fmla="*/ 211807 w 384038"/>
                  <a:gd name="connsiteY56" fmla="*/ 73198 h 366334"/>
                  <a:gd name="connsiteX57" fmla="*/ 222081 w 384038"/>
                  <a:gd name="connsiteY57" fmla="*/ 80780 h 366334"/>
                  <a:gd name="connsiteX58" fmla="*/ 251590 w 384038"/>
                  <a:gd name="connsiteY58" fmla="*/ 104765 h 366334"/>
                  <a:gd name="connsiteX59" fmla="*/ 257175 w 384038"/>
                  <a:gd name="connsiteY59" fmla="*/ 99114 h 366334"/>
                  <a:gd name="connsiteX60" fmla="*/ 226631 w 384038"/>
                  <a:gd name="connsiteY60" fmla="*/ 73887 h 366334"/>
                  <a:gd name="connsiteX61" fmla="*/ 216772 w 384038"/>
                  <a:gd name="connsiteY61" fmla="*/ 66581 h 3663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</a:cxnLst>
                <a:rect l="l" t="t" r="r" b="b"/>
                <a:pathLst>
                  <a:path w="384038" h="366334">
                    <a:moveTo>
                      <a:pt x="359493" y="247371"/>
                    </a:moveTo>
                    <a:cubicBezTo>
                      <a:pt x="359080" y="247164"/>
                      <a:pt x="351978" y="249921"/>
                      <a:pt x="351978" y="249921"/>
                    </a:cubicBezTo>
                    <a:lnTo>
                      <a:pt x="351633" y="250059"/>
                    </a:lnTo>
                    <a:lnTo>
                      <a:pt x="351771" y="250403"/>
                    </a:lnTo>
                    <a:cubicBezTo>
                      <a:pt x="358252" y="267083"/>
                      <a:pt x="363010" y="282798"/>
                      <a:pt x="366526" y="298650"/>
                    </a:cubicBezTo>
                    <a:cubicBezTo>
                      <a:pt x="366940" y="298926"/>
                      <a:pt x="370525" y="298099"/>
                      <a:pt x="370525" y="298099"/>
                    </a:cubicBezTo>
                    <a:lnTo>
                      <a:pt x="374317" y="297203"/>
                    </a:lnTo>
                    <a:cubicBezTo>
                      <a:pt x="371008" y="280592"/>
                      <a:pt x="366043" y="264464"/>
                      <a:pt x="359493" y="247371"/>
                    </a:cubicBezTo>
                    <a:close/>
                    <a:moveTo>
                      <a:pt x="73360" y="7030"/>
                    </a:moveTo>
                    <a:lnTo>
                      <a:pt x="71843" y="15163"/>
                    </a:lnTo>
                    <a:lnTo>
                      <a:pt x="72188" y="15232"/>
                    </a:lnTo>
                    <a:cubicBezTo>
                      <a:pt x="89287" y="18610"/>
                      <a:pt x="105697" y="22952"/>
                      <a:pt x="120934" y="28190"/>
                    </a:cubicBezTo>
                    <a:lnTo>
                      <a:pt x="121279" y="28328"/>
                    </a:lnTo>
                    <a:lnTo>
                      <a:pt x="123830" y="20815"/>
                    </a:lnTo>
                    <a:cubicBezTo>
                      <a:pt x="108041" y="15094"/>
                      <a:pt x="91287" y="10614"/>
                      <a:pt x="73705" y="7168"/>
                    </a:cubicBezTo>
                    <a:lnTo>
                      <a:pt x="73360" y="7030"/>
                    </a:lnTo>
                    <a:close/>
                    <a:moveTo>
                      <a:pt x="379626" y="322567"/>
                    </a:moveTo>
                    <a:cubicBezTo>
                      <a:pt x="379212" y="322292"/>
                      <a:pt x="374869" y="322981"/>
                      <a:pt x="374869" y="322981"/>
                    </a:cubicBezTo>
                    <a:lnTo>
                      <a:pt x="371421" y="323532"/>
                    </a:lnTo>
                    <a:lnTo>
                      <a:pt x="371490" y="323877"/>
                    </a:lnTo>
                    <a:cubicBezTo>
                      <a:pt x="373903" y="337593"/>
                      <a:pt x="375351" y="351860"/>
                      <a:pt x="375972" y="366334"/>
                    </a:cubicBezTo>
                    <a:lnTo>
                      <a:pt x="384039" y="366334"/>
                    </a:lnTo>
                    <a:cubicBezTo>
                      <a:pt x="383625" y="351309"/>
                      <a:pt x="382108" y="336628"/>
                      <a:pt x="379626" y="322567"/>
                    </a:cubicBezTo>
                    <a:close/>
                    <a:moveTo>
                      <a:pt x="69" y="8064"/>
                    </a:moveTo>
                    <a:cubicBezTo>
                      <a:pt x="15100" y="8409"/>
                      <a:pt x="30613" y="9305"/>
                      <a:pt x="46678" y="11166"/>
                    </a:cubicBezTo>
                    <a:cubicBezTo>
                      <a:pt x="47091" y="10890"/>
                      <a:pt x="47367" y="8202"/>
                      <a:pt x="47367" y="8202"/>
                    </a:cubicBezTo>
                    <a:lnTo>
                      <a:pt x="47988" y="3308"/>
                    </a:lnTo>
                    <a:cubicBezTo>
                      <a:pt x="31164" y="1034"/>
                      <a:pt x="15168" y="69"/>
                      <a:pt x="0" y="0"/>
                    </a:cubicBezTo>
                    <a:lnTo>
                      <a:pt x="0" y="8064"/>
                    </a:lnTo>
                    <a:close/>
                    <a:moveTo>
                      <a:pt x="148238" y="29569"/>
                    </a:moveTo>
                    <a:cubicBezTo>
                      <a:pt x="147755" y="29775"/>
                      <a:pt x="146031" y="33980"/>
                      <a:pt x="146031" y="33980"/>
                    </a:cubicBezTo>
                    <a:lnTo>
                      <a:pt x="144790" y="37081"/>
                    </a:lnTo>
                    <a:lnTo>
                      <a:pt x="147893" y="38460"/>
                    </a:lnTo>
                    <a:cubicBezTo>
                      <a:pt x="160510" y="44112"/>
                      <a:pt x="176230" y="51211"/>
                      <a:pt x="190227" y="59895"/>
                    </a:cubicBezTo>
                    <a:cubicBezTo>
                      <a:pt x="190709" y="59758"/>
                      <a:pt x="194570" y="53279"/>
                      <a:pt x="194570" y="53279"/>
                    </a:cubicBezTo>
                    <a:cubicBezTo>
                      <a:pt x="180022" y="43836"/>
                      <a:pt x="163613" y="36461"/>
                      <a:pt x="150444" y="30603"/>
                    </a:cubicBezTo>
                    <a:lnTo>
                      <a:pt x="148238" y="29569"/>
                    </a:lnTo>
                    <a:close/>
                    <a:moveTo>
                      <a:pt x="276342" y="116758"/>
                    </a:moveTo>
                    <a:cubicBezTo>
                      <a:pt x="275860" y="116758"/>
                      <a:pt x="273240" y="119309"/>
                      <a:pt x="273240" y="119309"/>
                    </a:cubicBezTo>
                    <a:lnTo>
                      <a:pt x="270206" y="122272"/>
                    </a:lnTo>
                    <a:lnTo>
                      <a:pt x="276618" y="129440"/>
                    </a:lnTo>
                    <a:cubicBezTo>
                      <a:pt x="286478" y="140331"/>
                      <a:pt x="295303" y="150256"/>
                      <a:pt x="302818" y="161215"/>
                    </a:cubicBezTo>
                    <a:cubicBezTo>
                      <a:pt x="303301" y="161284"/>
                      <a:pt x="308058" y="157837"/>
                      <a:pt x="308058" y="157837"/>
                    </a:cubicBezTo>
                    <a:lnTo>
                      <a:pt x="309437" y="156872"/>
                    </a:lnTo>
                    <a:cubicBezTo>
                      <a:pt x="301095" y="144259"/>
                      <a:pt x="290752" y="132749"/>
                      <a:pt x="282341" y="123513"/>
                    </a:cubicBezTo>
                    <a:lnTo>
                      <a:pt x="276342" y="116758"/>
                    </a:lnTo>
                    <a:close/>
                    <a:moveTo>
                      <a:pt x="320676" y="179962"/>
                    </a:moveTo>
                    <a:lnTo>
                      <a:pt x="317366" y="182030"/>
                    </a:lnTo>
                    <a:lnTo>
                      <a:pt x="317573" y="182306"/>
                    </a:lnTo>
                    <a:cubicBezTo>
                      <a:pt x="325985" y="195953"/>
                      <a:pt x="334741" y="210771"/>
                      <a:pt x="341705" y="226624"/>
                    </a:cubicBezTo>
                    <a:cubicBezTo>
                      <a:pt x="342188" y="226762"/>
                      <a:pt x="347634" y="224281"/>
                      <a:pt x="347634" y="224281"/>
                    </a:cubicBezTo>
                    <a:lnTo>
                      <a:pt x="349013" y="223660"/>
                    </a:lnTo>
                    <a:cubicBezTo>
                      <a:pt x="342050" y="206912"/>
                      <a:pt x="333155" y="191817"/>
                      <a:pt x="324537" y="177826"/>
                    </a:cubicBezTo>
                    <a:cubicBezTo>
                      <a:pt x="324054" y="177757"/>
                      <a:pt x="320676" y="179962"/>
                      <a:pt x="320676" y="179962"/>
                    </a:cubicBezTo>
                    <a:close/>
                    <a:moveTo>
                      <a:pt x="216772" y="66581"/>
                    </a:moveTo>
                    <a:cubicBezTo>
                      <a:pt x="216289" y="66650"/>
                      <a:pt x="212014" y="72922"/>
                      <a:pt x="212014" y="72922"/>
                    </a:cubicBezTo>
                    <a:lnTo>
                      <a:pt x="211807" y="73198"/>
                    </a:lnTo>
                    <a:lnTo>
                      <a:pt x="222081" y="80780"/>
                    </a:lnTo>
                    <a:cubicBezTo>
                      <a:pt x="233043" y="88775"/>
                      <a:pt x="242765" y="96150"/>
                      <a:pt x="251590" y="104765"/>
                    </a:cubicBezTo>
                    <a:cubicBezTo>
                      <a:pt x="252073" y="104765"/>
                      <a:pt x="257175" y="99114"/>
                      <a:pt x="257175" y="99114"/>
                    </a:cubicBezTo>
                    <a:cubicBezTo>
                      <a:pt x="248074" y="89809"/>
                      <a:pt x="238007" y="82158"/>
                      <a:pt x="226631" y="73887"/>
                    </a:cubicBezTo>
                    <a:lnTo>
                      <a:pt x="216772" y="66581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B91E0232-0C82-A4F0-66E2-1CCDD321F20D}"/>
                </a:ext>
              </a:extLst>
            </p:cNvPr>
            <p:cNvGrpSpPr>
              <a:grpSpLocks noChangeAspect="1"/>
            </p:cNvGrpSpPr>
            <p:nvPr/>
          </p:nvGrpSpPr>
          <p:grpSpPr>
            <a:xfrm rot="16200000">
              <a:off x="4281620" y="1389718"/>
              <a:ext cx="1032959" cy="1032613"/>
              <a:chOff x="2877933" y="791668"/>
              <a:chExt cx="495803" cy="495637"/>
            </a:xfrm>
          </p:grpSpPr>
          <p:grpSp>
            <p:nvGrpSpPr>
              <p:cNvPr id="20" name="Graphic 4">
                <a:extLst>
                  <a:ext uri="{FF2B5EF4-FFF2-40B4-BE49-F238E27FC236}">
                    <a16:creationId xmlns:a16="http://schemas.microsoft.com/office/drawing/2014/main" id="{2C60D039-E218-3895-B0F0-8DD2ED1D3731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2877933" y="791737"/>
                <a:ext cx="495803" cy="495568"/>
                <a:chOff x="2877933" y="791737"/>
                <a:chExt cx="495803" cy="495568"/>
              </a:xfrm>
            </p:grpSpPr>
            <p:sp>
              <p:nvSpPr>
                <p:cNvPr id="22" name="Freeform 75">
                  <a:extLst>
                    <a:ext uri="{FF2B5EF4-FFF2-40B4-BE49-F238E27FC236}">
                      <a16:creationId xmlns:a16="http://schemas.microsoft.com/office/drawing/2014/main" id="{C4BC4DE3-C9F2-78EE-BD0D-FD70FC730F5C}"/>
                    </a:ext>
                  </a:extLst>
                </p:cNvPr>
                <p:cNvSpPr/>
                <p:nvPr/>
              </p:nvSpPr>
              <p:spPr>
                <a:xfrm>
                  <a:off x="2878002" y="791737"/>
                  <a:ext cx="495734" cy="495568"/>
                </a:xfrm>
                <a:custGeom>
                  <a:avLst/>
                  <a:gdLst>
                    <a:gd name="connsiteX0" fmla="*/ 495734 w 495734"/>
                    <a:gd name="connsiteY0" fmla="*/ 0 h 495568"/>
                    <a:gd name="connsiteX1" fmla="*/ 261657 w 495734"/>
                    <a:gd name="connsiteY1" fmla="*/ 0 h 495568"/>
                    <a:gd name="connsiteX2" fmla="*/ 0 w 495734"/>
                    <a:gd name="connsiteY2" fmla="*/ 261569 h 495568"/>
                    <a:gd name="connsiteX3" fmla="*/ 0 w 495734"/>
                    <a:gd name="connsiteY3" fmla="*/ 495568 h 495568"/>
                    <a:gd name="connsiteX4" fmla="*/ 495734 w 495734"/>
                    <a:gd name="connsiteY4" fmla="*/ 0 h 4955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95734" h="495568">
                      <a:moveTo>
                        <a:pt x="495734" y="0"/>
                      </a:moveTo>
                      <a:lnTo>
                        <a:pt x="261657" y="0"/>
                      </a:lnTo>
                      <a:cubicBezTo>
                        <a:pt x="261657" y="144190"/>
                        <a:pt x="144308" y="261569"/>
                        <a:pt x="0" y="261569"/>
                      </a:cubicBezTo>
                      <a:lnTo>
                        <a:pt x="0" y="495568"/>
                      </a:lnTo>
                      <a:cubicBezTo>
                        <a:pt x="273309" y="495568"/>
                        <a:pt x="495734" y="273217"/>
                        <a:pt x="495734" y="0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 w="68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 dirty="0"/>
                </a:p>
              </p:txBody>
            </p:sp>
            <p:sp>
              <p:nvSpPr>
                <p:cNvPr id="23" name="Freeform 76">
                  <a:extLst>
                    <a:ext uri="{FF2B5EF4-FFF2-40B4-BE49-F238E27FC236}">
                      <a16:creationId xmlns:a16="http://schemas.microsoft.com/office/drawing/2014/main" id="{5B7FDB05-C186-D322-890A-FF905C232DB1}"/>
                    </a:ext>
                  </a:extLst>
                </p:cNvPr>
                <p:cNvSpPr/>
                <p:nvPr/>
              </p:nvSpPr>
              <p:spPr>
                <a:xfrm>
                  <a:off x="2877933" y="791737"/>
                  <a:ext cx="482702" cy="482541"/>
                </a:xfrm>
                <a:custGeom>
                  <a:avLst/>
                  <a:gdLst>
                    <a:gd name="connsiteX0" fmla="*/ 283030 w 482702"/>
                    <a:gd name="connsiteY0" fmla="*/ 0 h 482541"/>
                    <a:gd name="connsiteX1" fmla="*/ 274757 w 482702"/>
                    <a:gd name="connsiteY1" fmla="*/ 0 h 482541"/>
                    <a:gd name="connsiteX2" fmla="*/ 0 w 482702"/>
                    <a:gd name="connsiteY2" fmla="*/ 274665 h 482541"/>
                    <a:gd name="connsiteX3" fmla="*/ 0 w 482702"/>
                    <a:gd name="connsiteY3" fmla="*/ 282936 h 482541"/>
                    <a:gd name="connsiteX4" fmla="*/ 283030 w 482702"/>
                    <a:gd name="connsiteY4" fmla="*/ 0 h 482541"/>
                    <a:gd name="connsiteX5" fmla="*/ 482703 w 482702"/>
                    <a:gd name="connsiteY5" fmla="*/ 0 h 482541"/>
                    <a:gd name="connsiteX6" fmla="*/ 474429 w 482702"/>
                    <a:gd name="connsiteY6" fmla="*/ 0 h 482541"/>
                    <a:gd name="connsiteX7" fmla="*/ 0 w 482702"/>
                    <a:gd name="connsiteY7" fmla="*/ 474270 h 482541"/>
                    <a:gd name="connsiteX8" fmla="*/ 0 w 482702"/>
                    <a:gd name="connsiteY8" fmla="*/ 482541 h 482541"/>
                    <a:gd name="connsiteX9" fmla="*/ 482703 w 482702"/>
                    <a:gd name="connsiteY9" fmla="*/ 0 h 4825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482702" h="482541">
                      <a:moveTo>
                        <a:pt x="283030" y="0"/>
                      </a:moveTo>
                      <a:lnTo>
                        <a:pt x="274757" y="0"/>
                      </a:lnTo>
                      <a:cubicBezTo>
                        <a:pt x="274757" y="151427"/>
                        <a:pt x="151478" y="274665"/>
                        <a:pt x="0" y="274665"/>
                      </a:cubicBezTo>
                      <a:lnTo>
                        <a:pt x="0" y="282936"/>
                      </a:lnTo>
                      <a:cubicBezTo>
                        <a:pt x="156098" y="282867"/>
                        <a:pt x="283030" y="155976"/>
                        <a:pt x="283030" y="0"/>
                      </a:cubicBezTo>
                      <a:close/>
                      <a:moveTo>
                        <a:pt x="482703" y="0"/>
                      </a:moveTo>
                      <a:lnTo>
                        <a:pt x="474429" y="0"/>
                      </a:lnTo>
                      <a:cubicBezTo>
                        <a:pt x="474429" y="261500"/>
                        <a:pt x="261588" y="474270"/>
                        <a:pt x="0" y="474270"/>
                      </a:cubicBezTo>
                      <a:lnTo>
                        <a:pt x="0" y="482541"/>
                      </a:lnTo>
                      <a:cubicBezTo>
                        <a:pt x="266207" y="482472"/>
                        <a:pt x="482703" y="266049"/>
                        <a:pt x="482703" y="0"/>
                      </a:cubicBezTo>
                      <a:close/>
                    </a:path>
                  </a:pathLst>
                </a:custGeom>
                <a:solidFill>
                  <a:srgbClr val="E4E4E4"/>
                </a:solidFill>
                <a:ln w="68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 dirty="0"/>
                </a:p>
              </p:txBody>
            </p:sp>
          </p:grpSp>
          <p:sp>
            <p:nvSpPr>
              <p:cNvPr id="21" name="Freeform 74">
                <a:extLst>
                  <a:ext uri="{FF2B5EF4-FFF2-40B4-BE49-F238E27FC236}">
                    <a16:creationId xmlns:a16="http://schemas.microsoft.com/office/drawing/2014/main" id="{4629D1E8-BBB6-E4BB-1C2B-F2FFD3072398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895584" y="791668"/>
                <a:ext cx="366388" cy="383910"/>
              </a:xfrm>
              <a:custGeom>
                <a:avLst/>
                <a:gdLst>
                  <a:gd name="connsiteX0" fmla="*/ 119004 w 366388"/>
                  <a:gd name="connsiteY0" fmla="*/ 359304 h 383910"/>
                  <a:gd name="connsiteX1" fmla="*/ 116453 w 366388"/>
                  <a:gd name="connsiteY1" fmla="*/ 351791 h 383910"/>
                  <a:gd name="connsiteX2" fmla="*/ 116315 w 366388"/>
                  <a:gd name="connsiteY2" fmla="*/ 351447 h 383910"/>
                  <a:gd name="connsiteX3" fmla="*/ 115970 w 366388"/>
                  <a:gd name="connsiteY3" fmla="*/ 351584 h 383910"/>
                  <a:gd name="connsiteX4" fmla="*/ 67707 w 366388"/>
                  <a:gd name="connsiteY4" fmla="*/ 366334 h 383910"/>
                  <a:gd name="connsiteX5" fmla="*/ 68258 w 366388"/>
                  <a:gd name="connsiteY5" fmla="*/ 370332 h 383910"/>
                  <a:gd name="connsiteX6" fmla="*/ 69155 w 366388"/>
                  <a:gd name="connsiteY6" fmla="*/ 374123 h 383910"/>
                  <a:gd name="connsiteX7" fmla="*/ 119004 w 366388"/>
                  <a:gd name="connsiteY7" fmla="*/ 359304 h 383910"/>
                  <a:gd name="connsiteX8" fmla="*/ 359425 w 366388"/>
                  <a:gd name="connsiteY8" fmla="*/ 73336 h 383910"/>
                  <a:gd name="connsiteX9" fmla="*/ 351289 w 366388"/>
                  <a:gd name="connsiteY9" fmla="*/ 71819 h 383910"/>
                  <a:gd name="connsiteX10" fmla="*/ 351220 w 366388"/>
                  <a:gd name="connsiteY10" fmla="*/ 72164 h 383910"/>
                  <a:gd name="connsiteX11" fmla="*/ 338258 w 366388"/>
                  <a:gd name="connsiteY11" fmla="*/ 120894 h 383910"/>
                  <a:gd name="connsiteX12" fmla="*/ 338119 w 366388"/>
                  <a:gd name="connsiteY12" fmla="*/ 121238 h 383910"/>
                  <a:gd name="connsiteX13" fmla="*/ 345635 w 366388"/>
                  <a:gd name="connsiteY13" fmla="*/ 123789 h 383910"/>
                  <a:gd name="connsiteX14" fmla="*/ 359286 w 366388"/>
                  <a:gd name="connsiteY14" fmla="*/ 73680 h 383910"/>
                  <a:gd name="connsiteX15" fmla="*/ 359425 w 366388"/>
                  <a:gd name="connsiteY15" fmla="*/ 73336 h 383910"/>
                  <a:gd name="connsiteX16" fmla="*/ 43782 w 366388"/>
                  <a:gd name="connsiteY16" fmla="*/ 379499 h 383910"/>
                  <a:gd name="connsiteX17" fmla="*/ 43368 w 366388"/>
                  <a:gd name="connsiteY17" fmla="*/ 374743 h 383910"/>
                  <a:gd name="connsiteX18" fmla="*/ 42816 w 366388"/>
                  <a:gd name="connsiteY18" fmla="*/ 371297 h 383910"/>
                  <a:gd name="connsiteX19" fmla="*/ 42472 w 366388"/>
                  <a:gd name="connsiteY19" fmla="*/ 371366 h 383910"/>
                  <a:gd name="connsiteX20" fmla="*/ 0 w 366388"/>
                  <a:gd name="connsiteY20" fmla="*/ 375846 h 383910"/>
                  <a:gd name="connsiteX21" fmla="*/ 0 w 366388"/>
                  <a:gd name="connsiteY21" fmla="*/ 383910 h 383910"/>
                  <a:gd name="connsiteX22" fmla="*/ 43782 w 366388"/>
                  <a:gd name="connsiteY22" fmla="*/ 379499 h 383910"/>
                  <a:gd name="connsiteX23" fmla="*/ 358390 w 366388"/>
                  <a:gd name="connsiteY23" fmla="*/ 69 h 383910"/>
                  <a:gd name="connsiteX24" fmla="*/ 355219 w 366388"/>
                  <a:gd name="connsiteY24" fmla="*/ 46662 h 383910"/>
                  <a:gd name="connsiteX25" fmla="*/ 358183 w 366388"/>
                  <a:gd name="connsiteY25" fmla="*/ 47351 h 383910"/>
                  <a:gd name="connsiteX26" fmla="*/ 363079 w 366388"/>
                  <a:gd name="connsiteY26" fmla="*/ 47972 h 383910"/>
                  <a:gd name="connsiteX27" fmla="*/ 366388 w 366388"/>
                  <a:gd name="connsiteY27" fmla="*/ 0 h 383910"/>
                  <a:gd name="connsiteX28" fmla="*/ 358390 w 366388"/>
                  <a:gd name="connsiteY28" fmla="*/ 0 h 383910"/>
                  <a:gd name="connsiteX29" fmla="*/ 336878 w 366388"/>
                  <a:gd name="connsiteY29" fmla="*/ 148188 h 383910"/>
                  <a:gd name="connsiteX30" fmla="*/ 332466 w 366388"/>
                  <a:gd name="connsiteY30" fmla="*/ 145982 h 383910"/>
                  <a:gd name="connsiteX31" fmla="*/ 329363 w 366388"/>
                  <a:gd name="connsiteY31" fmla="*/ 144673 h 383910"/>
                  <a:gd name="connsiteX32" fmla="*/ 327984 w 366388"/>
                  <a:gd name="connsiteY32" fmla="*/ 147774 h 383910"/>
                  <a:gd name="connsiteX33" fmla="*/ 306542 w 366388"/>
                  <a:gd name="connsiteY33" fmla="*/ 190094 h 383910"/>
                  <a:gd name="connsiteX34" fmla="*/ 313160 w 366388"/>
                  <a:gd name="connsiteY34" fmla="*/ 194436 h 383910"/>
                  <a:gd name="connsiteX35" fmla="*/ 335844 w 366388"/>
                  <a:gd name="connsiteY35" fmla="*/ 150325 h 383910"/>
                  <a:gd name="connsiteX36" fmla="*/ 336878 w 366388"/>
                  <a:gd name="connsiteY36" fmla="*/ 148188 h 383910"/>
                  <a:gd name="connsiteX37" fmla="*/ 249660 w 366388"/>
                  <a:gd name="connsiteY37" fmla="*/ 276250 h 383910"/>
                  <a:gd name="connsiteX38" fmla="*/ 247109 w 366388"/>
                  <a:gd name="connsiteY38" fmla="*/ 273148 h 383910"/>
                  <a:gd name="connsiteX39" fmla="*/ 244144 w 366388"/>
                  <a:gd name="connsiteY39" fmla="*/ 270116 h 383910"/>
                  <a:gd name="connsiteX40" fmla="*/ 236973 w 366388"/>
                  <a:gd name="connsiteY40" fmla="*/ 276526 h 383910"/>
                  <a:gd name="connsiteX41" fmla="*/ 205188 w 366388"/>
                  <a:gd name="connsiteY41" fmla="*/ 302717 h 383910"/>
                  <a:gd name="connsiteX42" fmla="*/ 208567 w 366388"/>
                  <a:gd name="connsiteY42" fmla="*/ 307955 h 383910"/>
                  <a:gd name="connsiteX43" fmla="*/ 209532 w 366388"/>
                  <a:gd name="connsiteY43" fmla="*/ 309334 h 383910"/>
                  <a:gd name="connsiteX44" fmla="*/ 242903 w 366388"/>
                  <a:gd name="connsiteY44" fmla="*/ 282246 h 383910"/>
                  <a:gd name="connsiteX45" fmla="*/ 249660 w 366388"/>
                  <a:gd name="connsiteY45" fmla="*/ 276250 h 383910"/>
                  <a:gd name="connsiteX46" fmla="*/ 186504 w 366388"/>
                  <a:gd name="connsiteY46" fmla="*/ 320568 h 383910"/>
                  <a:gd name="connsiteX47" fmla="*/ 184435 w 366388"/>
                  <a:gd name="connsiteY47" fmla="*/ 317260 h 383910"/>
                  <a:gd name="connsiteX48" fmla="*/ 184159 w 366388"/>
                  <a:gd name="connsiteY48" fmla="*/ 317467 h 383910"/>
                  <a:gd name="connsiteX49" fmla="*/ 139826 w 366388"/>
                  <a:gd name="connsiteY49" fmla="*/ 341590 h 383910"/>
                  <a:gd name="connsiteX50" fmla="*/ 142170 w 366388"/>
                  <a:gd name="connsiteY50" fmla="*/ 347518 h 383910"/>
                  <a:gd name="connsiteX51" fmla="*/ 142791 w 366388"/>
                  <a:gd name="connsiteY51" fmla="*/ 348896 h 383910"/>
                  <a:gd name="connsiteX52" fmla="*/ 188641 w 366388"/>
                  <a:gd name="connsiteY52" fmla="*/ 324428 h 383910"/>
                  <a:gd name="connsiteX53" fmla="*/ 186504 w 366388"/>
                  <a:gd name="connsiteY53" fmla="*/ 320568 h 383910"/>
                  <a:gd name="connsiteX54" fmla="*/ 299854 w 366388"/>
                  <a:gd name="connsiteY54" fmla="*/ 216630 h 383910"/>
                  <a:gd name="connsiteX55" fmla="*/ 293511 w 366388"/>
                  <a:gd name="connsiteY55" fmla="*/ 211874 h 383910"/>
                  <a:gd name="connsiteX56" fmla="*/ 293235 w 366388"/>
                  <a:gd name="connsiteY56" fmla="*/ 211668 h 383910"/>
                  <a:gd name="connsiteX57" fmla="*/ 285650 w 366388"/>
                  <a:gd name="connsiteY57" fmla="*/ 221937 h 383910"/>
                  <a:gd name="connsiteX58" fmla="*/ 261656 w 366388"/>
                  <a:gd name="connsiteY58" fmla="*/ 251437 h 383910"/>
                  <a:gd name="connsiteX59" fmla="*/ 267310 w 366388"/>
                  <a:gd name="connsiteY59" fmla="*/ 257020 h 383910"/>
                  <a:gd name="connsiteX60" fmla="*/ 292545 w 366388"/>
                  <a:gd name="connsiteY60" fmla="*/ 226486 h 383910"/>
                  <a:gd name="connsiteX61" fmla="*/ 299854 w 366388"/>
                  <a:gd name="connsiteY61" fmla="*/ 216630 h 3839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</a:cxnLst>
                <a:rect l="l" t="t" r="r" b="b"/>
                <a:pathLst>
                  <a:path w="366388" h="383910">
                    <a:moveTo>
                      <a:pt x="119004" y="359304"/>
                    </a:moveTo>
                    <a:cubicBezTo>
                      <a:pt x="119210" y="358890"/>
                      <a:pt x="116453" y="351791"/>
                      <a:pt x="116453" y="351791"/>
                    </a:cubicBezTo>
                    <a:lnTo>
                      <a:pt x="116315" y="351447"/>
                    </a:lnTo>
                    <a:lnTo>
                      <a:pt x="115970" y="351584"/>
                    </a:lnTo>
                    <a:cubicBezTo>
                      <a:pt x="99285" y="358063"/>
                      <a:pt x="83565" y="362819"/>
                      <a:pt x="67707" y="366334"/>
                    </a:cubicBezTo>
                    <a:cubicBezTo>
                      <a:pt x="67431" y="366748"/>
                      <a:pt x="68258" y="370332"/>
                      <a:pt x="68258" y="370332"/>
                    </a:cubicBezTo>
                    <a:lnTo>
                      <a:pt x="69155" y="374123"/>
                    </a:lnTo>
                    <a:cubicBezTo>
                      <a:pt x="85771" y="370883"/>
                      <a:pt x="101974" y="365921"/>
                      <a:pt x="119004" y="359304"/>
                    </a:cubicBezTo>
                    <a:close/>
                    <a:moveTo>
                      <a:pt x="359425" y="73336"/>
                    </a:moveTo>
                    <a:lnTo>
                      <a:pt x="351289" y="71819"/>
                    </a:lnTo>
                    <a:lnTo>
                      <a:pt x="351220" y="72164"/>
                    </a:lnTo>
                    <a:cubicBezTo>
                      <a:pt x="347841" y="89257"/>
                      <a:pt x="343498" y="105661"/>
                      <a:pt x="338258" y="120894"/>
                    </a:cubicBezTo>
                    <a:lnTo>
                      <a:pt x="338119" y="121238"/>
                    </a:lnTo>
                    <a:lnTo>
                      <a:pt x="345635" y="123789"/>
                    </a:lnTo>
                    <a:cubicBezTo>
                      <a:pt x="351358" y="108005"/>
                      <a:pt x="355839" y="91256"/>
                      <a:pt x="359286" y="73680"/>
                    </a:cubicBezTo>
                    <a:lnTo>
                      <a:pt x="359425" y="73336"/>
                    </a:lnTo>
                    <a:close/>
                    <a:moveTo>
                      <a:pt x="43782" y="379499"/>
                    </a:moveTo>
                    <a:cubicBezTo>
                      <a:pt x="44057" y="379085"/>
                      <a:pt x="43368" y="374743"/>
                      <a:pt x="43368" y="374743"/>
                    </a:cubicBezTo>
                    <a:lnTo>
                      <a:pt x="42816" y="371297"/>
                    </a:lnTo>
                    <a:lnTo>
                      <a:pt x="42472" y="371366"/>
                    </a:lnTo>
                    <a:cubicBezTo>
                      <a:pt x="28751" y="373778"/>
                      <a:pt x="14479" y="375226"/>
                      <a:pt x="0" y="375846"/>
                    </a:cubicBezTo>
                    <a:lnTo>
                      <a:pt x="0" y="383910"/>
                    </a:lnTo>
                    <a:cubicBezTo>
                      <a:pt x="15031" y="383497"/>
                      <a:pt x="29716" y="381980"/>
                      <a:pt x="43782" y="379499"/>
                    </a:cubicBezTo>
                    <a:close/>
                    <a:moveTo>
                      <a:pt x="358390" y="69"/>
                    </a:moveTo>
                    <a:cubicBezTo>
                      <a:pt x="358045" y="15026"/>
                      <a:pt x="357149" y="30603"/>
                      <a:pt x="355219" y="46662"/>
                    </a:cubicBezTo>
                    <a:cubicBezTo>
                      <a:pt x="355494" y="47007"/>
                      <a:pt x="358183" y="47351"/>
                      <a:pt x="358183" y="47351"/>
                    </a:cubicBezTo>
                    <a:lnTo>
                      <a:pt x="363079" y="47972"/>
                    </a:lnTo>
                    <a:cubicBezTo>
                      <a:pt x="365354" y="31154"/>
                      <a:pt x="366319" y="15163"/>
                      <a:pt x="366388" y="0"/>
                    </a:cubicBezTo>
                    <a:lnTo>
                      <a:pt x="358390" y="0"/>
                    </a:lnTo>
                    <a:close/>
                    <a:moveTo>
                      <a:pt x="336878" y="148188"/>
                    </a:moveTo>
                    <a:cubicBezTo>
                      <a:pt x="336672" y="147705"/>
                      <a:pt x="332466" y="145982"/>
                      <a:pt x="332466" y="145982"/>
                    </a:cubicBezTo>
                    <a:lnTo>
                      <a:pt x="329363" y="144673"/>
                    </a:lnTo>
                    <a:lnTo>
                      <a:pt x="327984" y="147774"/>
                    </a:lnTo>
                    <a:cubicBezTo>
                      <a:pt x="322331" y="160388"/>
                      <a:pt x="315229" y="176102"/>
                      <a:pt x="306542" y="190094"/>
                    </a:cubicBezTo>
                    <a:cubicBezTo>
                      <a:pt x="306679" y="190577"/>
                      <a:pt x="313160" y="194436"/>
                      <a:pt x="313160" y="194436"/>
                    </a:cubicBezTo>
                    <a:cubicBezTo>
                      <a:pt x="322606" y="179893"/>
                      <a:pt x="329984" y="163489"/>
                      <a:pt x="335844" y="150325"/>
                    </a:cubicBezTo>
                    <a:lnTo>
                      <a:pt x="336878" y="148188"/>
                    </a:lnTo>
                    <a:close/>
                    <a:moveTo>
                      <a:pt x="249660" y="276250"/>
                    </a:moveTo>
                    <a:cubicBezTo>
                      <a:pt x="249660" y="275767"/>
                      <a:pt x="247109" y="273148"/>
                      <a:pt x="247109" y="273148"/>
                    </a:cubicBezTo>
                    <a:lnTo>
                      <a:pt x="244144" y="270116"/>
                    </a:lnTo>
                    <a:lnTo>
                      <a:pt x="236973" y="276526"/>
                    </a:lnTo>
                    <a:cubicBezTo>
                      <a:pt x="226079" y="286382"/>
                      <a:pt x="216151" y="295204"/>
                      <a:pt x="205188" y="302717"/>
                    </a:cubicBezTo>
                    <a:cubicBezTo>
                      <a:pt x="205119" y="303199"/>
                      <a:pt x="208567" y="307955"/>
                      <a:pt x="208567" y="307955"/>
                    </a:cubicBezTo>
                    <a:lnTo>
                      <a:pt x="209532" y="309334"/>
                    </a:lnTo>
                    <a:cubicBezTo>
                      <a:pt x="222150" y="300994"/>
                      <a:pt x="233664" y="290655"/>
                      <a:pt x="242903" y="282246"/>
                    </a:cubicBezTo>
                    <a:lnTo>
                      <a:pt x="249660" y="276250"/>
                    </a:lnTo>
                    <a:close/>
                    <a:moveTo>
                      <a:pt x="186504" y="320568"/>
                    </a:moveTo>
                    <a:lnTo>
                      <a:pt x="184435" y="317260"/>
                    </a:lnTo>
                    <a:lnTo>
                      <a:pt x="184159" y="317467"/>
                    </a:lnTo>
                    <a:cubicBezTo>
                      <a:pt x="170508" y="325876"/>
                      <a:pt x="155684" y="334629"/>
                      <a:pt x="139826" y="341590"/>
                    </a:cubicBezTo>
                    <a:cubicBezTo>
                      <a:pt x="139688" y="342073"/>
                      <a:pt x="142170" y="347518"/>
                      <a:pt x="142170" y="347518"/>
                    </a:cubicBezTo>
                    <a:lnTo>
                      <a:pt x="142791" y="348896"/>
                    </a:lnTo>
                    <a:cubicBezTo>
                      <a:pt x="159545" y="341935"/>
                      <a:pt x="174644" y="333044"/>
                      <a:pt x="188641" y="324428"/>
                    </a:cubicBezTo>
                    <a:cubicBezTo>
                      <a:pt x="188641" y="323946"/>
                      <a:pt x="186504" y="320568"/>
                      <a:pt x="186504" y="320568"/>
                    </a:cubicBezTo>
                    <a:close/>
                    <a:moveTo>
                      <a:pt x="299854" y="216630"/>
                    </a:moveTo>
                    <a:cubicBezTo>
                      <a:pt x="299785" y="216148"/>
                      <a:pt x="293511" y="211874"/>
                      <a:pt x="293511" y="211874"/>
                    </a:cubicBezTo>
                    <a:lnTo>
                      <a:pt x="293235" y="211668"/>
                    </a:lnTo>
                    <a:lnTo>
                      <a:pt x="285650" y="221937"/>
                    </a:lnTo>
                    <a:cubicBezTo>
                      <a:pt x="277652" y="232896"/>
                      <a:pt x="270275" y="242615"/>
                      <a:pt x="261656" y="251437"/>
                    </a:cubicBezTo>
                    <a:cubicBezTo>
                      <a:pt x="261656" y="251920"/>
                      <a:pt x="267310" y="257020"/>
                      <a:pt x="267310" y="257020"/>
                    </a:cubicBezTo>
                    <a:cubicBezTo>
                      <a:pt x="276618" y="247922"/>
                      <a:pt x="284271" y="237859"/>
                      <a:pt x="292545" y="226486"/>
                    </a:cubicBezTo>
                    <a:lnTo>
                      <a:pt x="299854" y="216630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</p:grp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5EDBE1BF-7464-944C-A24F-EDA5F1F7281F}"/>
              </a:ext>
            </a:extLst>
          </p:cNvPr>
          <p:cNvGrpSpPr>
            <a:grpSpLocks noChangeAspect="1"/>
          </p:cNvGrpSpPr>
          <p:nvPr/>
        </p:nvGrpSpPr>
        <p:grpSpPr>
          <a:xfrm rot="5400000">
            <a:off x="9882268" y="2644441"/>
            <a:ext cx="1230567" cy="448737"/>
            <a:chOff x="2460593" y="1450725"/>
            <a:chExt cx="644661" cy="233999"/>
          </a:xfrm>
        </p:grpSpPr>
        <p:sp>
          <p:nvSpPr>
            <p:cNvPr id="128" name="Freeform 127">
              <a:extLst>
                <a:ext uri="{FF2B5EF4-FFF2-40B4-BE49-F238E27FC236}">
                  <a16:creationId xmlns:a16="http://schemas.microsoft.com/office/drawing/2014/main" id="{2240AEF6-E597-CC4C-ADD6-DE693073C87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461714" y="1450725"/>
              <a:ext cx="642419" cy="233999"/>
            </a:xfrm>
            <a:custGeom>
              <a:avLst/>
              <a:gdLst>
                <a:gd name="connsiteX0" fmla="*/ 0 w 644661"/>
                <a:gd name="connsiteY0" fmla="*/ 0 h 233999"/>
                <a:gd name="connsiteX1" fmla="*/ 644661 w 644661"/>
                <a:gd name="connsiteY1" fmla="*/ 0 h 233999"/>
                <a:gd name="connsiteX2" fmla="*/ 644661 w 644661"/>
                <a:gd name="connsiteY2" fmla="*/ 233999 h 233999"/>
                <a:gd name="connsiteX3" fmla="*/ 0 w 644661"/>
                <a:gd name="connsiteY3" fmla="*/ 233999 h 233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4661" h="233999">
                  <a:moveTo>
                    <a:pt x="0" y="0"/>
                  </a:moveTo>
                  <a:lnTo>
                    <a:pt x="644661" y="0"/>
                  </a:lnTo>
                  <a:lnTo>
                    <a:pt x="644661" y="233999"/>
                  </a:lnTo>
                  <a:lnTo>
                    <a:pt x="0" y="233999"/>
                  </a:lnTo>
                  <a:close/>
                </a:path>
              </a:pathLst>
            </a:custGeom>
            <a:solidFill>
              <a:schemeClr val="tx2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129" name="Freeform 128">
              <a:extLst>
                <a:ext uri="{FF2B5EF4-FFF2-40B4-BE49-F238E27FC236}">
                  <a16:creationId xmlns:a16="http://schemas.microsoft.com/office/drawing/2014/main" id="{EE2E14CC-51FB-2244-A249-25055CD9BF5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474382" y="1563761"/>
              <a:ext cx="613083" cy="7995"/>
            </a:xfrm>
            <a:custGeom>
              <a:avLst/>
              <a:gdLst>
                <a:gd name="connsiteX0" fmla="*/ 559580 w 613083"/>
                <a:gd name="connsiteY0" fmla="*/ 0 h 7995"/>
                <a:gd name="connsiteX1" fmla="*/ 559580 w 613083"/>
                <a:gd name="connsiteY1" fmla="*/ 7995 h 7995"/>
                <a:gd name="connsiteX2" fmla="*/ 613083 w 613083"/>
                <a:gd name="connsiteY2" fmla="*/ 7995 h 7995"/>
                <a:gd name="connsiteX3" fmla="*/ 613083 w 613083"/>
                <a:gd name="connsiteY3" fmla="*/ 0 h 7995"/>
                <a:gd name="connsiteX4" fmla="*/ 559580 w 613083"/>
                <a:gd name="connsiteY4" fmla="*/ 0 h 7995"/>
                <a:gd name="connsiteX5" fmla="*/ 479049 w 613083"/>
                <a:gd name="connsiteY5" fmla="*/ 0 h 7995"/>
                <a:gd name="connsiteX6" fmla="*/ 479049 w 613083"/>
                <a:gd name="connsiteY6" fmla="*/ 7995 h 7995"/>
                <a:gd name="connsiteX7" fmla="*/ 532552 w 613083"/>
                <a:gd name="connsiteY7" fmla="*/ 7995 h 7995"/>
                <a:gd name="connsiteX8" fmla="*/ 532552 w 613083"/>
                <a:gd name="connsiteY8" fmla="*/ 0 h 7995"/>
                <a:gd name="connsiteX9" fmla="*/ 479049 w 613083"/>
                <a:gd name="connsiteY9" fmla="*/ 0 h 7995"/>
                <a:gd name="connsiteX10" fmla="*/ 398449 w 613083"/>
                <a:gd name="connsiteY10" fmla="*/ 0 h 7995"/>
                <a:gd name="connsiteX11" fmla="*/ 398449 w 613083"/>
                <a:gd name="connsiteY11" fmla="*/ 7995 h 7995"/>
                <a:gd name="connsiteX12" fmla="*/ 451952 w 613083"/>
                <a:gd name="connsiteY12" fmla="*/ 7995 h 7995"/>
                <a:gd name="connsiteX13" fmla="*/ 451952 w 613083"/>
                <a:gd name="connsiteY13" fmla="*/ 0 h 7995"/>
                <a:gd name="connsiteX14" fmla="*/ 398449 w 613083"/>
                <a:gd name="connsiteY14" fmla="*/ 0 h 7995"/>
                <a:gd name="connsiteX15" fmla="*/ 317849 w 613083"/>
                <a:gd name="connsiteY15" fmla="*/ 0 h 7995"/>
                <a:gd name="connsiteX16" fmla="*/ 317849 w 613083"/>
                <a:gd name="connsiteY16" fmla="*/ 7995 h 7995"/>
                <a:gd name="connsiteX17" fmla="*/ 371352 w 613083"/>
                <a:gd name="connsiteY17" fmla="*/ 7995 h 7995"/>
                <a:gd name="connsiteX18" fmla="*/ 371352 w 613083"/>
                <a:gd name="connsiteY18" fmla="*/ 0 h 7995"/>
                <a:gd name="connsiteX19" fmla="*/ 317849 w 613083"/>
                <a:gd name="connsiteY19" fmla="*/ 0 h 7995"/>
                <a:gd name="connsiteX20" fmla="*/ 237318 w 613083"/>
                <a:gd name="connsiteY20" fmla="*/ 0 h 7995"/>
                <a:gd name="connsiteX21" fmla="*/ 237318 w 613083"/>
                <a:gd name="connsiteY21" fmla="*/ 7995 h 7995"/>
                <a:gd name="connsiteX22" fmla="*/ 290821 w 613083"/>
                <a:gd name="connsiteY22" fmla="*/ 7995 h 7995"/>
                <a:gd name="connsiteX23" fmla="*/ 290821 w 613083"/>
                <a:gd name="connsiteY23" fmla="*/ 0 h 7995"/>
                <a:gd name="connsiteX24" fmla="*/ 237318 w 613083"/>
                <a:gd name="connsiteY24" fmla="*/ 0 h 7995"/>
                <a:gd name="connsiteX25" fmla="*/ 156718 w 613083"/>
                <a:gd name="connsiteY25" fmla="*/ 0 h 7995"/>
                <a:gd name="connsiteX26" fmla="*/ 156718 w 613083"/>
                <a:gd name="connsiteY26" fmla="*/ 7995 h 7995"/>
                <a:gd name="connsiteX27" fmla="*/ 210222 w 613083"/>
                <a:gd name="connsiteY27" fmla="*/ 7995 h 7995"/>
                <a:gd name="connsiteX28" fmla="*/ 210222 w 613083"/>
                <a:gd name="connsiteY28" fmla="*/ 0 h 7995"/>
                <a:gd name="connsiteX29" fmla="*/ 156718 w 613083"/>
                <a:gd name="connsiteY29" fmla="*/ 0 h 7995"/>
                <a:gd name="connsiteX30" fmla="*/ 76187 w 613083"/>
                <a:gd name="connsiteY30" fmla="*/ 0 h 7995"/>
                <a:gd name="connsiteX31" fmla="*/ 76187 w 613083"/>
                <a:gd name="connsiteY31" fmla="*/ 7995 h 7995"/>
                <a:gd name="connsiteX32" fmla="*/ 129691 w 613083"/>
                <a:gd name="connsiteY32" fmla="*/ 7995 h 7995"/>
                <a:gd name="connsiteX33" fmla="*/ 129691 w 613083"/>
                <a:gd name="connsiteY33" fmla="*/ 0 h 7995"/>
                <a:gd name="connsiteX34" fmla="*/ 76187 w 613083"/>
                <a:gd name="connsiteY34" fmla="*/ 0 h 7995"/>
                <a:gd name="connsiteX35" fmla="*/ 0 w 613083"/>
                <a:gd name="connsiteY35" fmla="*/ 0 h 7995"/>
                <a:gd name="connsiteX36" fmla="*/ 0 w 613083"/>
                <a:gd name="connsiteY36" fmla="*/ 7995 h 7995"/>
                <a:gd name="connsiteX37" fmla="*/ 49091 w 613083"/>
                <a:gd name="connsiteY37" fmla="*/ 7995 h 7995"/>
                <a:gd name="connsiteX38" fmla="*/ 49091 w 613083"/>
                <a:gd name="connsiteY38" fmla="*/ 0 h 7995"/>
                <a:gd name="connsiteX39" fmla="*/ 0 w 613083"/>
                <a:gd name="connsiteY39" fmla="*/ 0 h 7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613083" h="7995">
                  <a:moveTo>
                    <a:pt x="559580" y="0"/>
                  </a:moveTo>
                  <a:cubicBezTo>
                    <a:pt x="559580" y="1792"/>
                    <a:pt x="559580" y="6203"/>
                    <a:pt x="559580" y="7995"/>
                  </a:cubicBezTo>
                  <a:cubicBezTo>
                    <a:pt x="562131" y="7995"/>
                    <a:pt x="610532" y="7995"/>
                    <a:pt x="613083" y="7995"/>
                  </a:cubicBezTo>
                  <a:cubicBezTo>
                    <a:pt x="613083" y="6203"/>
                    <a:pt x="613083" y="1792"/>
                    <a:pt x="613083" y="0"/>
                  </a:cubicBezTo>
                  <a:cubicBezTo>
                    <a:pt x="610532" y="0"/>
                    <a:pt x="562131" y="0"/>
                    <a:pt x="559580" y="0"/>
                  </a:cubicBezTo>
                  <a:close/>
                  <a:moveTo>
                    <a:pt x="479049" y="0"/>
                  </a:moveTo>
                  <a:cubicBezTo>
                    <a:pt x="479049" y="1792"/>
                    <a:pt x="479049" y="6203"/>
                    <a:pt x="479049" y="7995"/>
                  </a:cubicBezTo>
                  <a:cubicBezTo>
                    <a:pt x="481600" y="7995"/>
                    <a:pt x="530001" y="7995"/>
                    <a:pt x="532552" y="7995"/>
                  </a:cubicBezTo>
                  <a:cubicBezTo>
                    <a:pt x="532552" y="6203"/>
                    <a:pt x="532552" y="1792"/>
                    <a:pt x="532552" y="0"/>
                  </a:cubicBezTo>
                  <a:cubicBezTo>
                    <a:pt x="529932" y="0"/>
                    <a:pt x="481600" y="0"/>
                    <a:pt x="479049" y="0"/>
                  </a:cubicBezTo>
                  <a:close/>
                  <a:moveTo>
                    <a:pt x="398449" y="0"/>
                  </a:moveTo>
                  <a:cubicBezTo>
                    <a:pt x="398449" y="1792"/>
                    <a:pt x="398449" y="6203"/>
                    <a:pt x="398449" y="7995"/>
                  </a:cubicBezTo>
                  <a:cubicBezTo>
                    <a:pt x="401000" y="7995"/>
                    <a:pt x="449401" y="7995"/>
                    <a:pt x="451952" y="7995"/>
                  </a:cubicBezTo>
                  <a:cubicBezTo>
                    <a:pt x="451952" y="6203"/>
                    <a:pt x="451952" y="1792"/>
                    <a:pt x="451952" y="0"/>
                  </a:cubicBezTo>
                  <a:cubicBezTo>
                    <a:pt x="449401" y="0"/>
                    <a:pt x="401000" y="0"/>
                    <a:pt x="398449" y="0"/>
                  </a:cubicBezTo>
                  <a:close/>
                  <a:moveTo>
                    <a:pt x="317849" y="0"/>
                  </a:moveTo>
                  <a:cubicBezTo>
                    <a:pt x="317849" y="1792"/>
                    <a:pt x="317849" y="6203"/>
                    <a:pt x="317849" y="7995"/>
                  </a:cubicBezTo>
                  <a:cubicBezTo>
                    <a:pt x="320400" y="7995"/>
                    <a:pt x="368801" y="7995"/>
                    <a:pt x="371352" y="7995"/>
                  </a:cubicBezTo>
                  <a:cubicBezTo>
                    <a:pt x="371352" y="6203"/>
                    <a:pt x="371352" y="1792"/>
                    <a:pt x="371352" y="0"/>
                  </a:cubicBezTo>
                  <a:cubicBezTo>
                    <a:pt x="368801" y="0"/>
                    <a:pt x="320400" y="0"/>
                    <a:pt x="317849" y="0"/>
                  </a:cubicBezTo>
                  <a:close/>
                  <a:moveTo>
                    <a:pt x="237318" y="0"/>
                  </a:moveTo>
                  <a:cubicBezTo>
                    <a:pt x="237318" y="1792"/>
                    <a:pt x="237318" y="6203"/>
                    <a:pt x="237318" y="7995"/>
                  </a:cubicBezTo>
                  <a:cubicBezTo>
                    <a:pt x="239869" y="7995"/>
                    <a:pt x="288270" y="7995"/>
                    <a:pt x="290821" y="7995"/>
                  </a:cubicBezTo>
                  <a:cubicBezTo>
                    <a:pt x="290821" y="6203"/>
                    <a:pt x="290821" y="1792"/>
                    <a:pt x="290821" y="0"/>
                  </a:cubicBezTo>
                  <a:cubicBezTo>
                    <a:pt x="288201" y="0"/>
                    <a:pt x="239869" y="0"/>
                    <a:pt x="237318" y="0"/>
                  </a:cubicBezTo>
                  <a:close/>
                  <a:moveTo>
                    <a:pt x="156718" y="0"/>
                  </a:moveTo>
                  <a:cubicBezTo>
                    <a:pt x="156718" y="1792"/>
                    <a:pt x="156718" y="6203"/>
                    <a:pt x="156718" y="7995"/>
                  </a:cubicBezTo>
                  <a:cubicBezTo>
                    <a:pt x="159269" y="7995"/>
                    <a:pt x="207671" y="7995"/>
                    <a:pt x="210222" y="7995"/>
                  </a:cubicBezTo>
                  <a:cubicBezTo>
                    <a:pt x="210222" y="6203"/>
                    <a:pt x="210222" y="1792"/>
                    <a:pt x="210222" y="0"/>
                  </a:cubicBezTo>
                  <a:cubicBezTo>
                    <a:pt x="207671" y="0"/>
                    <a:pt x="159269" y="0"/>
                    <a:pt x="156718" y="0"/>
                  </a:cubicBezTo>
                  <a:close/>
                  <a:moveTo>
                    <a:pt x="76187" y="0"/>
                  </a:moveTo>
                  <a:cubicBezTo>
                    <a:pt x="76187" y="1792"/>
                    <a:pt x="76187" y="6203"/>
                    <a:pt x="76187" y="7995"/>
                  </a:cubicBezTo>
                  <a:cubicBezTo>
                    <a:pt x="78738" y="7995"/>
                    <a:pt x="127140" y="7995"/>
                    <a:pt x="129691" y="7995"/>
                  </a:cubicBezTo>
                  <a:cubicBezTo>
                    <a:pt x="129691" y="6203"/>
                    <a:pt x="129691" y="1792"/>
                    <a:pt x="129691" y="0"/>
                  </a:cubicBezTo>
                  <a:cubicBezTo>
                    <a:pt x="127071" y="0"/>
                    <a:pt x="78738" y="0"/>
                    <a:pt x="76187" y="0"/>
                  </a:cubicBezTo>
                  <a:close/>
                  <a:moveTo>
                    <a:pt x="0" y="0"/>
                  </a:moveTo>
                  <a:cubicBezTo>
                    <a:pt x="0" y="1792"/>
                    <a:pt x="0" y="6203"/>
                    <a:pt x="0" y="7995"/>
                  </a:cubicBezTo>
                  <a:cubicBezTo>
                    <a:pt x="2551" y="7995"/>
                    <a:pt x="46540" y="7995"/>
                    <a:pt x="49091" y="7995"/>
                  </a:cubicBezTo>
                  <a:cubicBezTo>
                    <a:pt x="49091" y="6203"/>
                    <a:pt x="49091" y="1792"/>
                    <a:pt x="49091" y="0"/>
                  </a:cubicBezTo>
                  <a:cubicBezTo>
                    <a:pt x="46540" y="0"/>
                    <a:pt x="2551" y="0"/>
                    <a:pt x="0" y="0"/>
                  </a:cubicBezTo>
                  <a:close/>
                </a:path>
              </a:pathLst>
            </a:custGeom>
            <a:solidFill>
              <a:srgbClr val="E4E4E4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grpSp>
          <p:nvGrpSpPr>
            <p:cNvPr id="130" name="Graphic 4">
              <a:extLst>
                <a:ext uri="{FF2B5EF4-FFF2-40B4-BE49-F238E27FC236}">
                  <a16:creationId xmlns:a16="http://schemas.microsoft.com/office/drawing/2014/main" id="{611F2B55-2CFC-F24A-B09D-BF4683E49DAD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460593" y="1463821"/>
              <a:ext cx="644661" cy="207807"/>
              <a:chOff x="2460593" y="1463821"/>
              <a:chExt cx="644661" cy="207807"/>
            </a:xfrm>
            <a:solidFill>
              <a:srgbClr val="E4E4E4"/>
            </a:solidFill>
          </p:grpSpPr>
          <p:sp>
            <p:nvSpPr>
              <p:cNvPr id="131" name="Freeform 130">
                <a:extLst>
                  <a:ext uri="{FF2B5EF4-FFF2-40B4-BE49-F238E27FC236}">
                    <a16:creationId xmlns:a16="http://schemas.microsoft.com/office/drawing/2014/main" id="{98E98D37-5FCC-3640-9E81-4A972963243A}"/>
                  </a:ext>
                </a:extLst>
              </p:cNvPr>
              <p:cNvSpPr/>
              <p:nvPr/>
            </p:nvSpPr>
            <p:spPr>
              <a:xfrm>
                <a:off x="2460593" y="1663357"/>
                <a:ext cx="644661" cy="8270"/>
              </a:xfrm>
              <a:custGeom>
                <a:avLst/>
                <a:gdLst>
                  <a:gd name="connsiteX0" fmla="*/ 0 w 644661"/>
                  <a:gd name="connsiteY0" fmla="*/ 0 h 8270"/>
                  <a:gd name="connsiteX1" fmla="*/ 644661 w 644661"/>
                  <a:gd name="connsiteY1" fmla="*/ 0 h 8270"/>
                  <a:gd name="connsiteX2" fmla="*/ 644661 w 644661"/>
                  <a:gd name="connsiteY2" fmla="*/ 8271 h 8270"/>
                  <a:gd name="connsiteX3" fmla="*/ 0 w 644661"/>
                  <a:gd name="connsiteY3" fmla="*/ 8271 h 8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4661" h="8270">
                    <a:moveTo>
                      <a:pt x="0" y="0"/>
                    </a:moveTo>
                    <a:lnTo>
                      <a:pt x="644661" y="0"/>
                    </a:lnTo>
                    <a:lnTo>
                      <a:pt x="644661" y="8271"/>
                    </a:lnTo>
                    <a:lnTo>
                      <a:pt x="0" y="8271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  <p:sp>
            <p:nvSpPr>
              <p:cNvPr id="132" name="Freeform 131">
                <a:extLst>
                  <a:ext uri="{FF2B5EF4-FFF2-40B4-BE49-F238E27FC236}">
                    <a16:creationId xmlns:a16="http://schemas.microsoft.com/office/drawing/2014/main" id="{1C203029-B732-9143-8925-C17438E2CF3F}"/>
                  </a:ext>
                </a:extLst>
              </p:cNvPr>
              <p:cNvSpPr/>
              <p:nvPr/>
            </p:nvSpPr>
            <p:spPr>
              <a:xfrm>
                <a:off x="2460593" y="1463821"/>
                <a:ext cx="644661" cy="8270"/>
              </a:xfrm>
              <a:custGeom>
                <a:avLst/>
                <a:gdLst>
                  <a:gd name="connsiteX0" fmla="*/ 0 w 644661"/>
                  <a:gd name="connsiteY0" fmla="*/ 0 h 8270"/>
                  <a:gd name="connsiteX1" fmla="*/ 644661 w 644661"/>
                  <a:gd name="connsiteY1" fmla="*/ 0 h 8270"/>
                  <a:gd name="connsiteX2" fmla="*/ 644661 w 644661"/>
                  <a:gd name="connsiteY2" fmla="*/ 8271 h 8270"/>
                  <a:gd name="connsiteX3" fmla="*/ 0 w 644661"/>
                  <a:gd name="connsiteY3" fmla="*/ 8271 h 82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4661" h="8270">
                    <a:moveTo>
                      <a:pt x="0" y="0"/>
                    </a:moveTo>
                    <a:lnTo>
                      <a:pt x="644661" y="0"/>
                    </a:lnTo>
                    <a:lnTo>
                      <a:pt x="644661" y="8271"/>
                    </a:lnTo>
                    <a:lnTo>
                      <a:pt x="0" y="8271"/>
                    </a:lnTo>
                    <a:close/>
                  </a:path>
                </a:pathLst>
              </a:custGeom>
              <a:solidFill>
                <a:srgbClr val="E4E4E4"/>
              </a:solidFill>
              <a:ln w="68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</p:grpSp>
      <p:sp>
        <p:nvSpPr>
          <p:cNvPr id="300" name="Freeform 754">
            <a:extLst>
              <a:ext uri="{FF2B5EF4-FFF2-40B4-BE49-F238E27FC236}">
                <a16:creationId xmlns:a16="http://schemas.microsoft.com/office/drawing/2014/main" id="{4B12E61E-9ADF-DB20-5913-375CCDBDC5F3}"/>
              </a:ext>
            </a:extLst>
          </p:cNvPr>
          <p:cNvSpPr/>
          <p:nvPr/>
        </p:nvSpPr>
        <p:spPr>
          <a:xfrm rot="14277313" flipV="1">
            <a:off x="9629482" y="1339535"/>
            <a:ext cx="287403" cy="110835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rgbClr val="8098AA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301" name="Freeform 754">
            <a:extLst>
              <a:ext uri="{FF2B5EF4-FFF2-40B4-BE49-F238E27FC236}">
                <a16:creationId xmlns:a16="http://schemas.microsoft.com/office/drawing/2014/main" id="{14EA32F8-5917-5AD5-56EC-662DF8DA2A15}"/>
              </a:ext>
            </a:extLst>
          </p:cNvPr>
          <p:cNvSpPr/>
          <p:nvPr/>
        </p:nvSpPr>
        <p:spPr>
          <a:xfrm rot="6842120" flipH="1">
            <a:off x="10239077" y="1387767"/>
            <a:ext cx="385278" cy="354751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rgbClr val="8098AA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302" name="Freeform 754">
            <a:extLst>
              <a:ext uri="{FF2B5EF4-FFF2-40B4-BE49-F238E27FC236}">
                <a16:creationId xmlns:a16="http://schemas.microsoft.com/office/drawing/2014/main" id="{16A0DAC2-E9A6-A1AF-E0EB-5F7CF2C41805}"/>
              </a:ext>
            </a:extLst>
          </p:cNvPr>
          <p:cNvSpPr/>
          <p:nvPr/>
        </p:nvSpPr>
        <p:spPr>
          <a:xfrm rot="8144550" flipH="1">
            <a:off x="10487240" y="1782287"/>
            <a:ext cx="385278" cy="354751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rgbClr val="8098AA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304" name="Freeform 754">
            <a:extLst>
              <a:ext uri="{FF2B5EF4-FFF2-40B4-BE49-F238E27FC236}">
                <a16:creationId xmlns:a16="http://schemas.microsoft.com/office/drawing/2014/main" id="{97874018-4040-6912-1DAE-D9DCC4B1ED04}"/>
              </a:ext>
            </a:extLst>
          </p:cNvPr>
          <p:cNvSpPr/>
          <p:nvPr/>
        </p:nvSpPr>
        <p:spPr>
          <a:xfrm rot="9045523" flipV="1">
            <a:off x="8795439" y="1523853"/>
            <a:ext cx="394202" cy="367067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rgbClr val="8098AA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43" name="Freeform 754">
            <a:extLst>
              <a:ext uri="{FF2B5EF4-FFF2-40B4-BE49-F238E27FC236}">
                <a16:creationId xmlns:a16="http://schemas.microsoft.com/office/drawing/2014/main" id="{297664DF-BF7D-92FD-4459-23A872E238CD}"/>
              </a:ext>
            </a:extLst>
          </p:cNvPr>
          <p:cNvSpPr/>
          <p:nvPr/>
        </p:nvSpPr>
        <p:spPr>
          <a:xfrm rot="8144550" flipH="1">
            <a:off x="10551807" y="2571051"/>
            <a:ext cx="385278" cy="354751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rgbClr val="8098AA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39" name="Ovaal 38">
            <a:extLst>
              <a:ext uri="{FF2B5EF4-FFF2-40B4-BE49-F238E27FC236}">
                <a16:creationId xmlns:a16="http://schemas.microsoft.com/office/drawing/2014/main" id="{F0693E0E-87FC-F55B-77B5-D8B8EFB67AEE}"/>
              </a:ext>
            </a:extLst>
          </p:cNvPr>
          <p:cNvSpPr/>
          <p:nvPr/>
        </p:nvSpPr>
        <p:spPr>
          <a:xfrm>
            <a:off x="10647505" y="3612069"/>
            <a:ext cx="180000" cy="1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100" dirty="0">
                <a:solidFill>
                  <a:schemeClr val="accent2"/>
                </a:solidFill>
              </a:rPr>
              <a:t>5</a:t>
            </a:r>
          </a:p>
        </p:txBody>
      </p:sp>
      <p:sp>
        <p:nvSpPr>
          <p:cNvPr id="41" name="Ovaal 40">
            <a:extLst>
              <a:ext uri="{FF2B5EF4-FFF2-40B4-BE49-F238E27FC236}">
                <a16:creationId xmlns:a16="http://schemas.microsoft.com/office/drawing/2014/main" id="{90B7CA44-5CC3-C95D-6BCF-C1C3CDCD7D9A}"/>
              </a:ext>
            </a:extLst>
          </p:cNvPr>
          <p:cNvSpPr/>
          <p:nvPr/>
        </p:nvSpPr>
        <p:spPr>
          <a:xfrm>
            <a:off x="5965202" y="4797664"/>
            <a:ext cx="180000" cy="1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100" dirty="0">
                <a:solidFill>
                  <a:schemeClr val="accent2"/>
                </a:solidFill>
              </a:rPr>
              <a:t>4</a:t>
            </a:r>
          </a:p>
        </p:txBody>
      </p:sp>
      <p:sp>
        <p:nvSpPr>
          <p:cNvPr id="454" name="Ovaal 453">
            <a:extLst>
              <a:ext uri="{FF2B5EF4-FFF2-40B4-BE49-F238E27FC236}">
                <a16:creationId xmlns:a16="http://schemas.microsoft.com/office/drawing/2014/main" id="{549DE140-0BA8-C404-B700-80ED91D26312}"/>
              </a:ext>
            </a:extLst>
          </p:cNvPr>
          <p:cNvSpPr/>
          <p:nvPr/>
        </p:nvSpPr>
        <p:spPr>
          <a:xfrm>
            <a:off x="3013042" y="5791107"/>
            <a:ext cx="180000" cy="1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100" dirty="0">
                <a:solidFill>
                  <a:schemeClr val="accent2"/>
                </a:solidFill>
              </a:rPr>
              <a:t>3</a:t>
            </a:r>
          </a:p>
        </p:txBody>
      </p:sp>
      <p:sp>
        <p:nvSpPr>
          <p:cNvPr id="455" name="Ovaal 454">
            <a:extLst>
              <a:ext uri="{FF2B5EF4-FFF2-40B4-BE49-F238E27FC236}">
                <a16:creationId xmlns:a16="http://schemas.microsoft.com/office/drawing/2014/main" id="{FD10B0E3-6226-C93D-C941-DB06E7B8B7E9}"/>
              </a:ext>
            </a:extLst>
          </p:cNvPr>
          <p:cNvSpPr/>
          <p:nvPr/>
        </p:nvSpPr>
        <p:spPr>
          <a:xfrm>
            <a:off x="2525752" y="1063742"/>
            <a:ext cx="180000" cy="1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100" dirty="0">
                <a:solidFill>
                  <a:schemeClr val="accent2"/>
                </a:solidFill>
              </a:rPr>
              <a:t>2</a:t>
            </a:r>
          </a:p>
        </p:txBody>
      </p:sp>
      <p:sp>
        <p:nvSpPr>
          <p:cNvPr id="456" name="Ovaal 455">
            <a:extLst>
              <a:ext uri="{FF2B5EF4-FFF2-40B4-BE49-F238E27FC236}">
                <a16:creationId xmlns:a16="http://schemas.microsoft.com/office/drawing/2014/main" id="{78A6E8A2-398D-9754-49DC-B65B471148F2}"/>
              </a:ext>
            </a:extLst>
          </p:cNvPr>
          <p:cNvSpPr/>
          <p:nvPr/>
        </p:nvSpPr>
        <p:spPr>
          <a:xfrm>
            <a:off x="52159" y="3788881"/>
            <a:ext cx="180000" cy="1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100" dirty="0">
                <a:solidFill>
                  <a:schemeClr val="accent2"/>
                </a:solidFill>
              </a:rPr>
              <a:t>1</a:t>
            </a:r>
          </a:p>
        </p:txBody>
      </p:sp>
      <p:sp>
        <p:nvSpPr>
          <p:cNvPr id="458" name="Content Placeholder 2">
            <a:extLst>
              <a:ext uri="{FF2B5EF4-FFF2-40B4-BE49-F238E27FC236}">
                <a16:creationId xmlns:a16="http://schemas.microsoft.com/office/drawing/2014/main" id="{37095F94-FE61-C3BC-9CD5-F6C0DCD5FB82}"/>
              </a:ext>
            </a:extLst>
          </p:cNvPr>
          <p:cNvSpPr txBox="1">
            <a:spLocks/>
          </p:cNvSpPr>
          <p:nvPr/>
        </p:nvSpPr>
        <p:spPr>
          <a:xfrm>
            <a:off x="4344627" y="6288499"/>
            <a:ext cx="941070" cy="2384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1200" dirty="0">
                <a:solidFill>
                  <a:srgbClr val="8098AA"/>
                </a:solidFill>
                <a:cs typeface="Arial" panose="020B0604020202020204" pitchFamily="34" charset="0"/>
              </a:rPr>
              <a:t>Ik doe mijn dagelijkse werk</a:t>
            </a:r>
            <a:endParaRPr lang="nl-NL" sz="1050" dirty="0">
              <a:solidFill>
                <a:srgbClr val="8098AA"/>
              </a:solidFill>
              <a:cs typeface="Arial" panose="020B0604020202020204" pitchFamily="34" charset="0"/>
            </a:endParaRPr>
          </a:p>
        </p:txBody>
      </p:sp>
      <p:sp>
        <p:nvSpPr>
          <p:cNvPr id="459" name="Tekstvak 458">
            <a:extLst>
              <a:ext uri="{FF2B5EF4-FFF2-40B4-BE49-F238E27FC236}">
                <a16:creationId xmlns:a16="http://schemas.microsoft.com/office/drawing/2014/main" id="{B288F352-912B-23F4-5848-42048E90606F}"/>
              </a:ext>
            </a:extLst>
          </p:cNvPr>
          <p:cNvSpPr txBox="1"/>
          <p:nvPr/>
        </p:nvSpPr>
        <p:spPr>
          <a:xfrm>
            <a:off x="2880049" y="0"/>
            <a:ext cx="643190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3200" dirty="0">
                <a:solidFill>
                  <a:schemeClr val="accent3"/>
                </a:solidFill>
              </a:rPr>
              <a:t>DE REIS VAN DE MEDEWERKER</a:t>
            </a:r>
          </a:p>
        </p:txBody>
      </p:sp>
      <p:grpSp>
        <p:nvGrpSpPr>
          <p:cNvPr id="457" name="Group 595">
            <a:extLst>
              <a:ext uri="{FF2B5EF4-FFF2-40B4-BE49-F238E27FC236}">
                <a16:creationId xmlns:a16="http://schemas.microsoft.com/office/drawing/2014/main" id="{8B5EF19F-9EFF-FD42-74C7-30D66929F3E9}"/>
              </a:ext>
            </a:extLst>
          </p:cNvPr>
          <p:cNvGrpSpPr/>
          <p:nvPr/>
        </p:nvGrpSpPr>
        <p:grpSpPr>
          <a:xfrm>
            <a:off x="6262920" y="4132265"/>
            <a:ext cx="528508" cy="544636"/>
            <a:chOff x="6376813" y="95334"/>
            <a:chExt cx="3667135" cy="3720666"/>
          </a:xfrm>
          <a:solidFill>
            <a:srgbClr val="8098AA"/>
          </a:solidFill>
        </p:grpSpPr>
        <p:sp>
          <p:nvSpPr>
            <p:cNvPr id="460" name="Freeform: Shape 588">
              <a:extLst>
                <a:ext uri="{FF2B5EF4-FFF2-40B4-BE49-F238E27FC236}">
                  <a16:creationId xmlns:a16="http://schemas.microsoft.com/office/drawing/2014/main" id="{66201FFE-0A1E-0D4C-6185-559205EF5246}"/>
                </a:ext>
              </a:extLst>
            </p:cNvPr>
            <p:cNvSpPr/>
            <p:nvPr/>
          </p:nvSpPr>
          <p:spPr>
            <a:xfrm>
              <a:off x="6376813" y="2946814"/>
              <a:ext cx="541736" cy="869175"/>
            </a:xfrm>
            <a:custGeom>
              <a:avLst/>
              <a:gdLst>
                <a:gd name="connsiteX0" fmla="*/ 458393 w 541736"/>
                <a:gd name="connsiteY0" fmla="*/ 869175 h 869175"/>
                <a:gd name="connsiteX1" fmla="*/ 83344 w 541736"/>
                <a:gd name="connsiteY1" fmla="*/ 869175 h 869175"/>
                <a:gd name="connsiteX2" fmla="*/ 0 w 541736"/>
                <a:gd name="connsiteY2" fmla="*/ 785831 h 869175"/>
                <a:gd name="connsiteX3" fmla="*/ 0 w 541736"/>
                <a:gd name="connsiteY3" fmla="*/ 83344 h 869175"/>
                <a:gd name="connsiteX4" fmla="*/ 83344 w 541736"/>
                <a:gd name="connsiteY4" fmla="*/ 0 h 869175"/>
                <a:gd name="connsiteX5" fmla="*/ 458393 w 541736"/>
                <a:gd name="connsiteY5" fmla="*/ 0 h 869175"/>
                <a:gd name="connsiteX6" fmla="*/ 541736 w 541736"/>
                <a:gd name="connsiteY6" fmla="*/ 83344 h 869175"/>
                <a:gd name="connsiteX7" fmla="*/ 541736 w 541736"/>
                <a:gd name="connsiteY7" fmla="*/ 779850 h 869175"/>
                <a:gd name="connsiteX8" fmla="*/ 458393 w 541736"/>
                <a:gd name="connsiteY8" fmla="*/ 869148 h 869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41736" h="869175">
                  <a:moveTo>
                    <a:pt x="458393" y="869175"/>
                  </a:moveTo>
                  <a:lnTo>
                    <a:pt x="83344" y="869175"/>
                  </a:lnTo>
                  <a:cubicBezTo>
                    <a:pt x="35719" y="869175"/>
                    <a:pt x="0" y="833456"/>
                    <a:pt x="0" y="785831"/>
                  </a:cubicBezTo>
                  <a:lnTo>
                    <a:pt x="0" y="83344"/>
                  </a:lnTo>
                  <a:cubicBezTo>
                    <a:pt x="0" y="35719"/>
                    <a:pt x="35719" y="0"/>
                    <a:pt x="83344" y="0"/>
                  </a:cubicBezTo>
                  <a:lnTo>
                    <a:pt x="458393" y="0"/>
                  </a:lnTo>
                  <a:cubicBezTo>
                    <a:pt x="506018" y="0"/>
                    <a:pt x="541736" y="35719"/>
                    <a:pt x="541736" y="83344"/>
                  </a:cubicBezTo>
                  <a:lnTo>
                    <a:pt x="541736" y="779850"/>
                  </a:lnTo>
                  <a:cubicBezTo>
                    <a:pt x="541736" y="827475"/>
                    <a:pt x="500063" y="869148"/>
                    <a:pt x="458393" y="869148"/>
                  </a:cubicBezTo>
                  <a:close/>
                </a:path>
              </a:pathLst>
            </a:custGeom>
            <a:solidFill>
              <a:schemeClr val="accent2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461" name="Freeform: Shape 589">
              <a:extLst>
                <a:ext uri="{FF2B5EF4-FFF2-40B4-BE49-F238E27FC236}">
                  <a16:creationId xmlns:a16="http://schemas.microsoft.com/office/drawing/2014/main" id="{E677A47D-500C-2C24-012D-CBF1D39C4774}"/>
                </a:ext>
              </a:extLst>
            </p:cNvPr>
            <p:cNvSpPr/>
            <p:nvPr/>
          </p:nvSpPr>
          <p:spPr>
            <a:xfrm>
              <a:off x="7198363" y="2577739"/>
              <a:ext cx="541736" cy="1238261"/>
            </a:xfrm>
            <a:custGeom>
              <a:avLst/>
              <a:gdLst>
                <a:gd name="connsiteX0" fmla="*/ 458393 w 541736"/>
                <a:gd name="connsiteY0" fmla="*/ 1238250 h 1238261"/>
                <a:gd name="connsiteX1" fmla="*/ 83344 w 541736"/>
                <a:gd name="connsiteY1" fmla="*/ 1238250 h 1238261"/>
                <a:gd name="connsiteX2" fmla="*/ 0 w 541736"/>
                <a:gd name="connsiteY2" fmla="*/ 1154906 h 1238261"/>
                <a:gd name="connsiteX3" fmla="*/ 0 w 541736"/>
                <a:gd name="connsiteY3" fmla="*/ 83344 h 1238261"/>
                <a:gd name="connsiteX4" fmla="*/ 83344 w 541736"/>
                <a:gd name="connsiteY4" fmla="*/ 0 h 1238261"/>
                <a:gd name="connsiteX5" fmla="*/ 458393 w 541736"/>
                <a:gd name="connsiteY5" fmla="*/ 0 h 1238261"/>
                <a:gd name="connsiteX6" fmla="*/ 541736 w 541736"/>
                <a:gd name="connsiteY6" fmla="*/ 83344 h 1238261"/>
                <a:gd name="connsiteX7" fmla="*/ 541736 w 541736"/>
                <a:gd name="connsiteY7" fmla="*/ 1148963 h 1238261"/>
                <a:gd name="connsiteX8" fmla="*/ 458393 w 541736"/>
                <a:gd name="connsiteY8" fmla="*/ 1238262 h 1238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41736" h="1238261">
                  <a:moveTo>
                    <a:pt x="458393" y="1238250"/>
                  </a:moveTo>
                  <a:lnTo>
                    <a:pt x="83344" y="1238250"/>
                  </a:lnTo>
                  <a:cubicBezTo>
                    <a:pt x="35719" y="1238250"/>
                    <a:pt x="0" y="1202531"/>
                    <a:pt x="0" y="1154906"/>
                  </a:cubicBezTo>
                  <a:lnTo>
                    <a:pt x="0" y="83344"/>
                  </a:lnTo>
                  <a:cubicBezTo>
                    <a:pt x="0" y="35719"/>
                    <a:pt x="35719" y="0"/>
                    <a:pt x="83344" y="0"/>
                  </a:cubicBezTo>
                  <a:lnTo>
                    <a:pt x="458393" y="0"/>
                  </a:lnTo>
                  <a:cubicBezTo>
                    <a:pt x="506018" y="0"/>
                    <a:pt x="541736" y="35719"/>
                    <a:pt x="541736" y="83344"/>
                  </a:cubicBezTo>
                  <a:lnTo>
                    <a:pt x="541736" y="1148963"/>
                  </a:lnTo>
                  <a:cubicBezTo>
                    <a:pt x="541736" y="1196588"/>
                    <a:pt x="506018" y="1238262"/>
                    <a:pt x="458393" y="1238262"/>
                  </a:cubicBezTo>
                  <a:close/>
                </a:path>
              </a:pathLst>
            </a:custGeom>
            <a:solidFill>
              <a:schemeClr val="accent2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462" name="Freeform: Shape 590">
              <a:extLst>
                <a:ext uri="{FF2B5EF4-FFF2-40B4-BE49-F238E27FC236}">
                  <a16:creationId xmlns:a16="http://schemas.microsoft.com/office/drawing/2014/main" id="{1FDA075A-8EA1-56D6-7573-0BFAD0FE0F74}"/>
                </a:ext>
              </a:extLst>
            </p:cNvPr>
            <p:cNvSpPr/>
            <p:nvPr/>
          </p:nvSpPr>
          <p:spPr>
            <a:xfrm>
              <a:off x="8025857" y="1845495"/>
              <a:ext cx="541736" cy="1970505"/>
            </a:xfrm>
            <a:custGeom>
              <a:avLst/>
              <a:gdLst>
                <a:gd name="connsiteX0" fmla="*/ 458393 w 541736"/>
                <a:gd name="connsiteY0" fmla="*/ 1970494 h 1970505"/>
                <a:gd name="connsiteX1" fmla="*/ 83344 w 541736"/>
                <a:gd name="connsiteY1" fmla="*/ 1970494 h 1970505"/>
                <a:gd name="connsiteX2" fmla="*/ 0 w 541736"/>
                <a:gd name="connsiteY2" fmla="*/ 1887150 h 1970505"/>
                <a:gd name="connsiteX3" fmla="*/ 0 w 541736"/>
                <a:gd name="connsiteY3" fmla="*/ 83344 h 1970505"/>
                <a:gd name="connsiteX4" fmla="*/ 83344 w 541736"/>
                <a:gd name="connsiteY4" fmla="*/ 0 h 1970505"/>
                <a:gd name="connsiteX5" fmla="*/ 458393 w 541736"/>
                <a:gd name="connsiteY5" fmla="*/ 0 h 1970505"/>
                <a:gd name="connsiteX6" fmla="*/ 541736 w 541736"/>
                <a:gd name="connsiteY6" fmla="*/ 83344 h 1970505"/>
                <a:gd name="connsiteX7" fmla="*/ 541736 w 541736"/>
                <a:gd name="connsiteY7" fmla="*/ 1881207 h 1970505"/>
                <a:gd name="connsiteX8" fmla="*/ 458393 w 541736"/>
                <a:gd name="connsiteY8" fmla="*/ 1970506 h 1970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41736" h="1970505">
                  <a:moveTo>
                    <a:pt x="458393" y="1970494"/>
                  </a:moveTo>
                  <a:lnTo>
                    <a:pt x="83344" y="1970494"/>
                  </a:lnTo>
                  <a:cubicBezTo>
                    <a:pt x="35719" y="1970494"/>
                    <a:pt x="0" y="1934775"/>
                    <a:pt x="0" y="1887150"/>
                  </a:cubicBezTo>
                  <a:lnTo>
                    <a:pt x="0" y="83344"/>
                  </a:lnTo>
                  <a:cubicBezTo>
                    <a:pt x="0" y="35719"/>
                    <a:pt x="35719" y="0"/>
                    <a:pt x="83344" y="0"/>
                  </a:cubicBezTo>
                  <a:lnTo>
                    <a:pt x="458393" y="0"/>
                  </a:lnTo>
                  <a:cubicBezTo>
                    <a:pt x="506018" y="0"/>
                    <a:pt x="541736" y="35719"/>
                    <a:pt x="541736" y="83344"/>
                  </a:cubicBezTo>
                  <a:lnTo>
                    <a:pt x="541736" y="1881207"/>
                  </a:lnTo>
                  <a:cubicBezTo>
                    <a:pt x="541736" y="1928832"/>
                    <a:pt x="506018" y="1970506"/>
                    <a:pt x="458393" y="1970506"/>
                  </a:cubicBezTo>
                  <a:close/>
                </a:path>
              </a:pathLst>
            </a:custGeom>
            <a:solidFill>
              <a:schemeClr val="accent2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463" name="Freeform: Shape 591">
              <a:extLst>
                <a:ext uri="{FF2B5EF4-FFF2-40B4-BE49-F238E27FC236}">
                  <a16:creationId xmlns:a16="http://schemas.microsoft.com/office/drawing/2014/main" id="{EF80DC6C-A978-618B-8795-220617E208FB}"/>
                </a:ext>
              </a:extLst>
            </p:cNvPr>
            <p:cNvSpPr/>
            <p:nvPr/>
          </p:nvSpPr>
          <p:spPr>
            <a:xfrm>
              <a:off x="8853316" y="95334"/>
              <a:ext cx="1190632" cy="3714731"/>
            </a:xfrm>
            <a:custGeom>
              <a:avLst/>
              <a:gdLst>
                <a:gd name="connsiteX0" fmla="*/ 1190633 w 1190632"/>
                <a:gd name="connsiteY0" fmla="*/ 369075 h 3714731"/>
                <a:gd name="connsiteX1" fmla="*/ 1137057 w 1190632"/>
                <a:gd name="connsiteY1" fmla="*/ 428606 h 3714731"/>
                <a:gd name="connsiteX2" fmla="*/ 357188 w 1190632"/>
                <a:gd name="connsiteY2" fmla="*/ 619106 h 3714731"/>
                <a:gd name="connsiteX3" fmla="*/ 345281 w 1190632"/>
                <a:gd name="connsiteY3" fmla="*/ 619106 h 3714731"/>
                <a:gd name="connsiteX4" fmla="*/ 345281 w 1190632"/>
                <a:gd name="connsiteY4" fmla="*/ 1023918 h 3714731"/>
                <a:gd name="connsiteX5" fmla="*/ 434580 w 1190632"/>
                <a:gd name="connsiteY5" fmla="*/ 1023918 h 3714731"/>
                <a:gd name="connsiteX6" fmla="*/ 541736 w 1190632"/>
                <a:gd name="connsiteY6" fmla="*/ 1107262 h 3714731"/>
                <a:gd name="connsiteX7" fmla="*/ 541736 w 1190632"/>
                <a:gd name="connsiteY7" fmla="*/ 3631387 h 3714731"/>
                <a:gd name="connsiteX8" fmla="*/ 434580 w 1190632"/>
                <a:gd name="connsiteY8" fmla="*/ 3714731 h 3714731"/>
                <a:gd name="connsiteX9" fmla="*/ 107156 w 1190632"/>
                <a:gd name="connsiteY9" fmla="*/ 3714731 h 3714731"/>
                <a:gd name="connsiteX10" fmla="*/ 0 w 1190632"/>
                <a:gd name="connsiteY10" fmla="*/ 3631387 h 3714731"/>
                <a:gd name="connsiteX11" fmla="*/ 0 w 1190632"/>
                <a:gd name="connsiteY11" fmla="*/ 1107262 h 3714731"/>
                <a:gd name="connsiteX12" fmla="*/ 107156 w 1190632"/>
                <a:gd name="connsiteY12" fmla="*/ 1023918 h 3714731"/>
                <a:gd name="connsiteX13" fmla="*/ 190500 w 1190632"/>
                <a:gd name="connsiteY13" fmla="*/ 1023918 h 3714731"/>
                <a:gd name="connsiteX14" fmla="*/ 190500 w 1190632"/>
                <a:gd name="connsiteY14" fmla="*/ 59531 h 3714731"/>
                <a:gd name="connsiteX15" fmla="*/ 267889 w 1190632"/>
                <a:gd name="connsiteY15" fmla="*/ 0 h 3714731"/>
                <a:gd name="connsiteX16" fmla="*/ 345277 w 1190632"/>
                <a:gd name="connsiteY16" fmla="*/ 59531 h 3714731"/>
                <a:gd name="connsiteX17" fmla="*/ 345277 w 1190632"/>
                <a:gd name="connsiteY17" fmla="*/ 125018 h 3714731"/>
                <a:gd name="connsiteX18" fmla="*/ 357184 w 1190632"/>
                <a:gd name="connsiteY18" fmla="*/ 125018 h 3714731"/>
                <a:gd name="connsiteX19" fmla="*/ 1137052 w 1190632"/>
                <a:gd name="connsiteY19" fmla="*/ 309566 h 3714731"/>
                <a:gd name="connsiteX20" fmla="*/ 1190629 w 1190632"/>
                <a:gd name="connsiteY20" fmla="*/ 369098 h 3714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90632" h="3714731">
                  <a:moveTo>
                    <a:pt x="1190633" y="369075"/>
                  </a:moveTo>
                  <a:cubicBezTo>
                    <a:pt x="1190633" y="392887"/>
                    <a:pt x="1166820" y="416700"/>
                    <a:pt x="1137057" y="428606"/>
                  </a:cubicBezTo>
                  <a:lnTo>
                    <a:pt x="357188" y="619106"/>
                  </a:lnTo>
                  <a:lnTo>
                    <a:pt x="345281" y="619106"/>
                  </a:lnTo>
                  <a:lnTo>
                    <a:pt x="345281" y="1023918"/>
                  </a:lnTo>
                  <a:lnTo>
                    <a:pt x="434580" y="1023918"/>
                  </a:lnTo>
                  <a:cubicBezTo>
                    <a:pt x="494111" y="1023918"/>
                    <a:pt x="541736" y="1059637"/>
                    <a:pt x="541736" y="1107262"/>
                  </a:cubicBezTo>
                  <a:lnTo>
                    <a:pt x="541736" y="3631387"/>
                  </a:lnTo>
                  <a:cubicBezTo>
                    <a:pt x="541736" y="3679012"/>
                    <a:pt x="494111" y="3714731"/>
                    <a:pt x="434580" y="3714731"/>
                  </a:cubicBezTo>
                  <a:lnTo>
                    <a:pt x="107156" y="3714731"/>
                  </a:lnTo>
                  <a:cubicBezTo>
                    <a:pt x="47625" y="3714731"/>
                    <a:pt x="0" y="3679012"/>
                    <a:pt x="0" y="3631387"/>
                  </a:cubicBezTo>
                  <a:lnTo>
                    <a:pt x="0" y="1107262"/>
                  </a:lnTo>
                  <a:cubicBezTo>
                    <a:pt x="0" y="1059637"/>
                    <a:pt x="47625" y="1023918"/>
                    <a:pt x="107156" y="1023918"/>
                  </a:cubicBezTo>
                  <a:lnTo>
                    <a:pt x="190500" y="1023918"/>
                  </a:lnTo>
                  <a:lnTo>
                    <a:pt x="190500" y="59531"/>
                  </a:lnTo>
                  <a:cubicBezTo>
                    <a:pt x="190500" y="23813"/>
                    <a:pt x="226219" y="0"/>
                    <a:pt x="267889" y="0"/>
                  </a:cubicBezTo>
                  <a:cubicBezTo>
                    <a:pt x="309559" y="0"/>
                    <a:pt x="345277" y="23813"/>
                    <a:pt x="345277" y="59531"/>
                  </a:cubicBezTo>
                  <a:lnTo>
                    <a:pt x="345277" y="125018"/>
                  </a:lnTo>
                  <a:lnTo>
                    <a:pt x="357184" y="125018"/>
                  </a:lnTo>
                  <a:lnTo>
                    <a:pt x="1137052" y="309566"/>
                  </a:lnTo>
                  <a:cubicBezTo>
                    <a:pt x="1172771" y="321473"/>
                    <a:pt x="1190629" y="345285"/>
                    <a:pt x="1190629" y="369098"/>
                  </a:cubicBezTo>
                  <a:close/>
                </a:path>
              </a:pathLst>
            </a:custGeom>
            <a:solidFill>
              <a:schemeClr val="accent2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</p:grpSp>
      <p:pic>
        <p:nvPicPr>
          <p:cNvPr id="464" name="Graphic 463">
            <a:extLst>
              <a:ext uri="{FF2B5EF4-FFF2-40B4-BE49-F238E27FC236}">
                <a16:creationId xmlns:a16="http://schemas.microsoft.com/office/drawing/2014/main" id="{ACB2A348-DF02-649B-3CDD-0FB8D8ADDEF1}"/>
              </a:ext>
            </a:extLst>
          </p:cNvPr>
          <p:cNvPicPr>
            <a:picLocks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928417" y="3988673"/>
            <a:ext cx="719709" cy="719709"/>
          </a:xfrm>
          <a:prstGeom prst="rect">
            <a:avLst/>
          </a:prstGeom>
        </p:spPr>
      </p:pic>
      <p:sp>
        <p:nvSpPr>
          <p:cNvPr id="466" name="Content Placeholder 2">
            <a:extLst>
              <a:ext uri="{FF2B5EF4-FFF2-40B4-BE49-F238E27FC236}">
                <a16:creationId xmlns:a16="http://schemas.microsoft.com/office/drawing/2014/main" id="{C2CC2287-4262-7CA4-F0F8-0B508EF846AE}"/>
              </a:ext>
            </a:extLst>
          </p:cNvPr>
          <p:cNvSpPr txBox="1">
            <a:spLocks/>
          </p:cNvSpPr>
          <p:nvPr/>
        </p:nvSpPr>
        <p:spPr>
          <a:xfrm>
            <a:off x="1352283" y="1741383"/>
            <a:ext cx="1059680" cy="2384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5000"/>
              </a:lnSpc>
              <a:spcBef>
                <a:spcPts val="100"/>
              </a:spcBef>
              <a:buNone/>
            </a:pPr>
            <a:r>
              <a:rPr lang="nl-NL" sz="1200" dirty="0">
                <a:solidFill>
                  <a:srgbClr val="8098AA"/>
                </a:solidFill>
                <a:cs typeface="Arial" panose="020B0604020202020204" pitchFamily="34" charset="0"/>
              </a:rPr>
              <a:t>Ik ontvang info over mijn eerste werkdag</a:t>
            </a:r>
          </a:p>
        </p:txBody>
      </p:sp>
      <p:sp>
        <p:nvSpPr>
          <p:cNvPr id="467" name="Freeform 754">
            <a:extLst>
              <a:ext uri="{FF2B5EF4-FFF2-40B4-BE49-F238E27FC236}">
                <a16:creationId xmlns:a16="http://schemas.microsoft.com/office/drawing/2014/main" id="{F7961A56-58AF-DC5F-F7FD-D787088BCCF0}"/>
              </a:ext>
            </a:extLst>
          </p:cNvPr>
          <p:cNvSpPr/>
          <p:nvPr/>
        </p:nvSpPr>
        <p:spPr>
          <a:xfrm rot="17058532">
            <a:off x="2367025" y="2027214"/>
            <a:ext cx="385278" cy="354751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rgbClr val="8098AA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070D1A27-D1F3-B035-F50C-FF3C43232584}"/>
              </a:ext>
            </a:extLst>
          </p:cNvPr>
          <p:cNvSpPr txBox="1"/>
          <p:nvPr/>
        </p:nvSpPr>
        <p:spPr>
          <a:xfrm>
            <a:off x="5223964" y="6630834"/>
            <a:ext cx="6906303" cy="24929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indent="0" algn="ctr" defTabSz="685983">
              <a:lnSpc>
                <a:spcPct val="85000"/>
              </a:lnSpc>
              <a:spcBef>
                <a:spcPts val="100"/>
              </a:spcBef>
              <a:buClr>
                <a:srgbClr val="1F94D1"/>
              </a:buClr>
              <a:buFont typeface="Arial"/>
              <a:buNone/>
              <a:defRPr sz="1200">
                <a:solidFill>
                  <a:srgbClr val="8098AA"/>
                </a:solidFill>
                <a:cs typeface="Arial" panose="020B0604020202020204" pitchFamily="34" charset="0"/>
              </a:defRPr>
            </a:lvl1pPr>
            <a:lvl2pPr marL="292100" indent="-112713" defTabSz="685983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>
                <a:solidFill>
                  <a:srgbClr val="00467B"/>
                </a:solidFill>
              </a:defRPr>
            </a:lvl2pPr>
            <a:lvl3pPr marL="460375" indent="-112713" defTabSz="685983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>
                <a:solidFill>
                  <a:srgbClr val="00467B"/>
                </a:solidFill>
              </a:defRPr>
            </a:lvl3pPr>
            <a:lvl4pPr marL="573088" indent="-112713" defTabSz="685983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>
                <a:solidFill>
                  <a:srgbClr val="00467B"/>
                </a:solidFill>
              </a:defRPr>
            </a:lvl4pPr>
            <a:lvl5pPr marL="695325" indent="-122238" defTabSz="685983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>
                <a:solidFill>
                  <a:srgbClr val="00467B"/>
                </a:solidFill>
              </a:defRPr>
            </a:lvl5pPr>
            <a:lvl6pPr marL="1886453" indent="-171496" defTabSz="685983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/>
            </a:lvl6pPr>
            <a:lvl7pPr marL="2229444" indent="-171496" defTabSz="685983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/>
            </a:lvl7pPr>
            <a:lvl8pPr marL="2572436" indent="-171496" defTabSz="685983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/>
            </a:lvl8pPr>
            <a:lvl9pPr marL="2915427" indent="-171496" defTabSz="685983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/>
            </a:lvl9pPr>
          </a:lstStyle>
          <a:p>
            <a:pPr algn="r"/>
            <a:r>
              <a:rPr lang="nl-NL" sz="1050" dirty="0"/>
              <a:t>Let op: niet elke stap is voor elke medewerker en elk bedrijf van toepassing</a:t>
            </a:r>
          </a:p>
        </p:txBody>
      </p:sp>
      <p:sp>
        <p:nvSpPr>
          <p:cNvPr id="465" name="Rechthoek 464">
            <a:extLst>
              <a:ext uri="{FF2B5EF4-FFF2-40B4-BE49-F238E27FC236}">
                <a16:creationId xmlns:a16="http://schemas.microsoft.com/office/drawing/2014/main" id="{54A3BE06-6893-8ACE-968E-E192C561B9B0}"/>
              </a:ext>
            </a:extLst>
          </p:cNvPr>
          <p:cNvSpPr/>
          <p:nvPr/>
        </p:nvSpPr>
        <p:spPr>
          <a:xfrm rot="20400085">
            <a:off x="322956" y="329654"/>
            <a:ext cx="1475422" cy="59576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2800" dirty="0"/>
              <a:t>EXTRA</a:t>
            </a:r>
          </a:p>
        </p:txBody>
      </p:sp>
    </p:spTree>
    <p:extLst>
      <p:ext uri="{BB962C8B-B14F-4D97-AF65-F5344CB8AC3E}">
        <p14:creationId xmlns:p14="http://schemas.microsoft.com/office/powerpoint/2010/main" val="388636967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hoek: afgeronde hoeken 12">
            <a:extLst>
              <a:ext uri="{FF2B5EF4-FFF2-40B4-BE49-F238E27FC236}">
                <a16:creationId xmlns:a16="http://schemas.microsoft.com/office/drawing/2014/main" id="{FBF8260F-D02A-6F48-D480-7B3850957C55}"/>
              </a:ext>
            </a:extLst>
          </p:cNvPr>
          <p:cNvSpPr/>
          <p:nvPr/>
        </p:nvSpPr>
        <p:spPr>
          <a:xfrm>
            <a:off x="3996594" y="6168429"/>
            <a:ext cx="2680370" cy="582225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400"/>
          </a:p>
        </p:txBody>
      </p:sp>
      <p:sp>
        <p:nvSpPr>
          <p:cNvPr id="14" name="Rechthoek: afgeronde hoeken 13">
            <a:extLst>
              <a:ext uri="{FF2B5EF4-FFF2-40B4-BE49-F238E27FC236}">
                <a16:creationId xmlns:a16="http://schemas.microsoft.com/office/drawing/2014/main" id="{8551CD76-9015-5141-1307-87FB551525A7}"/>
              </a:ext>
            </a:extLst>
          </p:cNvPr>
          <p:cNvSpPr/>
          <p:nvPr/>
        </p:nvSpPr>
        <p:spPr>
          <a:xfrm>
            <a:off x="7152650" y="6168429"/>
            <a:ext cx="2680370" cy="582225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400"/>
          </a:p>
        </p:txBody>
      </p:sp>
      <p:sp>
        <p:nvSpPr>
          <p:cNvPr id="1078" name="Rectangle: Rounded Corners 1077">
            <a:extLst>
              <a:ext uri="{FF2B5EF4-FFF2-40B4-BE49-F238E27FC236}">
                <a16:creationId xmlns:a16="http://schemas.microsoft.com/office/drawing/2014/main" id="{A647117C-AFB5-34DC-67FF-7B69A26E9854}"/>
              </a:ext>
            </a:extLst>
          </p:cNvPr>
          <p:cNvSpPr/>
          <p:nvPr/>
        </p:nvSpPr>
        <p:spPr>
          <a:xfrm>
            <a:off x="228600" y="1393371"/>
            <a:ext cx="11810999" cy="4652270"/>
          </a:xfrm>
          <a:prstGeom prst="roundRect">
            <a:avLst>
              <a:gd name="adj" fmla="val 1206"/>
            </a:avLst>
          </a:prstGeom>
          <a:noFill/>
          <a:ln w="19050">
            <a:solidFill>
              <a:schemeClr val="accent3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9C550E-0AC6-845D-AFE9-5BD0D336024B}"/>
              </a:ext>
            </a:extLst>
          </p:cNvPr>
          <p:cNvSpPr txBox="1">
            <a:spLocks/>
          </p:cNvSpPr>
          <p:nvPr/>
        </p:nvSpPr>
        <p:spPr>
          <a:xfrm>
            <a:off x="457201" y="272311"/>
            <a:ext cx="11256134" cy="607769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accent5">
                    <a:lumMod val="75000"/>
                  </a:schemeClr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nl-NL" dirty="0">
                <a:solidFill>
                  <a:schemeClr val="accent3"/>
                </a:solidFill>
              </a:rPr>
              <a:t>Wij helpen je graag om de beleving van jullie medewerkers en de onderliggende HR processen in kaart te brengen én te verbeteren</a:t>
            </a:r>
          </a:p>
        </p:txBody>
      </p:sp>
      <p:grpSp>
        <p:nvGrpSpPr>
          <p:cNvPr id="1073" name="Group 1072">
            <a:extLst>
              <a:ext uri="{FF2B5EF4-FFF2-40B4-BE49-F238E27FC236}">
                <a16:creationId xmlns:a16="http://schemas.microsoft.com/office/drawing/2014/main" id="{58E57FF5-EE49-F974-EF4C-62B94E888851}"/>
              </a:ext>
            </a:extLst>
          </p:cNvPr>
          <p:cNvGrpSpPr/>
          <p:nvPr/>
        </p:nvGrpSpPr>
        <p:grpSpPr>
          <a:xfrm>
            <a:off x="3294201" y="2473977"/>
            <a:ext cx="2816610" cy="607770"/>
            <a:chOff x="3171306" y="2473977"/>
            <a:chExt cx="2528695" cy="607770"/>
          </a:xfrm>
        </p:grpSpPr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1B0A7E2C-C21F-838F-041C-14BAA38DEA0B}"/>
                </a:ext>
              </a:extLst>
            </p:cNvPr>
            <p:cNvSpPr/>
            <p:nvPr/>
          </p:nvSpPr>
          <p:spPr>
            <a:xfrm>
              <a:off x="3171306" y="2473977"/>
              <a:ext cx="2528695" cy="607770"/>
            </a:xfrm>
            <a:prstGeom prst="roundRect">
              <a:avLst>
                <a:gd name="adj" fmla="val 9028"/>
              </a:avLst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3200" dirty="0">
                <a:solidFill>
                  <a:schemeClr val="accent2"/>
                </a:solidFill>
              </a:endParaRPr>
            </a:p>
          </p:txBody>
        </p:sp>
        <p:sp>
          <p:nvSpPr>
            <p:cNvPr id="8" name="Content Placeholder 2">
              <a:extLst>
                <a:ext uri="{FF2B5EF4-FFF2-40B4-BE49-F238E27FC236}">
                  <a16:creationId xmlns:a16="http://schemas.microsoft.com/office/drawing/2014/main" id="{1CDC23D1-064E-D4D2-BC8C-AC9C38443A8E}"/>
                </a:ext>
              </a:extLst>
            </p:cNvPr>
            <p:cNvSpPr txBox="1">
              <a:spLocks/>
            </p:cNvSpPr>
            <p:nvPr/>
          </p:nvSpPr>
          <p:spPr>
            <a:xfrm>
              <a:off x="3252307" y="2701172"/>
              <a:ext cx="2366693" cy="2295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171496" indent="-171496" algn="l" defTabSz="685983" rtl="0" eaLnBrk="1" latinLnBrk="0" hangingPunct="1">
                <a:lnSpc>
                  <a:spcPct val="90000"/>
                </a:lnSpc>
                <a:spcBef>
                  <a:spcPts val="750"/>
                </a:spcBef>
                <a:buClr>
                  <a:srgbClr val="1F94D1"/>
                </a:buClr>
                <a:buFont typeface="Arial"/>
                <a:buChar char="•"/>
                <a:defRPr sz="2101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1pPr>
              <a:lvl2pPr marL="292100" indent="-112713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Font typeface="Arial" panose="020B0604020202020204" pitchFamily="34" charset="0"/>
                <a:buChar char="–"/>
                <a:tabLst/>
                <a:defRPr sz="180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2pPr>
              <a:lvl3pPr marL="460375" indent="-112713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SzPct val="60000"/>
                <a:buFont typeface="Arial" panose="020B0604020202020204" pitchFamily="34" charset="0"/>
                <a:buChar char="►"/>
                <a:tabLst/>
                <a:defRPr sz="150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3pPr>
              <a:lvl4pPr marL="573088" indent="-112713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Font typeface="Wingdings" panose="05000000000000000000" pitchFamily="2" charset="2"/>
                <a:buChar char="§"/>
                <a:tabLst/>
                <a:defRPr sz="135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4pPr>
              <a:lvl5pPr marL="695325" indent="-122238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SzPct val="80000"/>
                <a:buFont typeface="Courier New" panose="02070309020205020404" pitchFamily="49" charset="0"/>
                <a:buChar char="o"/>
                <a:tabLst/>
                <a:defRPr sz="135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5pPr>
              <a:lvl6pPr marL="1886453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9444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2436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5427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lnSpc>
                  <a:spcPct val="85000"/>
                </a:lnSpc>
                <a:spcBef>
                  <a:spcPts val="100"/>
                </a:spcBef>
                <a:buNone/>
              </a:pPr>
              <a:r>
                <a:rPr lang="nl-NL" sz="2000" dirty="0">
                  <a:solidFill>
                    <a:schemeClr val="accent2"/>
                  </a:solidFill>
                  <a:cs typeface="Arial" panose="020B0604020202020204" pitchFamily="34" charset="0"/>
                </a:rPr>
                <a:t>FOCUSGROEPEN</a:t>
              </a:r>
            </a:p>
          </p:txBody>
        </p:sp>
      </p:grpSp>
      <p:grpSp>
        <p:nvGrpSpPr>
          <p:cNvPr id="1062" name="Graphic 11">
            <a:extLst>
              <a:ext uri="{FF2B5EF4-FFF2-40B4-BE49-F238E27FC236}">
                <a16:creationId xmlns:a16="http://schemas.microsoft.com/office/drawing/2014/main" id="{01639D88-9CFD-F4AD-D39A-2EE80801F3B5}"/>
              </a:ext>
            </a:extLst>
          </p:cNvPr>
          <p:cNvGrpSpPr/>
          <p:nvPr/>
        </p:nvGrpSpPr>
        <p:grpSpPr>
          <a:xfrm>
            <a:off x="4382836" y="1724968"/>
            <a:ext cx="751779" cy="654878"/>
            <a:chOff x="4059729" y="1739315"/>
            <a:chExt cx="751779" cy="654878"/>
          </a:xfrm>
          <a:solidFill>
            <a:schemeClr val="accent2"/>
          </a:solidFill>
        </p:grpSpPr>
        <p:sp>
          <p:nvSpPr>
            <p:cNvPr id="1063" name="Freeform: Shape 1062">
              <a:extLst>
                <a:ext uri="{FF2B5EF4-FFF2-40B4-BE49-F238E27FC236}">
                  <a16:creationId xmlns:a16="http://schemas.microsoft.com/office/drawing/2014/main" id="{E1C7D598-D7D0-CED7-FDC8-A08B93869715}"/>
                </a:ext>
              </a:extLst>
            </p:cNvPr>
            <p:cNvSpPr/>
            <p:nvPr/>
          </p:nvSpPr>
          <p:spPr>
            <a:xfrm>
              <a:off x="4240087" y="1903310"/>
              <a:ext cx="391122" cy="208970"/>
            </a:xfrm>
            <a:custGeom>
              <a:avLst/>
              <a:gdLst>
                <a:gd name="connsiteX0" fmla="*/ 250349 w 391122"/>
                <a:gd name="connsiteY0" fmla="*/ 25 h 208970"/>
                <a:gd name="connsiteX1" fmla="*/ 231738 w 391122"/>
                <a:gd name="connsiteY1" fmla="*/ 10905 h 208970"/>
                <a:gd name="connsiteX2" fmla="*/ 201231 w 391122"/>
                <a:gd name="connsiteY2" fmla="*/ 56014 h 208970"/>
                <a:gd name="connsiteX3" fmla="*/ 157171 w 391122"/>
                <a:gd name="connsiteY3" fmla="*/ 21848 h 208970"/>
                <a:gd name="connsiteX4" fmla="*/ 126822 w 391122"/>
                <a:gd name="connsiteY4" fmla="*/ 7756 h 208970"/>
                <a:gd name="connsiteX5" fmla="*/ 34600 w 391122"/>
                <a:gd name="connsiteY5" fmla="*/ 7756 h 208970"/>
                <a:gd name="connsiteX6" fmla="*/ 11028 w 391122"/>
                <a:gd name="connsiteY6" fmla="*/ 17363 h 208970"/>
                <a:gd name="connsiteX7" fmla="*/ 6033 w 391122"/>
                <a:gd name="connsiteY7" fmla="*/ 22866 h 208970"/>
                <a:gd name="connsiteX8" fmla="*/ 16532 w 391122"/>
                <a:gd name="connsiteY8" fmla="*/ 37086 h 208970"/>
                <a:gd name="connsiteX9" fmla="*/ 25566 w 391122"/>
                <a:gd name="connsiteY9" fmla="*/ 30246 h 208970"/>
                <a:gd name="connsiteX10" fmla="*/ 34570 w 391122"/>
                <a:gd name="connsiteY10" fmla="*/ 28210 h 208970"/>
                <a:gd name="connsiteX11" fmla="*/ 126791 w 391122"/>
                <a:gd name="connsiteY11" fmla="*/ 28210 h 208970"/>
                <a:gd name="connsiteX12" fmla="*/ 144574 w 391122"/>
                <a:gd name="connsiteY12" fmla="*/ 38040 h 208970"/>
                <a:gd name="connsiteX13" fmla="*/ 197350 w 391122"/>
                <a:gd name="connsiteY13" fmla="*/ 78855 h 208970"/>
                <a:gd name="connsiteX14" fmla="*/ 212143 w 391122"/>
                <a:gd name="connsiteY14" fmla="*/ 76501 h 208970"/>
                <a:gd name="connsiteX15" fmla="*/ 247518 w 391122"/>
                <a:gd name="connsiteY15" fmla="*/ 23980 h 208970"/>
                <a:gd name="connsiteX16" fmla="*/ 255662 w 391122"/>
                <a:gd name="connsiteY16" fmla="*/ 21308 h 208970"/>
                <a:gd name="connsiteX17" fmla="*/ 294632 w 391122"/>
                <a:gd name="connsiteY17" fmla="*/ 31329 h 208970"/>
                <a:gd name="connsiteX18" fmla="*/ 294441 w 391122"/>
                <a:gd name="connsiteY18" fmla="*/ 42368 h 208970"/>
                <a:gd name="connsiteX19" fmla="*/ 263615 w 391122"/>
                <a:gd name="connsiteY19" fmla="*/ 43990 h 208970"/>
                <a:gd name="connsiteX20" fmla="*/ 255853 w 391122"/>
                <a:gd name="connsiteY20" fmla="*/ 48380 h 208970"/>
                <a:gd name="connsiteX21" fmla="*/ 212684 w 391122"/>
                <a:gd name="connsiteY21" fmla="*/ 110190 h 208970"/>
                <a:gd name="connsiteX22" fmla="*/ 207594 w 391122"/>
                <a:gd name="connsiteY22" fmla="*/ 113022 h 208970"/>
                <a:gd name="connsiteX23" fmla="*/ 199546 w 391122"/>
                <a:gd name="connsiteY23" fmla="*/ 109999 h 208970"/>
                <a:gd name="connsiteX24" fmla="*/ 163534 w 391122"/>
                <a:gd name="connsiteY24" fmla="*/ 84740 h 208970"/>
                <a:gd name="connsiteX25" fmla="*/ 147374 w 391122"/>
                <a:gd name="connsiteY25" fmla="*/ 93107 h 208970"/>
                <a:gd name="connsiteX26" fmla="*/ 146673 w 391122"/>
                <a:gd name="connsiteY26" fmla="*/ 188292 h 208970"/>
                <a:gd name="connsiteX27" fmla="*/ 10426 w 391122"/>
                <a:gd name="connsiteY27" fmla="*/ 188419 h 208970"/>
                <a:gd name="connsiteX28" fmla="*/ 10426 w 391122"/>
                <a:gd name="connsiteY28" fmla="*/ 208969 h 208970"/>
                <a:gd name="connsiteX29" fmla="*/ 380720 w 391122"/>
                <a:gd name="connsiteY29" fmla="*/ 208969 h 208970"/>
                <a:gd name="connsiteX30" fmla="*/ 380720 w 391122"/>
                <a:gd name="connsiteY30" fmla="*/ 188419 h 208970"/>
                <a:gd name="connsiteX31" fmla="*/ 167261 w 391122"/>
                <a:gd name="connsiteY31" fmla="*/ 188419 h 208970"/>
                <a:gd name="connsiteX32" fmla="*/ 167866 w 391122"/>
                <a:gd name="connsiteY32" fmla="*/ 112930 h 208970"/>
                <a:gd name="connsiteX33" fmla="*/ 187748 w 391122"/>
                <a:gd name="connsiteY33" fmla="*/ 126927 h 208970"/>
                <a:gd name="connsiteX34" fmla="*/ 209540 w 391122"/>
                <a:gd name="connsiteY34" fmla="*/ 133544 h 208970"/>
                <a:gd name="connsiteX35" fmla="*/ 227482 w 391122"/>
                <a:gd name="connsiteY35" fmla="*/ 124701 h 208970"/>
                <a:gd name="connsiteX36" fmla="*/ 269855 w 391122"/>
                <a:gd name="connsiteY36" fmla="*/ 64289 h 208970"/>
                <a:gd name="connsiteX37" fmla="*/ 293427 w 391122"/>
                <a:gd name="connsiteY37" fmla="*/ 62922 h 208970"/>
                <a:gd name="connsiteX38" fmla="*/ 320659 w 391122"/>
                <a:gd name="connsiteY38" fmla="*/ 38745 h 208970"/>
                <a:gd name="connsiteX39" fmla="*/ 299790 w 391122"/>
                <a:gd name="connsiteY39" fmla="*/ 11546 h 208970"/>
                <a:gd name="connsiteX40" fmla="*/ 258021 w 391122"/>
                <a:gd name="connsiteY40" fmla="*/ 857 h 208970"/>
                <a:gd name="connsiteX41" fmla="*/ 250354 w 391122"/>
                <a:gd name="connsiteY41" fmla="*/ 29 h 208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391122" h="208970">
                  <a:moveTo>
                    <a:pt x="250349" y="25"/>
                  </a:moveTo>
                  <a:cubicBezTo>
                    <a:pt x="242841" y="439"/>
                    <a:pt x="236129" y="4352"/>
                    <a:pt x="231738" y="10905"/>
                  </a:cubicBezTo>
                  <a:lnTo>
                    <a:pt x="201231" y="56014"/>
                  </a:lnTo>
                  <a:lnTo>
                    <a:pt x="157171" y="21848"/>
                  </a:lnTo>
                  <a:cubicBezTo>
                    <a:pt x="148963" y="15550"/>
                    <a:pt x="139738" y="7756"/>
                    <a:pt x="126822" y="7756"/>
                  </a:cubicBezTo>
                  <a:lnTo>
                    <a:pt x="34600" y="7756"/>
                  </a:lnTo>
                  <a:cubicBezTo>
                    <a:pt x="24898" y="7756"/>
                    <a:pt x="16309" y="11573"/>
                    <a:pt x="11028" y="17363"/>
                  </a:cubicBezTo>
                  <a:lnTo>
                    <a:pt x="6033" y="22866"/>
                  </a:lnTo>
                  <a:cubicBezTo>
                    <a:pt x="-3160" y="33046"/>
                    <a:pt x="4666" y="43990"/>
                    <a:pt x="16532" y="37086"/>
                  </a:cubicBezTo>
                  <a:cubicBezTo>
                    <a:pt x="19554" y="35336"/>
                    <a:pt x="22576" y="31997"/>
                    <a:pt x="25566" y="30246"/>
                  </a:cubicBezTo>
                  <a:cubicBezTo>
                    <a:pt x="29193" y="28115"/>
                    <a:pt x="31770" y="28210"/>
                    <a:pt x="34570" y="28210"/>
                  </a:cubicBezTo>
                  <a:lnTo>
                    <a:pt x="126791" y="28210"/>
                  </a:lnTo>
                  <a:cubicBezTo>
                    <a:pt x="128954" y="28210"/>
                    <a:pt x="137066" y="32251"/>
                    <a:pt x="144574" y="38040"/>
                  </a:cubicBezTo>
                  <a:lnTo>
                    <a:pt x="197350" y="78855"/>
                  </a:lnTo>
                  <a:cubicBezTo>
                    <a:pt x="202026" y="82482"/>
                    <a:pt x="208802" y="81400"/>
                    <a:pt x="212143" y="76501"/>
                  </a:cubicBezTo>
                  <a:lnTo>
                    <a:pt x="247518" y="23980"/>
                  </a:lnTo>
                  <a:cubicBezTo>
                    <a:pt x="249681" y="20734"/>
                    <a:pt x="252481" y="20480"/>
                    <a:pt x="255662" y="21308"/>
                  </a:cubicBezTo>
                  <a:lnTo>
                    <a:pt x="294632" y="31329"/>
                  </a:lnTo>
                  <a:cubicBezTo>
                    <a:pt x="303030" y="33492"/>
                    <a:pt x="301472" y="41986"/>
                    <a:pt x="294441" y="42368"/>
                  </a:cubicBezTo>
                  <a:lnTo>
                    <a:pt x="263615" y="43990"/>
                  </a:lnTo>
                  <a:cubicBezTo>
                    <a:pt x="260498" y="44181"/>
                    <a:pt x="257634" y="45803"/>
                    <a:pt x="255853" y="48380"/>
                  </a:cubicBezTo>
                  <a:lnTo>
                    <a:pt x="212684" y="110190"/>
                  </a:lnTo>
                  <a:cubicBezTo>
                    <a:pt x="210807" y="112004"/>
                    <a:pt x="209185" y="112831"/>
                    <a:pt x="207594" y="113022"/>
                  </a:cubicBezTo>
                  <a:cubicBezTo>
                    <a:pt x="205908" y="113117"/>
                    <a:pt x="203554" y="112767"/>
                    <a:pt x="199546" y="109999"/>
                  </a:cubicBezTo>
                  <a:lnTo>
                    <a:pt x="163534" y="84740"/>
                  </a:lnTo>
                  <a:cubicBezTo>
                    <a:pt x="156759" y="80001"/>
                    <a:pt x="147405" y="84772"/>
                    <a:pt x="147374" y="93107"/>
                  </a:cubicBezTo>
                  <a:lnTo>
                    <a:pt x="146673" y="188292"/>
                  </a:lnTo>
                  <a:lnTo>
                    <a:pt x="10426" y="188419"/>
                  </a:lnTo>
                  <a:cubicBezTo>
                    <a:pt x="-3475" y="188229"/>
                    <a:pt x="-3475" y="209161"/>
                    <a:pt x="10426" y="208969"/>
                  </a:cubicBezTo>
                  <a:lnTo>
                    <a:pt x="380720" y="208969"/>
                  </a:lnTo>
                  <a:cubicBezTo>
                    <a:pt x="394590" y="209161"/>
                    <a:pt x="394590" y="188228"/>
                    <a:pt x="380720" y="188419"/>
                  </a:cubicBezTo>
                  <a:lnTo>
                    <a:pt x="167261" y="188419"/>
                  </a:lnTo>
                  <a:lnTo>
                    <a:pt x="167866" y="112930"/>
                  </a:lnTo>
                  <a:lnTo>
                    <a:pt x="187748" y="126927"/>
                  </a:lnTo>
                  <a:cubicBezTo>
                    <a:pt x="194683" y="131763"/>
                    <a:pt x="202319" y="134244"/>
                    <a:pt x="209540" y="133544"/>
                  </a:cubicBezTo>
                  <a:cubicBezTo>
                    <a:pt x="216793" y="132908"/>
                    <a:pt x="223823" y="129949"/>
                    <a:pt x="227482" y="124701"/>
                  </a:cubicBezTo>
                  <a:lnTo>
                    <a:pt x="269855" y="64289"/>
                  </a:lnTo>
                  <a:lnTo>
                    <a:pt x="293427" y="62922"/>
                  </a:lnTo>
                  <a:cubicBezTo>
                    <a:pt x="308888" y="61968"/>
                    <a:pt x="320117" y="50770"/>
                    <a:pt x="320659" y="38745"/>
                  </a:cubicBezTo>
                  <a:cubicBezTo>
                    <a:pt x="321263" y="26719"/>
                    <a:pt x="312928" y="14949"/>
                    <a:pt x="299790" y="11546"/>
                  </a:cubicBezTo>
                  <a:lnTo>
                    <a:pt x="258021" y="857"/>
                  </a:lnTo>
                  <a:cubicBezTo>
                    <a:pt x="255444" y="188"/>
                    <a:pt x="252868" y="-98"/>
                    <a:pt x="250354" y="29"/>
                  </a:cubicBezTo>
                  <a:close/>
                </a:path>
              </a:pathLst>
            </a:custGeom>
            <a:solidFill>
              <a:schemeClr val="accent3"/>
            </a:solidFill>
            <a:ln w="80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1064" name="Freeform: Shape 1063">
              <a:extLst>
                <a:ext uri="{FF2B5EF4-FFF2-40B4-BE49-F238E27FC236}">
                  <a16:creationId xmlns:a16="http://schemas.microsoft.com/office/drawing/2014/main" id="{D081372F-ABC7-2BA0-BD4E-E07E3D85688D}"/>
                </a:ext>
              </a:extLst>
            </p:cNvPr>
            <p:cNvSpPr/>
            <p:nvPr/>
          </p:nvSpPr>
          <p:spPr>
            <a:xfrm>
              <a:off x="4335259" y="2127446"/>
              <a:ext cx="120241" cy="213617"/>
            </a:xfrm>
            <a:custGeom>
              <a:avLst/>
              <a:gdLst>
                <a:gd name="connsiteX0" fmla="*/ 77867 w 120241"/>
                <a:gd name="connsiteY0" fmla="*/ 1 h 213617"/>
                <a:gd name="connsiteX1" fmla="*/ 69819 w 120241"/>
                <a:gd name="connsiteY1" fmla="*/ 16225 h 213617"/>
                <a:gd name="connsiteX2" fmla="*/ 94187 w 120241"/>
                <a:gd name="connsiteY2" fmla="*/ 51250 h 213617"/>
                <a:gd name="connsiteX3" fmla="*/ 99659 w 120241"/>
                <a:gd name="connsiteY3" fmla="*/ 66425 h 213617"/>
                <a:gd name="connsiteX4" fmla="*/ 99659 w 120241"/>
                <a:gd name="connsiteY4" fmla="*/ 171847 h 213617"/>
                <a:gd name="connsiteX5" fmla="*/ 93010 w 120241"/>
                <a:gd name="connsiteY5" fmla="*/ 187626 h 213617"/>
                <a:gd name="connsiteX6" fmla="*/ 76849 w 120241"/>
                <a:gd name="connsiteY6" fmla="*/ 193034 h 213617"/>
                <a:gd name="connsiteX7" fmla="*/ 60720 w 120241"/>
                <a:gd name="connsiteY7" fmla="*/ 187626 h 213617"/>
                <a:gd name="connsiteX8" fmla="*/ 53976 w 120241"/>
                <a:gd name="connsiteY8" fmla="*/ 171847 h 213617"/>
                <a:gd name="connsiteX9" fmla="*/ 53976 w 120241"/>
                <a:gd name="connsiteY9" fmla="*/ 75171 h 213617"/>
                <a:gd name="connsiteX10" fmla="*/ 52576 w 120241"/>
                <a:gd name="connsiteY10" fmla="*/ 69923 h 213617"/>
                <a:gd name="connsiteX11" fmla="*/ 29481 w 120241"/>
                <a:gd name="connsiteY11" fmla="*/ 36806 h 213617"/>
                <a:gd name="connsiteX12" fmla="*/ 15580 w 120241"/>
                <a:gd name="connsiteY12" fmla="*/ 43168 h 213617"/>
                <a:gd name="connsiteX13" fmla="*/ 33490 w 120241"/>
                <a:gd name="connsiteY13" fmla="*/ 77907 h 213617"/>
                <a:gd name="connsiteX14" fmla="*/ 33490 w 120241"/>
                <a:gd name="connsiteY14" fmla="*/ 171594 h 213617"/>
                <a:gd name="connsiteX15" fmla="*/ 26681 w 120241"/>
                <a:gd name="connsiteY15" fmla="*/ 187563 h 213617"/>
                <a:gd name="connsiteX16" fmla="*/ 10426 w 120241"/>
                <a:gd name="connsiteY16" fmla="*/ 193035 h 213617"/>
                <a:gd name="connsiteX17" fmla="*/ 10426 w 120241"/>
                <a:gd name="connsiteY17" fmla="*/ 213617 h 213617"/>
                <a:gd name="connsiteX18" fmla="*/ 39915 w 120241"/>
                <a:gd name="connsiteY18" fmla="*/ 203247 h 213617"/>
                <a:gd name="connsiteX19" fmla="*/ 47423 w 120241"/>
                <a:gd name="connsiteY19" fmla="*/ 203247 h 213617"/>
                <a:gd name="connsiteX20" fmla="*/ 76849 w 120241"/>
                <a:gd name="connsiteY20" fmla="*/ 213617 h 213617"/>
                <a:gd name="connsiteX21" fmla="*/ 106212 w 120241"/>
                <a:gd name="connsiteY21" fmla="*/ 203247 h 213617"/>
                <a:gd name="connsiteX22" fmla="*/ 120241 w 120241"/>
                <a:gd name="connsiteY22" fmla="*/ 171816 h 213617"/>
                <a:gd name="connsiteX23" fmla="*/ 120241 w 120241"/>
                <a:gd name="connsiteY23" fmla="*/ 66394 h 213617"/>
                <a:gd name="connsiteX24" fmla="*/ 110761 w 120241"/>
                <a:gd name="connsiteY24" fmla="*/ 39162 h 213617"/>
                <a:gd name="connsiteX25" fmla="*/ 86616 w 120241"/>
                <a:gd name="connsiteY25" fmla="*/ 4583 h 213617"/>
                <a:gd name="connsiteX26" fmla="*/ 77868 w 120241"/>
                <a:gd name="connsiteY26" fmla="*/ 2 h 213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20241" h="213617">
                  <a:moveTo>
                    <a:pt x="77867" y="1"/>
                  </a:moveTo>
                  <a:cubicBezTo>
                    <a:pt x="69692" y="256"/>
                    <a:pt x="65015" y="9513"/>
                    <a:pt x="69819" y="16225"/>
                  </a:cubicBezTo>
                  <a:lnTo>
                    <a:pt x="94187" y="51250"/>
                  </a:lnTo>
                  <a:cubicBezTo>
                    <a:pt x="97623" y="56213"/>
                    <a:pt x="99659" y="61652"/>
                    <a:pt x="99659" y="66425"/>
                  </a:cubicBezTo>
                  <a:lnTo>
                    <a:pt x="99659" y="171847"/>
                  </a:lnTo>
                  <a:cubicBezTo>
                    <a:pt x="99659" y="179641"/>
                    <a:pt x="97050" y="184190"/>
                    <a:pt x="93010" y="187626"/>
                  </a:cubicBezTo>
                  <a:cubicBezTo>
                    <a:pt x="88906" y="191062"/>
                    <a:pt x="82925" y="193034"/>
                    <a:pt x="76849" y="193034"/>
                  </a:cubicBezTo>
                  <a:cubicBezTo>
                    <a:pt x="70710" y="193034"/>
                    <a:pt x="64792" y="191062"/>
                    <a:pt x="60720" y="187626"/>
                  </a:cubicBezTo>
                  <a:cubicBezTo>
                    <a:pt x="56680" y="184190"/>
                    <a:pt x="53976" y="179609"/>
                    <a:pt x="53976" y="171847"/>
                  </a:cubicBezTo>
                  <a:lnTo>
                    <a:pt x="53976" y="75171"/>
                  </a:lnTo>
                  <a:cubicBezTo>
                    <a:pt x="53976" y="73326"/>
                    <a:pt x="53499" y="71545"/>
                    <a:pt x="52576" y="69923"/>
                  </a:cubicBezTo>
                  <a:lnTo>
                    <a:pt x="29481" y="36806"/>
                  </a:lnTo>
                  <a:cubicBezTo>
                    <a:pt x="21655" y="25640"/>
                    <a:pt x="11698" y="35661"/>
                    <a:pt x="15580" y="43168"/>
                  </a:cubicBezTo>
                  <a:lnTo>
                    <a:pt x="33490" y="77907"/>
                  </a:lnTo>
                  <a:lnTo>
                    <a:pt x="33490" y="171594"/>
                  </a:lnTo>
                  <a:cubicBezTo>
                    <a:pt x="33490" y="178656"/>
                    <a:pt x="30976" y="183778"/>
                    <a:pt x="26681" y="187563"/>
                  </a:cubicBezTo>
                  <a:cubicBezTo>
                    <a:pt x="22674" y="191094"/>
                    <a:pt x="16597" y="193035"/>
                    <a:pt x="10426" y="193035"/>
                  </a:cubicBezTo>
                  <a:cubicBezTo>
                    <a:pt x="-3475" y="192876"/>
                    <a:pt x="-3475" y="213777"/>
                    <a:pt x="10426" y="213617"/>
                  </a:cubicBezTo>
                  <a:cubicBezTo>
                    <a:pt x="20892" y="213585"/>
                    <a:pt x="31550" y="210308"/>
                    <a:pt x="39915" y="203247"/>
                  </a:cubicBezTo>
                  <a:lnTo>
                    <a:pt x="47423" y="203247"/>
                  </a:lnTo>
                  <a:cubicBezTo>
                    <a:pt x="55757" y="210309"/>
                    <a:pt x="66351" y="213617"/>
                    <a:pt x="76849" y="213617"/>
                  </a:cubicBezTo>
                  <a:cubicBezTo>
                    <a:pt x="87251" y="213617"/>
                    <a:pt x="97877" y="210308"/>
                    <a:pt x="106212" y="203247"/>
                  </a:cubicBezTo>
                  <a:cubicBezTo>
                    <a:pt x="114546" y="196184"/>
                    <a:pt x="120241" y="185018"/>
                    <a:pt x="120241" y="171816"/>
                  </a:cubicBezTo>
                  <a:lnTo>
                    <a:pt x="120241" y="66394"/>
                  </a:lnTo>
                  <a:cubicBezTo>
                    <a:pt x="120241" y="56501"/>
                    <a:pt x="116393" y="47243"/>
                    <a:pt x="110761" y="39162"/>
                  </a:cubicBezTo>
                  <a:lnTo>
                    <a:pt x="86616" y="4583"/>
                  </a:lnTo>
                  <a:cubicBezTo>
                    <a:pt x="84708" y="1624"/>
                    <a:pt x="81431" y="-62"/>
                    <a:pt x="77868" y="2"/>
                  </a:cubicBezTo>
                  <a:close/>
                </a:path>
              </a:pathLst>
            </a:custGeom>
            <a:solidFill>
              <a:schemeClr val="accent3"/>
            </a:solidFill>
            <a:ln w="80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1065" name="Freeform: Shape 1064">
              <a:extLst>
                <a:ext uri="{FF2B5EF4-FFF2-40B4-BE49-F238E27FC236}">
                  <a16:creationId xmlns:a16="http://schemas.microsoft.com/office/drawing/2014/main" id="{CA7F0448-AADF-2544-59CF-ED9C049A11EE}"/>
                </a:ext>
              </a:extLst>
            </p:cNvPr>
            <p:cNvSpPr/>
            <p:nvPr/>
          </p:nvSpPr>
          <p:spPr>
            <a:xfrm>
              <a:off x="4255083" y="1751906"/>
              <a:ext cx="149484" cy="147711"/>
            </a:xfrm>
            <a:custGeom>
              <a:avLst/>
              <a:gdLst>
                <a:gd name="connsiteX0" fmla="*/ 54656 w 149484"/>
                <a:gd name="connsiteY0" fmla="*/ 24239 h 147711"/>
                <a:gd name="connsiteX1" fmla="*/ 96203 w 149484"/>
                <a:gd name="connsiteY1" fmla="*/ 24843 h 147711"/>
                <a:gd name="connsiteX2" fmla="*/ 124548 w 149484"/>
                <a:gd name="connsiteY2" fmla="*/ 94925 h 147711"/>
                <a:gd name="connsiteX3" fmla="*/ 53130 w 149484"/>
                <a:gd name="connsiteY3" fmla="*/ 122793 h 147711"/>
                <a:gd name="connsiteX4" fmla="*/ 24913 w 149484"/>
                <a:gd name="connsiteY4" fmla="*/ 52806 h 147711"/>
                <a:gd name="connsiteX5" fmla="*/ 54657 w 149484"/>
                <a:gd name="connsiteY5" fmla="*/ 24239 h 147711"/>
                <a:gd name="connsiteX6" fmla="*/ 47148 w 149484"/>
                <a:gd name="connsiteY6" fmla="*/ 5184 h 147711"/>
                <a:gd name="connsiteX7" fmla="*/ 6111 w 149484"/>
                <a:gd name="connsiteY7" fmla="*/ 44535 h 147711"/>
                <a:gd name="connsiteX8" fmla="*/ 45144 w 149484"/>
                <a:gd name="connsiteY8" fmla="*/ 141691 h 147711"/>
                <a:gd name="connsiteX9" fmla="*/ 143376 w 149484"/>
                <a:gd name="connsiteY9" fmla="*/ 103135 h 147711"/>
                <a:gd name="connsiteX10" fmla="*/ 104247 w 149484"/>
                <a:gd name="connsiteY10" fmla="*/ 5979 h 147711"/>
                <a:gd name="connsiteX11" fmla="*/ 47176 w 149484"/>
                <a:gd name="connsiteY11" fmla="*/ 5215 h 14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9484" h="147711">
                  <a:moveTo>
                    <a:pt x="54656" y="24239"/>
                  </a:moveTo>
                  <a:cubicBezTo>
                    <a:pt x="67572" y="19212"/>
                    <a:pt x="82428" y="18990"/>
                    <a:pt x="96203" y="24843"/>
                  </a:cubicBezTo>
                  <a:cubicBezTo>
                    <a:pt x="123911" y="36613"/>
                    <a:pt x="136382" y="67757"/>
                    <a:pt x="124548" y="94925"/>
                  </a:cubicBezTo>
                  <a:cubicBezTo>
                    <a:pt x="112619" y="122060"/>
                    <a:pt x="80870" y="134563"/>
                    <a:pt x="53130" y="122793"/>
                  </a:cubicBezTo>
                  <a:cubicBezTo>
                    <a:pt x="25517" y="111054"/>
                    <a:pt x="13078" y="79815"/>
                    <a:pt x="24913" y="52806"/>
                  </a:cubicBezTo>
                  <a:cubicBezTo>
                    <a:pt x="30894" y="39222"/>
                    <a:pt x="41805" y="29329"/>
                    <a:pt x="54657" y="24239"/>
                  </a:cubicBezTo>
                  <a:close/>
                  <a:moveTo>
                    <a:pt x="47148" y="5184"/>
                  </a:moveTo>
                  <a:cubicBezTo>
                    <a:pt x="29365" y="12151"/>
                    <a:pt x="14286" y="25894"/>
                    <a:pt x="6111" y="44535"/>
                  </a:cubicBezTo>
                  <a:cubicBezTo>
                    <a:pt x="-10241" y="81850"/>
                    <a:pt x="7383" y="125655"/>
                    <a:pt x="45144" y="141691"/>
                  </a:cubicBezTo>
                  <a:cubicBezTo>
                    <a:pt x="82905" y="157757"/>
                    <a:pt x="126998" y="140578"/>
                    <a:pt x="143376" y="103135"/>
                  </a:cubicBezTo>
                  <a:cubicBezTo>
                    <a:pt x="159727" y="65756"/>
                    <a:pt x="142103" y="22078"/>
                    <a:pt x="104247" y="5979"/>
                  </a:cubicBezTo>
                  <a:cubicBezTo>
                    <a:pt x="85414" y="-1975"/>
                    <a:pt x="64959" y="-1752"/>
                    <a:pt x="47176" y="5215"/>
                  </a:cubicBezTo>
                  <a:close/>
                </a:path>
              </a:pathLst>
            </a:custGeom>
            <a:solidFill>
              <a:schemeClr val="accent3"/>
            </a:solidFill>
            <a:ln w="80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1066" name="Freeform: Shape 1065">
              <a:extLst>
                <a:ext uri="{FF2B5EF4-FFF2-40B4-BE49-F238E27FC236}">
                  <a16:creationId xmlns:a16="http://schemas.microsoft.com/office/drawing/2014/main" id="{6D62F132-0680-4E42-2962-835EB3EB0057}"/>
                </a:ext>
              </a:extLst>
            </p:cNvPr>
            <p:cNvSpPr/>
            <p:nvPr/>
          </p:nvSpPr>
          <p:spPr>
            <a:xfrm>
              <a:off x="4097238" y="1906036"/>
              <a:ext cx="277498" cy="488157"/>
            </a:xfrm>
            <a:custGeom>
              <a:avLst/>
              <a:gdLst>
                <a:gd name="connsiteX0" fmla="*/ 39892 w 277498"/>
                <a:gd name="connsiteY0" fmla="*/ 20550 h 488157"/>
                <a:gd name="connsiteX1" fmla="*/ 75808 w 277498"/>
                <a:gd name="connsiteY1" fmla="*/ 20582 h 488157"/>
                <a:gd name="connsiteX2" fmla="*/ 101512 w 277498"/>
                <a:gd name="connsiteY2" fmla="*/ 35598 h 488157"/>
                <a:gd name="connsiteX3" fmla="*/ 167172 w 277498"/>
                <a:gd name="connsiteY3" fmla="*/ 100176 h 488157"/>
                <a:gd name="connsiteX4" fmla="*/ 174330 w 277498"/>
                <a:gd name="connsiteY4" fmla="*/ 103135 h 488157"/>
                <a:gd name="connsiteX5" fmla="*/ 236681 w 277498"/>
                <a:gd name="connsiteY5" fmla="*/ 103135 h 488157"/>
                <a:gd name="connsiteX6" fmla="*/ 252046 w 277498"/>
                <a:gd name="connsiteY6" fmla="*/ 108575 h 488157"/>
                <a:gd name="connsiteX7" fmla="*/ 257009 w 277498"/>
                <a:gd name="connsiteY7" fmla="*/ 122381 h 488157"/>
                <a:gd name="connsiteX8" fmla="*/ 252046 w 277498"/>
                <a:gd name="connsiteY8" fmla="*/ 136156 h 488157"/>
                <a:gd name="connsiteX9" fmla="*/ 236681 w 277498"/>
                <a:gd name="connsiteY9" fmla="*/ 141563 h 488157"/>
                <a:gd name="connsiteX10" fmla="*/ 162209 w 277498"/>
                <a:gd name="connsiteY10" fmla="*/ 141563 h 488157"/>
                <a:gd name="connsiteX11" fmla="*/ 148721 w 277498"/>
                <a:gd name="connsiteY11" fmla="*/ 135996 h 488157"/>
                <a:gd name="connsiteX12" fmla="*/ 120122 w 277498"/>
                <a:gd name="connsiteY12" fmla="*/ 107875 h 488157"/>
                <a:gd name="connsiteX13" fmla="*/ 102690 w 277498"/>
                <a:gd name="connsiteY13" fmla="*/ 115192 h 488157"/>
                <a:gd name="connsiteX14" fmla="*/ 102690 w 277498"/>
                <a:gd name="connsiteY14" fmla="*/ 229304 h 488157"/>
                <a:gd name="connsiteX15" fmla="*/ 109211 w 277498"/>
                <a:gd name="connsiteY15" fmla="*/ 238784 h 488157"/>
                <a:gd name="connsiteX16" fmla="*/ 164246 w 277498"/>
                <a:gd name="connsiteY16" fmla="*/ 260512 h 488157"/>
                <a:gd name="connsiteX17" fmla="*/ 179325 w 277498"/>
                <a:gd name="connsiteY17" fmla="*/ 279122 h 488157"/>
                <a:gd name="connsiteX18" fmla="*/ 206111 w 277498"/>
                <a:gd name="connsiteY18" fmla="*/ 439328 h 488157"/>
                <a:gd name="connsiteX19" fmla="*/ 201912 w 277498"/>
                <a:gd name="connsiteY19" fmla="*/ 458543 h 488157"/>
                <a:gd name="connsiteX20" fmla="*/ 186165 w 277498"/>
                <a:gd name="connsiteY20" fmla="*/ 467323 h 488157"/>
                <a:gd name="connsiteX21" fmla="*/ 168446 w 277498"/>
                <a:gd name="connsiteY21" fmla="*/ 464173 h 488157"/>
                <a:gd name="connsiteX22" fmla="*/ 158171 w 277498"/>
                <a:gd name="connsiteY22" fmla="*/ 447408 h 488157"/>
                <a:gd name="connsiteX23" fmla="*/ 134662 w 277498"/>
                <a:gd name="connsiteY23" fmla="*/ 306389 h 488157"/>
                <a:gd name="connsiteX24" fmla="*/ 128299 w 277498"/>
                <a:gd name="connsiteY24" fmla="*/ 298563 h 488157"/>
                <a:gd name="connsiteX25" fmla="*/ 35915 w 277498"/>
                <a:gd name="connsiteY25" fmla="*/ 262170 h 488157"/>
                <a:gd name="connsiteX26" fmla="*/ 20550 w 277498"/>
                <a:gd name="connsiteY26" fmla="*/ 239584 h 488157"/>
                <a:gd name="connsiteX27" fmla="*/ 20550 w 277498"/>
                <a:gd name="connsiteY27" fmla="*/ 239552 h 488157"/>
                <a:gd name="connsiteX28" fmla="*/ 20836 w 277498"/>
                <a:gd name="connsiteY28" fmla="*/ 41330 h 488157"/>
                <a:gd name="connsiteX29" fmla="*/ 39892 w 277498"/>
                <a:gd name="connsiteY29" fmla="*/ 20557 h 488157"/>
                <a:gd name="connsiteX30" fmla="*/ 39924 w 277498"/>
                <a:gd name="connsiteY30" fmla="*/ 0 h 488157"/>
                <a:gd name="connsiteX31" fmla="*/ 286 w 277498"/>
                <a:gd name="connsiteY31" fmla="*/ 41260 h 488157"/>
                <a:gd name="connsiteX32" fmla="*/ 0 w 277498"/>
                <a:gd name="connsiteY32" fmla="*/ 239514 h 488157"/>
                <a:gd name="connsiteX33" fmla="*/ 28376 w 277498"/>
                <a:gd name="connsiteY33" fmla="*/ 281220 h 488157"/>
                <a:gd name="connsiteX34" fmla="*/ 115287 w 277498"/>
                <a:gd name="connsiteY34" fmla="*/ 315418 h 488157"/>
                <a:gd name="connsiteX35" fmla="*/ 137874 w 277498"/>
                <a:gd name="connsiteY35" fmla="*/ 450679 h 488157"/>
                <a:gd name="connsiteX36" fmla="*/ 157534 w 277498"/>
                <a:gd name="connsiteY36" fmla="*/ 481505 h 488157"/>
                <a:gd name="connsiteX37" fmla="*/ 189537 w 277498"/>
                <a:gd name="connsiteY37" fmla="*/ 487486 h 488157"/>
                <a:gd name="connsiteX38" fmla="*/ 217882 w 277498"/>
                <a:gd name="connsiteY38" fmla="*/ 471326 h 488157"/>
                <a:gd name="connsiteX39" fmla="*/ 226376 w 277498"/>
                <a:gd name="connsiteY39" fmla="*/ 435855 h 488157"/>
                <a:gd name="connsiteX40" fmla="*/ 199558 w 277498"/>
                <a:gd name="connsiteY40" fmla="*/ 275714 h 488157"/>
                <a:gd name="connsiteX41" fmla="*/ 171786 w 277498"/>
                <a:gd name="connsiteY41" fmla="*/ 241357 h 488157"/>
                <a:gd name="connsiteX42" fmla="*/ 123209 w 277498"/>
                <a:gd name="connsiteY42" fmla="*/ 222269 h 488157"/>
                <a:gd name="connsiteX43" fmla="*/ 123209 w 277498"/>
                <a:gd name="connsiteY43" fmla="*/ 139715 h 488157"/>
                <a:gd name="connsiteX44" fmla="*/ 134343 w 277498"/>
                <a:gd name="connsiteY44" fmla="*/ 150690 h 488157"/>
                <a:gd name="connsiteX45" fmla="*/ 162179 w 277498"/>
                <a:gd name="connsiteY45" fmla="*/ 162079 h 488157"/>
                <a:gd name="connsiteX46" fmla="*/ 236301 w 277498"/>
                <a:gd name="connsiteY46" fmla="*/ 162079 h 488157"/>
                <a:gd name="connsiteX47" fmla="*/ 267224 w 277498"/>
                <a:gd name="connsiteY47" fmla="*/ 149958 h 488157"/>
                <a:gd name="connsiteX48" fmla="*/ 277499 w 277498"/>
                <a:gd name="connsiteY48" fmla="*/ 122377 h 488157"/>
                <a:gd name="connsiteX49" fmla="*/ 267224 w 277498"/>
                <a:gd name="connsiteY49" fmla="*/ 94701 h 488157"/>
                <a:gd name="connsiteX50" fmla="*/ 236301 w 277498"/>
                <a:gd name="connsiteY50" fmla="*/ 82644 h 488157"/>
                <a:gd name="connsiteX51" fmla="*/ 178530 w 277498"/>
                <a:gd name="connsiteY51" fmla="*/ 82644 h 488157"/>
                <a:gd name="connsiteX52" fmla="*/ 115924 w 277498"/>
                <a:gd name="connsiteY52" fmla="*/ 20961 h 488157"/>
                <a:gd name="connsiteX53" fmla="*/ 75905 w 277498"/>
                <a:gd name="connsiteY53" fmla="*/ 92 h 488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277498" h="488157">
                  <a:moveTo>
                    <a:pt x="39892" y="20550"/>
                  </a:moveTo>
                  <a:lnTo>
                    <a:pt x="75808" y="20582"/>
                  </a:lnTo>
                  <a:cubicBezTo>
                    <a:pt x="80708" y="20582"/>
                    <a:pt x="92637" y="26880"/>
                    <a:pt x="101512" y="35598"/>
                  </a:cubicBezTo>
                  <a:lnTo>
                    <a:pt x="167172" y="100176"/>
                  </a:lnTo>
                  <a:cubicBezTo>
                    <a:pt x="169049" y="102053"/>
                    <a:pt x="171658" y="103135"/>
                    <a:pt x="174330" y="103135"/>
                  </a:cubicBezTo>
                  <a:lnTo>
                    <a:pt x="236681" y="103135"/>
                  </a:lnTo>
                  <a:cubicBezTo>
                    <a:pt x="243234" y="103135"/>
                    <a:pt x="248738" y="105203"/>
                    <a:pt x="252046" y="108575"/>
                  </a:cubicBezTo>
                  <a:cubicBezTo>
                    <a:pt x="255291" y="111819"/>
                    <a:pt x="257009" y="117132"/>
                    <a:pt x="257009" y="122381"/>
                  </a:cubicBezTo>
                  <a:cubicBezTo>
                    <a:pt x="257009" y="127630"/>
                    <a:pt x="255545" y="133070"/>
                    <a:pt x="252046" y="136156"/>
                  </a:cubicBezTo>
                  <a:cubicBezTo>
                    <a:pt x="246383" y="141150"/>
                    <a:pt x="242057" y="141563"/>
                    <a:pt x="236681" y="141563"/>
                  </a:cubicBezTo>
                  <a:lnTo>
                    <a:pt x="162209" y="141563"/>
                  </a:lnTo>
                  <a:cubicBezTo>
                    <a:pt x="156451" y="141563"/>
                    <a:pt x="151807" y="139018"/>
                    <a:pt x="148721" y="135996"/>
                  </a:cubicBezTo>
                  <a:lnTo>
                    <a:pt x="120122" y="107875"/>
                  </a:lnTo>
                  <a:cubicBezTo>
                    <a:pt x="113664" y="101544"/>
                    <a:pt x="102753" y="106125"/>
                    <a:pt x="102690" y="115192"/>
                  </a:cubicBezTo>
                  <a:lnTo>
                    <a:pt x="102690" y="229304"/>
                  </a:lnTo>
                  <a:cubicBezTo>
                    <a:pt x="102721" y="233503"/>
                    <a:pt x="105266" y="237224"/>
                    <a:pt x="109211" y="238784"/>
                  </a:cubicBezTo>
                  <a:lnTo>
                    <a:pt x="164246" y="260512"/>
                  </a:lnTo>
                  <a:cubicBezTo>
                    <a:pt x="172199" y="263629"/>
                    <a:pt x="177925" y="270692"/>
                    <a:pt x="179325" y="279122"/>
                  </a:cubicBezTo>
                  <a:lnTo>
                    <a:pt x="206111" y="439328"/>
                  </a:lnTo>
                  <a:cubicBezTo>
                    <a:pt x="207638" y="448140"/>
                    <a:pt x="205602" y="453994"/>
                    <a:pt x="201912" y="458543"/>
                  </a:cubicBezTo>
                  <a:cubicBezTo>
                    <a:pt x="198254" y="463124"/>
                    <a:pt x="192432" y="466210"/>
                    <a:pt x="186165" y="467323"/>
                  </a:cubicBezTo>
                  <a:cubicBezTo>
                    <a:pt x="179834" y="468373"/>
                    <a:pt x="173377" y="467291"/>
                    <a:pt x="168446" y="464173"/>
                  </a:cubicBezTo>
                  <a:cubicBezTo>
                    <a:pt x="163483" y="461055"/>
                    <a:pt x="159634" y="456220"/>
                    <a:pt x="158171" y="447408"/>
                  </a:cubicBezTo>
                  <a:lnTo>
                    <a:pt x="134662" y="306389"/>
                  </a:lnTo>
                  <a:cubicBezTo>
                    <a:pt x="134057" y="302858"/>
                    <a:pt x="131640" y="299868"/>
                    <a:pt x="128299" y="298563"/>
                  </a:cubicBezTo>
                  <a:lnTo>
                    <a:pt x="35915" y="262170"/>
                  </a:lnTo>
                  <a:cubicBezTo>
                    <a:pt x="26626" y="258480"/>
                    <a:pt x="20550" y="249572"/>
                    <a:pt x="20550" y="239584"/>
                  </a:cubicBezTo>
                  <a:lnTo>
                    <a:pt x="20550" y="239552"/>
                  </a:lnTo>
                  <a:lnTo>
                    <a:pt x="20836" y="41330"/>
                  </a:lnTo>
                  <a:cubicBezTo>
                    <a:pt x="20773" y="29496"/>
                    <a:pt x="28757" y="20493"/>
                    <a:pt x="39892" y="20557"/>
                  </a:cubicBezTo>
                  <a:close/>
                  <a:moveTo>
                    <a:pt x="39924" y="0"/>
                  </a:moveTo>
                  <a:cubicBezTo>
                    <a:pt x="17306" y="0"/>
                    <a:pt x="286" y="19373"/>
                    <a:pt x="286" y="41260"/>
                  </a:cubicBezTo>
                  <a:lnTo>
                    <a:pt x="0" y="239514"/>
                  </a:lnTo>
                  <a:cubicBezTo>
                    <a:pt x="0" y="257870"/>
                    <a:pt x="11293" y="274476"/>
                    <a:pt x="28376" y="281220"/>
                  </a:cubicBezTo>
                  <a:lnTo>
                    <a:pt x="115287" y="315418"/>
                  </a:lnTo>
                  <a:lnTo>
                    <a:pt x="137874" y="450679"/>
                  </a:lnTo>
                  <a:cubicBezTo>
                    <a:pt x="140228" y="464581"/>
                    <a:pt x="147767" y="475365"/>
                    <a:pt x="157534" y="481505"/>
                  </a:cubicBezTo>
                  <a:cubicBezTo>
                    <a:pt x="167268" y="487582"/>
                    <a:pt x="178721" y="489267"/>
                    <a:pt x="189537" y="487486"/>
                  </a:cubicBezTo>
                  <a:cubicBezTo>
                    <a:pt x="200289" y="485673"/>
                    <a:pt x="210661" y="480265"/>
                    <a:pt x="217882" y="471326"/>
                  </a:cubicBezTo>
                  <a:cubicBezTo>
                    <a:pt x="225072" y="462386"/>
                    <a:pt x="228666" y="449757"/>
                    <a:pt x="226376" y="435855"/>
                  </a:cubicBezTo>
                  <a:lnTo>
                    <a:pt x="199558" y="275714"/>
                  </a:lnTo>
                  <a:cubicBezTo>
                    <a:pt x="197013" y="260158"/>
                    <a:pt x="186451" y="247115"/>
                    <a:pt x="171786" y="241357"/>
                  </a:cubicBezTo>
                  <a:lnTo>
                    <a:pt x="123209" y="222269"/>
                  </a:lnTo>
                  <a:lnTo>
                    <a:pt x="123209" y="139715"/>
                  </a:lnTo>
                  <a:lnTo>
                    <a:pt x="134343" y="150690"/>
                  </a:lnTo>
                  <a:cubicBezTo>
                    <a:pt x="141724" y="158007"/>
                    <a:pt x="151713" y="162079"/>
                    <a:pt x="162179" y="162079"/>
                  </a:cubicBezTo>
                  <a:lnTo>
                    <a:pt x="236301" y="162079"/>
                  </a:lnTo>
                  <a:cubicBezTo>
                    <a:pt x="249058" y="162556"/>
                    <a:pt x="260160" y="157688"/>
                    <a:pt x="267224" y="149958"/>
                  </a:cubicBezTo>
                  <a:cubicBezTo>
                    <a:pt x="274285" y="142228"/>
                    <a:pt x="277499" y="132239"/>
                    <a:pt x="277499" y="122377"/>
                  </a:cubicBezTo>
                  <a:cubicBezTo>
                    <a:pt x="277499" y="112547"/>
                    <a:pt x="274285" y="102431"/>
                    <a:pt x="267224" y="94701"/>
                  </a:cubicBezTo>
                  <a:cubicBezTo>
                    <a:pt x="260161" y="86971"/>
                    <a:pt x="249090" y="82103"/>
                    <a:pt x="236301" y="82644"/>
                  </a:cubicBezTo>
                  <a:lnTo>
                    <a:pt x="178530" y="82644"/>
                  </a:lnTo>
                  <a:lnTo>
                    <a:pt x="115924" y="20961"/>
                  </a:lnTo>
                  <a:cubicBezTo>
                    <a:pt x="104949" y="10177"/>
                    <a:pt x="91620" y="124"/>
                    <a:pt x="75905" y="92"/>
                  </a:cubicBezTo>
                  <a:close/>
                </a:path>
              </a:pathLst>
            </a:custGeom>
            <a:solidFill>
              <a:schemeClr val="accent2"/>
            </a:solidFill>
            <a:ln w="80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1067" name="Freeform: Shape 1066">
              <a:extLst>
                <a:ext uri="{FF2B5EF4-FFF2-40B4-BE49-F238E27FC236}">
                  <a16:creationId xmlns:a16="http://schemas.microsoft.com/office/drawing/2014/main" id="{40123CF1-79EF-7A1D-BDD7-2A9AA6DBCA8E}"/>
                </a:ext>
              </a:extLst>
            </p:cNvPr>
            <p:cNvSpPr/>
            <p:nvPr/>
          </p:nvSpPr>
          <p:spPr>
            <a:xfrm>
              <a:off x="4080686" y="1739315"/>
              <a:ext cx="156322" cy="156272"/>
            </a:xfrm>
            <a:custGeom>
              <a:avLst/>
              <a:gdLst>
                <a:gd name="connsiteX0" fmla="*/ 99452 w 156322"/>
                <a:gd name="connsiteY0" fmla="*/ 24524 h 156272"/>
                <a:gd name="connsiteX1" fmla="*/ 131136 w 156322"/>
                <a:gd name="connsiteY1" fmla="*/ 55286 h 156272"/>
                <a:gd name="connsiteX2" fmla="*/ 101074 w 156322"/>
                <a:gd name="connsiteY2" fmla="*/ 130967 h 156272"/>
                <a:gd name="connsiteX3" fmla="*/ 25234 w 156322"/>
                <a:gd name="connsiteY3" fmla="*/ 100905 h 156272"/>
                <a:gd name="connsiteX4" fmla="*/ 55360 w 156322"/>
                <a:gd name="connsiteY4" fmla="*/ 25160 h 156272"/>
                <a:gd name="connsiteX5" fmla="*/ 99452 w 156322"/>
                <a:gd name="connsiteY5" fmla="*/ 24524 h 156272"/>
                <a:gd name="connsiteX6" fmla="*/ 106991 w 156322"/>
                <a:gd name="connsiteY6" fmla="*/ 5533 h 156272"/>
                <a:gd name="connsiteX7" fmla="*/ 47184 w 156322"/>
                <a:gd name="connsiteY7" fmla="*/ 6328 h 156272"/>
                <a:gd name="connsiteX8" fmla="*/ 6370 w 156322"/>
                <a:gd name="connsiteY8" fmla="*/ 109079 h 156272"/>
                <a:gd name="connsiteX9" fmla="*/ 109219 w 156322"/>
                <a:gd name="connsiteY9" fmla="*/ 149894 h 156272"/>
                <a:gd name="connsiteX10" fmla="*/ 149938 w 156322"/>
                <a:gd name="connsiteY10" fmla="*/ 47143 h 156272"/>
                <a:gd name="connsiteX11" fmla="*/ 106992 w 156322"/>
                <a:gd name="connsiteY11" fmla="*/ 5533 h 1562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6322" h="156272">
                  <a:moveTo>
                    <a:pt x="99452" y="24524"/>
                  </a:moveTo>
                  <a:cubicBezTo>
                    <a:pt x="113131" y="29964"/>
                    <a:pt x="124774" y="40653"/>
                    <a:pt x="131136" y="55286"/>
                  </a:cubicBezTo>
                  <a:cubicBezTo>
                    <a:pt x="143766" y="84553"/>
                    <a:pt x="130341" y="118337"/>
                    <a:pt x="101074" y="130967"/>
                  </a:cubicBezTo>
                  <a:cubicBezTo>
                    <a:pt x="71648" y="143628"/>
                    <a:pt x="37927" y="130299"/>
                    <a:pt x="25234" y="100905"/>
                  </a:cubicBezTo>
                  <a:cubicBezTo>
                    <a:pt x="12605" y="71605"/>
                    <a:pt x="25934" y="37853"/>
                    <a:pt x="55360" y="25160"/>
                  </a:cubicBezTo>
                  <a:cubicBezTo>
                    <a:pt x="69994" y="18862"/>
                    <a:pt x="85741" y="19116"/>
                    <a:pt x="99452" y="24524"/>
                  </a:cubicBezTo>
                  <a:close/>
                  <a:moveTo>
                    <a:pt x="106991" y="5533"/>
                  </a:moveTo>
                  <a:cubicBezTo>
                    <a:pt x="88381" y="-1816"/>
                    <a:pt x="66940" y="-2134"/>
                    <a:pt x="47184" y="6328"/>
                  </a:cubicBezTo>
                  <a:cubicBezTo>
                    <a:pt x="7610" y="23412"/>
                    <a:pt x="-10650" y="69570"/>
                    <a:pt x="6370" y="109079"/>
                  </a:cubicBezTo>
                  <a:cubicBezTo>
                    <a:pt x="23485" y="148622"/>
                    <a:pt x="69612" y="166946"/>
                    <a:pt x="109219" y="149894"/>
                  </a:cubicBezTo>
                  <a:cubicBezTo>
                    <a:pt x="148698" y="132875"/>
                    <a:pt x="166990" y="86652"/>
                    <a:pt x="149938" y="47143"/>
                  </a:cubicBezTo>
                  <a:cubicBezTo>
                    <a:pt x="141412" y="27419"/>
                    <a:pt x="125602" y="12913"/>
                    <a:pt x="106992" y="5533"/>
                  </a:cubicBezTo>
                  <a:close/>
                </a:path>
              </a:pathLst>
            </a:custGeom>
            <a:solidFill>
              <a:schemeClr val="accent2"/>
            </a:solidFill>
            <a:ln w="80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1068" name="Freeform: Shape 1067">
              <a:extLst>
                <a:ext uri="{FF2B5EF4-FFF2-40B4-BE49-F238E27FC236}">
                  <a16:creationId xmlns:a16="http://schemas.microsoft.com/office/drawing/2014/main" id="{E412E7DF-4C55-CFFC-F8DC-2ECE75B64E23}"/>
                </a:ext>
              </a:extLst>
            </p:cNvPr>
            <p:cNvSpPr/>
            <p:nvPr/>
          </p:nvSpPr>
          <p:spPr>
            <a:xfrm>
              <a:off x="4059729" y="1970957"/>
              <a:ext cx="141571" cy="413609"/>
            </a:xfrm>
            <a:custGeom>
              <a:avLst/>
              <a:gdLst>
                <a:gd name="connsiteX0" fmla="*/ 10180 w 141571"/>
                <a:gd name="connsiteY0" fmla="*/ 6 h 413609"/>
                <a:gd name="connsiteX1" fmla="*/ 32 w 141571"/>
                <a:gd name="connsiteY1" fmla="*/ 10376 h 413609"/>
                <a:gd name="connsiteX2" fmla="*/ 32 w 141571"/>
                <a:gd name="connsiteY2" fmla="*/ 156396 h 413609"/>
                <a:gd name="connsiteX3" fmla="*/ 7953 w 141571"/>
                <a:gd name="connsiteY3" fmla="*/ 211812 h 413609"/>
                <a:gd name="connsiteX4" fmla="*/ 51727 w 141571"/>
                <a:gd name="connsiteY4" fmla="*/ 249382 h 413609"/>
                <a:gd name="connsiteX5" fmla="*/ 58280 w 141571"/>
                <a:gd name="connsiteY5" fmla="*/ 251705 h 413609"/>
                <a:gd name="connsiteX6" fmla="*/ 58280 w 141571"/>
                <a:gd name="connsiteY6" fmla="*/ 361997 h 413609"/>
                <a:gd name="connsiteX7" fmla="*/ 1687 w 141571"/>
                <a:gd name="connsiteY7" fmla="*/ 397817 h 413609"/>
                <a:gd name="connsiteX8" fmla="*/ 19215 w 141571"/>
                <a:gd name="connsiteY8" fmla="*/ 408570 h 413609"/>
                <a:gd name="connsiteX9" fmla="*/ 68555 w 141571"/>
                <a:gd name="connsiteY9" fmla="*/ 381848 h 413609"/>
                <a:gd name="connsiteX10" fmla="*/ 117864 w 141571"/>
                <a:gd name="connsiteY10" fmla="*/ 408570 h 413609"/>
                <a:gd name="connsiteX11" fmla="*/ 132021 w 141571"/>
                <a:gd name="connsiteY11" fmla="*/ 411973 h 413609"/>
                <a:gd name="connsiteX12" fmla="*/ 135360 w 141571"/>
                <a:gd name="connsiteY12" fmla="*/ 397816 h 413609"/>
                <a:gd name="connsiteX13" fmla="*/ 78831 w 141571"/>
                <a:gd name="connsiteY13" fmla="*/ 361996 h 413609"/>
                <a:gd name="connsiteX14" fmla="*/ 78799 w 141571"/>
                <a:gd name="connsiteY14" fmla="*/ 259017 h 413609"/>
                <a:gd name="connsiteX15" fmla="*/ 127821 w 141571"/>
                <a:gd name="connsiteY15" fmla="*/ 276545 h 413609"/>
                <a:gd name="connsiteX16" fmla="*/ 140959 w 141571"/>
                <a:gd name="connsiteY16" fmla="*/ 270342 h 413609"/>
                <a:gd name="connsiteX17" fmla="*/ 134693 w 141571"/>
                <a:gd name="connsiteY17" fmla="*/ 257204 h 413609"/>
                <a:gd name="connsiteX18" fmla="*/ 58631 w 141571"/>
                <a:gd name="connsiteY18" fmla="*/ 230068 h 413609"/>
                <a:gd name="connsiteX19" fmla="*/ 26819 w 141571"/>
                <a:gd name="connsiteY19" fmla="*/ 203632 h 413609"/>
                <a:gd name="connsiteX20" fmla="*/ 20615 w 141571"/>
                <a:gd name="connsiteY20" fmla="*/ 156391 h 413609"/>
                <a:gd name="connsiteX21" fmla="*/ 20584 w 141571"/>
                <a:gd name="connsiteY21" fmla="*/ 10372 h 413609"/>
                <a:gd name="connsiteX22" fmla="*/ 10181 w 141571"/>
                <a:gd name="connsiteY22" fmla="*/ 1 h 413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41571" h="413609">
                  <a:moveTo>
                    <a:pt x="10180" y="6"/>
                  </a:moveTo>
                  <a:cubicBezTo>
                    <a:pt x="4518" y="37"/>
                    <a:pt x="0" y="4682"/>
                    <a:pt x="32" y="10376"/>
                  </a:cubicBezTo>
                  <a:lnTo>
                    <a:pt x="32" y="156396"/>
                  </a:lnTo>
                  <a:cubicBezTo>
                    <a:pt x="32" y="176946"/>
                    <a:pt x="796" y="195429"/>
                    <a:pt x="7953" y="211812"/>
                  </a:cubicBezTo>
                  <a:cubicBezTo>
                    <a:pt x="15143" y="228259"/>
                    <a:pt x="29395" y="241397"/>
                    <a:pt x="51727" y="249382"/>
                  </a:cubicBezTo>
                  <a:lnTo>
                    <a:pt x="58280" y="251705"/>
                  </a:lnTo>
                  <a:lnTo>
                    <a:pt x="58280" y="361997"/>
                  </a:lnTo>
                  <a:cubicBezTo>
                    <a:pt x="34898" y="364955"/>
                    <a:pt x="13902" y="377935"/>
                    <a:pt x="1687" y="397817"/>
                  </a:cubicBezTo>
                  <a:cubicBezTo>
                    <a:pt x="-5471" y="409524"/>
                    <a:pt x="12025" y="420245"/>
                    <a:pt x="19215" y="408570"/>
                  </a:cubicBezTo>
                  <a:cubicBezTo>
                    <a:pt x="29204" y="392250"/>
                    <a:pt x="48005" y="381848"/>
                    <a:pt x="68555" y="381848"/>
                  </a:cubicBezTo>
                  <a:cubicBezTo>
                    <a:pt x="89041" y="381848"/>
                    <a:pt x="107811" y="392250"/>
                    <a:pt x="117864" y="408570"/>
                  </a:cubicBezTo>
                  <a:cubicBezTo>
                    <a:pt x="120822" y="413405"/>
                    <a:pt x="127153" y="414932"/>
                    <a:pt x="132021" y="411973"/>
                  </a:cubicBezTo>
                  <a:cubicBezTo>
                    <a:pt x="136824" y="409014"/>
                    <a:pt x="138319" y="402684"/>
                    <a:pt x="135360" y="397816"/>
                  </a:cubicBezTo>
                  <a:cubicBezTo>
                    <a:pt x="123208" y="377934"/>
                    <a:pt x="102181" y="364954"/>
                    <a:pt x="78831" y="361996"/>
                  </a:cubicBezTo>
                  <a:lnTo>
                    <a:pt x="78799" y="259017"/>
                  </a:lnTo>
                  <a:lnTo>
                    <a:pt x="127821" y="276545"/>
                  </a:lnTo>
                  <a:cubicBezTo>
                    <a:pt x="133166" y="278486"/>
                    <a:pt x="139082" y="275655"/>
                    <a:pt x="140959" y="270342"/>
                  </a:cubicBezTo>
                  <a:cubicBezTo>
                    <a:pt x="142900" y="264966"/>
                    <a:pt x="140068" y="259081"/>
                    <a:pt x="134693" y="257204"/>
                  </a:cubicBezTo>
                  <a:lnTo>
                    <a:pt x="58631" y="230068"/>
                  </a:lnTo>
                  <a:cubicBezTo>
                    <a:pt x="40020" y="223420"/>
                    <a:pt x="31844" y="215117"/>
                    <a:pt x="26819" y="203632"/>
                  </a:cubicBezTo>
                  <a:cubicBezTo>
                    <a:pt x="21824" y="192116"/>
                    <a:pt x="20615" y="176306"/>
                    <a:pt x="20615" y="156391"/>
                  </a:cubicBezTo>
                  <a:lnTo>
                    <a:pt x="20584" y="10372"/>
                  </a:lnTo>
                  <a:cubicBezTo>
                    <a:pt x="20647" y="4582"/>
                    <a:pt x="15971" y="-95"/>
                    <a:pt x="10181" y="1"/>
                  </a:cubicBezTo>
                  <a:close/>
                </a:path>
              </a:pathLst>
            </a:custGeom>
            <a:solidFill>
              <a:schemeClr val="accent3"/>
            </a:solidFill>
            <a:ln w="80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1069" name="Freeform: Shape 1068">
              <a:extLst>
                <a:ext uri="{FF2B5EF4-FFF2-40B4-BE49-F238E27FC236}">
                  <a16:creationId xmlns:a16="http://schemas.microsoft.com/office/drawing/2014/main" id="{D973C405-63CB-3216-DA6D-45906B0DD47A}"/>
                </a:ext>
              </a:extLst>
            </p:cNvPr>
            <p:cNvSpPr/>
            <p:nvPr/>
          </p:nvSpPr>
          <p:spPr>
            <a:xfrm>
              <a:off x="4493640" y="1906036"/>
              <a:ext cx="280360" cy="488125"/>
            </a:xfrm>
            <a:custGeom>
              <a:avLst/>
              <a:gdLst>
                <a:gd name="connsiteX0" fmla="*/ 240501 w 280360"/>
                <a:gd name="connsiteY0" fmla="*/ 20550 h 488125"/>
                <a:gd name="connsiteX1" fmla="*/ 204585 w 280360"/>
                <a:gd name="connsiteY1" fmla="*/ 20582 h 488125"/>
                <a:gd name="connsiteX2" fmla="*/ 178944 w 280360"/>
                <a:gd name="connsiteY2" fmla="*/ 35598 h 488125"/>
                <a:gd name="connsiteX3" fmla="*/ 113253 w 280360"/>
                <a:gd name="connsiteY3" fmla="*/ 100176 h 488125"/>
                <a:gd name="connsiteX4" fmla="*/ 106127 w 280360"/>
                <a:gd name="connsiteY4" fmla="*/ 103135 h 488125"/>
                <a:gd name="connsiteX5" fmla="*/ 40912 w 280360"/>
                <a:gd name="connsiteY5" fmla="*/ 103135 h 488125"/>
                <a:gd name="connsiteX6" fmla="*/ 25547 w 280360"/>
                <a:gd name="connsiteY6" fmla="*/ 108575 h 488125"/>
                <a:gd name="connsiteX7" fmla="*/ 20584 w 280360"/>
                <a:gd name="connsiteY7" fmla="*/ 122381 h 488125"/>
                <a:gd name="connsiteX8" fmla="*/ 25547 w 280360"/>
                <a:gd name="connsiteY8" fmla="*/ 136156 h 488125"/>
                <a:gd name="connsiteX9" fmla="*/ 40912 w 280360"/>
                <a:gd name="connsiteY9" fmla="*/ 141563 h 488125"/>
                <a:gd name="connsiteX10" fmla="*/ 118184 w 280360"/>
                <a:gd name="connsiteY10" fmla="*/ 141563 h 488125"/>
                <a:gd name="connsiteX11" fmla="*/ 131704 w 280360"/>
                <a:gd name="connsiteY11" fmla="*/ 135996 h 488125"/>
                <a:gd name="connsiteX12" fmla="*/ 160271 w 280360"/>
                <a:gd name="connsiteY12" fmla="*/ 107875 h 488125"/>
                <a:gd name="connsiteX13" fmla="*/ 177704 w 280360"/>
                <a:gd name="connsiteY13" fmla="*/ 115192 h 488125"/>
                <a:gd name="connsiteX14" fmla="*/ 177704 w 280360"/>
                <a:gd name="connsiteY14" fmla="*/ 229304 h 488125"/>
                <a:gd name="connsiteX15" fmla="*/ 171246 w 280360"/>
                <a:gd name="connsiteY15" fmla="*/ 238784 h 488125"/>
                <a:gd name="connsiteX16" fmla="*/ 116180 w 280360"/>
                <a:gd name="connsiteY16" fmla="*/ 260512 h 488125"/>
                <a:gd name="connsiteX17" fmla="*/ 101037 w 280360"/>
                <a:gd name="connsiteY17" fmla="*/ 279122 h 488125"/>
                <a:gd name="connsiteX18" fmla="*/ 74251 w 280360"/>
                <a:gd name="connsiteY18" fmla="*/ 439328 h 488125"/>
                <a:gd name="connsiteX19" fmla="*/ 78450 w 280360"/>
                <a:gd name="connsiteY19" fmla="*/ 458543 h 488125"/>
                <a:gd name="connsiteX20" fmla="*/ 94229 w 280360"/>
                <a:gd name="connsiteY20" fmla="*/ 467323 h 488125"/>
                <a:gd name="connsiteX21" fmla="*/ 111917 w 280360"/>
                <a:gd name="connsiteY21" fmla="*/ 464173 h 488125"/>
                <a:gd name="connsiteX22" fmla="*/ 122223 w 280360"/>
                <a:gd name="connsiteY22" fmla="*/ 447408 h 488125"/>
                <a:gd name="connsiteX23" fmla="*/ 145733 w 280360"/>
                <a:gd name="connsiteY23" fmla="*/ 306389 h 488125"/>
                <a:gd name="connsiteX24" fmla="*/ 152063 w 280360"/>
                <a:gd name="connsiteY24" fmla="*/ 298563 h 488125"/>
                <a:gd name="connsiteX25" fmla="*/ 244447 w 280360"/>
                <a:gd name="connsiteY25" fmla="*/ 262170 h 488125"/>
                <a:gd name="connsiteX26" fmla="*/ 259812 w 280360"/>
                <a:gd name="connsiteY26" fmla="*/ 239584 h 488125"/>
                <a:gd name="connsiteX27" fmla="*/ 259812 w 280360"/>
                <a:gd name="connsiteY27" fmla="*/ 239552 h 488125"/>
                <a:gd name="connsiteX28" fmla="*/ 259589 w 280360"/>
                <a:gd name="connsiteY28" fmla="*/ 41330 h 488125"/>
                <a:gd name="connsiteX29" fmla="*/ 240502 w 280360"/>
                <a:gd name="connsiteY29" fmla="*/ 20557 h 488125"/>
                <a:gd name="connsiteX30" fmla="*/ 240437 w 280360"/>
                <a:gd name="connsiteY30" fmla="*/ 0 h 488125"/>
                <a:gd name="connsiteX31" fmla="*/ 280107 w 280360"/>
                <a:gd name="connsiteY31" fmla="*/ 41260 h 488125"/>
                <a:gd name="connsiteX32" fmla="*/ 280361 w 280360"/>
                <a:gd name="connsiteY32" fmla="*/ 239482 h 488125"/>
                <a:gd name="connsiteX33" fmla="*/ 251984 w 280360"/>
                <a:gd name="connsiteY33" fmla="*/ 281187 h 488125"/>
                <a:gd name="connsiteX34" fmla="*/ 165073 w 280360"/>
                <a:gd name="connsiteY34" fmla="*/ 315385 h 488125"/>
                <a:gd name="connsiteX35" fmla="*/ 142487 w 280360"/>
                <a:gd name="connsiteY35" fmla="*/ 450647 h 488125"/>
                <a:gd name="connsiteX36" fmla="*/ 122827 w 280360"/>
                <a:gd name="connsiteY36" fmla="*/ 481473 h 488125"/>
                <a:gd name="connsiteX37" fmla="*/ 90855 w 280360"/>
                <a:gd name="connsiteY37" fmla="*/ 487454 h 488125"/>
                <a:gd name="connsiteX38" fmla="*/ 62543 w 280360"/>
                <a:gd name="connsiteY38" fmla="*/ 471293 h 488125"/>
                <a:gd name="connsiteX39" fmla="*/ 54048 w 280360"/>
                <a:gd name="connsiteY39" fmla="*/ 435822 h 488125"/>
                <a:gd name="connsiteX40" fmla="*/ 80803 w 280360"/>
                <a:gd name="connsiteY40" fmla="*/ 275681 h 488125"/>
                <a:gd name="connsiteX41" fmla="*/ 108607 w 280360"/>
                <a:gd name="connsiteY41" fmla="*/ 241324 h 488125"/>
                <a:gd name="connsiteX42" fmla="*/ 157151 w 280360"/>
                <a:gd name="connsiteY42" fmla="*/ 222236 h 488125"/>
                <a:gd name="connsiteX43" fmla="*/ 157151 w 280360"/>
                <a:gd name="connsiteY43" fmla="*/ 139682 h 488125"/>
                <a:gd name="connsiteX44" fmla="*/ 146081 w 280360"/>
                <a:gd name="connsiteY44" fmla="*/ 150658 h 488125"/>
                <a:gd name="connsiteX45" fmla="*/ 118213 w 280360"/>
                <a:gd name="connsiteY45" fmla="*/ 162046 h 488125"/>
                <a:gd name="connsiteX46" fmla="*/ 41260 w 280360"/>
                <a:gd name="connsiteY46" fmla="*/ 162046 h 488125"/>
                <a:gd name="connsiteX47" fmla="*/ 10339 w 280360"/>
                <a:gd name="connsiteY47" fmla="*/ 149925 h 488125"/>
                <a:gd name="connsiteX48" fmla="*/ 0 w 280360"/>
                <a:gd name="connsiteY48" fmla="*/ 122345 h 488125"/>
                <a:gd name="connsiteX49" fmla="*/ 10339 w 280360"/>
                <a:gd name="connsiteY49" fmla="*/ 94668 h 488125"/>
                <a:gd name="connsiteX50" fmla="*/ 41260 w 280360"/>
                <a:gd name="connsiteY50" fmla="*/ 82611 h 488125"/>
                <a:gd name="connsiteX51" fmla="*/ 101830 w 280360"/>
                <a:gd name="connsiteY51" fmla="*/ 82611 h 488125"/>
                <a:gd name="connsiteX52" fmla="*/ 164404 w 280360"/>
                <a:gd name="connsiteY52" fmla="*/ 20928 h 488125"/>
                <a:gd name="connsiteX53" fmla="*/ 204424 w 280360"/>
                <a:gd name="connsiteY53" fmla="*/ 59 h 48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280360" h="488125">
                  <a:moveTo>
                    <a:pt x="240501" y="20550"/>
                  </a:moveTo>
                  <a:lnTo>
                    <a:pt x="204585" y="20582"/>
                  </a:lnTo>
                  <a:cubicBezTo>
                    <a:pt x="199749" y="20582"/>
                    <a:pt x="187756" y="26880"/>
                    <a:pt x="178944" y="35598"/>
                  </a:cubicBezTo>
                  <a:lnTo>
                    <a:pt x="113253" y="100176"/>
                  </a:lnTo>
                  <a:cubicBezTo>
                    <a:pt x="111376" y="102053"/>
                    <a:pt x="108767" y="103135"/>
                    <a:pt x="106127" y="103135"/>
                  </a:cubicBezTo>
                  <a:lnTo>
                    <a:pt x="40912" y="103135"/>
                  </a:lnTo>
                  <a:cubicBezTo>
                    <a:pt x="34359" y="103135"/>
                    <a:pt x="28887" y="105203"/>
                    <a:pt x="25547" y="108575"/>
                  </a:cubicBezTo>
                  <a:cubicBezTo>
                    <a:pt x="22303" y="111819"/>
                    <a:pt x="20584" y="117132"/>
                    <a:pt x="20584" y="122381"/>
                  </a:cubicBezTo>
                  <a:cubicBezTo>
                    <a:pt x="20584" y="127630"/>
                    <a:pt x="22111" y="133070"/>
                    <a:pt x="25547" y="136156"/>
                  </a:cubicBezTo>
                  <a:cubicBezTo>
                    <a:pt x="31210" y="141150"/>
                    <a:pt x="35537" y="141563"/>
                    <a:pt x="40912" y="141563"/>
                  </a:cubicBezTo>
                  <a:lnTo>
                    <a:pt x="118184" y="141563"/>
                  </a:lnTo>
                  <a:cubicBezTo>
                    <a:pt x="123942" y="141563"/>
                    <a:pt x="128586" y="139018"/>
                    <a:pt x="131704" y="135996"/>
                  </a:cubicBezTo>
                  <a:lnTo>
                    <a:pt x="160271" y="107875"/>
                  </a:lnTo>
                  <a:cubicBezTo>
                    <a:pt x="166793" y="101544"/>
                    <a:pt x="177672" y="106125"/>
                    <a:pt x="177704" y="115192"/>
                  </a:cubicBezTo>
                  <a:lnTo>
                    <a:pt x="177704" y="229304"/>
                  </a:lnTo>
                  <a:cubicBezTo>
                    <a:pt x="177704" y="233503"/>
                    <a:pt x="175096" y="237224"/>
                    <a:pt x="171246" y="238784"/>
                  </a:cubicBezTo>
                  <a:lnTo>
                    <a:pt x="116180" y="260512"/>
                  </a:lnTo>
                  <a:cubicBezTo>
                    <a:pt x="108227" y="263629"/>
                    <a:pt x="102469" y="270692"/>
                    <a:pt x="101037" y="279122"/>
                  </a:cubicBezTo>
                  <a:lnTo>
                    <a:pt x="74251" y="439328"/>
                  </a:lnTo>
                  <a:cubicBezTo>
                    <a:pt x="72787" y="448140"/>
                    <a:pt x="74823" y="453994"/>
                    <a:pt x="78450" y="458543"/>
                  </a:cubicBezTo>
                  <a:cubicBezTo>
                    <a:pt x="82141" y="463124"/>
                    <a:pt x="87962" y="466210"/>
                    <a:pt x="94229" y="467323"/>
                  </a:cubicBezTo>
                  <a:cubicBezTo>
                    <a:pt x="100496" y="468373"/>
                    <a:pt x="106953" y="467291"/>
                    <a:pt x="111917" y="464173"/>
                  </a:cubicBezTo>
                  <a:cubicBezTo>
                    <a:pt x="116879" y="461055"/>
                    <a:pt x="120761" y="456220"/>
                    <a:pt x="122223" y="447408"/>
                  </a:cubicBezTo>
                  <a:lnTo>
                    <a:pt x="145733" y="306389"/>
                  </a:lnTo>
                  <a:cubicBezTo>
                    <a:pt x="146305" y="302858"/>
                    <a:pt x="148691" y="299868"/>
                    <a:pt x="152063" y="298563"/>
                  </a:cubicBezTo>
                  <a:lnTo>
                    <a:pt x="244447" y="262170"/>
                  </a:lnTo>
                  <a:cubicBezTo>
                    <a:pt x="253768" y="258480"/>
                    <a:pt x="259812" y="249572"/>
                    <a:pt x="259812" y="239584"/>
                  </a:cubicBezTo>
                  <a:lnTo>
                    <a:pt x="259812" y="239552"/>
                  </a:lnTo>
                  <a:lnTo>
                    <a:pt x="259589" y="41330"/>
                  </a:lnTo>
                  <a:cubicBezTo>
                    <a:pt x="259589" y="29496"/>
                    <a:pt x="251637" y="20493"/>
                    <a:pt x="240502" y="20557"/>
                  </a:cubicBezTo>
                  <a:close/>
                  <a:moveTo>
                    <a:pt x="240437" y="0"/>
                  </a:moveTo>
                  <a:cubicBezTo>
                    <a:pt x="263119" y="0"/>
                    <a:pt x="280075" y="19373"/>
                    <a:pt x="280107" y="41260"/>
                  </a:cubicBezTo>
                  <a:lnTo>
                    <a:pt x="280361" y="239482"/>
                  </a:lnTo>
                  <a:cubicBezTo>
                    <a:pt x="280393" y="257837"/>
                    <a:pt x="269100" y="274444"/>
                    <a:pt x="251984" y="281187"/>
                  </a:cubicBezTo>
                  <a:lnTo>
                    <a:pt x="165073" y="315385"/>
                  </a:lnTo>
                  <a:lnTo>
                    <a:pt x="142487" y="450647"/>
                  </a:lnTo>
                  <a:cubicBezTo>
                    <a:pt x="140165" y="464548"/>
                    <a:pt x="132594" y="475332"/>
                    <a:pt x="122827" y="481473"/>
                  </a:cubicBezTo>
                  <a:cubicBezTo>
                    <a:pt x="113124" y="487549"/>
                    <a:pt x="101608" y="489235"/>
                    <a:pt x="90855" y="487454"/>
                  </a:cubicBezTo>
                  <a:cubicBezTo>
                    <a:pt x="80071" y="485640"/>
                    <a:pt x="69732" y="480233"/>
                    <a:pt x="62543" y="471293"/>
                  </a:cubicBezTo>
                  <a:cubicBezTo>
                    <a:pt x="55290" y="462354"/>
                    <a:pt x="51695" y="449725"/>
                    <a:pt x="54048" y="435822"/>
                  </a:cubicBezTo>
                  <a:lnTo>
                    <a:pt x="80803" y="275681"/>
                  </a:lnTo>
                  <a:cubicBezTo>
                    <a:pt x="83411" y="260125"/>
                    <a:pt x="93941" y="247083"/>
                    <a:pt x="108607" y="241324"/>
                  </a:cubicBezTo>
                  <a:lnTo>
                    <a:pt x="157151" y="222236"/>
                  </a:lnTo>
                  <a:lnTo>
                    <a:pt x="157151" y="139682"/>
                  </a:lnTo>
                  <a:lnTo>
                    <a:pt x="146081" y="150658"/>
                  </a:lnTo>
                  <a:cubicBezTo>
                    <a:pt x="138637" y="157974"/>
                    <a:pt x="128648" y="162046"/>
                    <a:pt x="118213" y="162046"/>
                  </a:cubicBezTo>
                  <a:lnTo>
                    <a:pt x="41260" y="162046"/>
                  </a:lnTo>
                  <a:cubicBezTo>
                    <a:pt x="28440" y="162523"/>
                    <a:pt x="17401" y="157656"/>
                    <a:pt x="10339" y="149925"/>
                  </a:cubicBezTo>
                  <a:cubicBezTo>
                    <a:pt x="3276" y="142194"/>
                    <a:pt x="0" y="132206"/>
                    <a:pt x="0" y="122345"/>
                  </a:cubicBezTo>
                  <a:cubicBezTo>
                    <a:pt x="0" y="112515"/>
                    <a:pt x="3245" y="102399"/>
                    <a:pt x="10339" y="94668"/>
                  </a:cubicBezTo>
                  <a:cubicBezTo>
                    <a:pt x="17401" y="86938"/>
                    <a:pt x="28440" y="82071"/>
                    <a:pt x="41260" y="82611"/>
                  </a:cubicBezTo>
                  <a:lnTo>
                    <a:pt x="101830" y="82611"/>
                  </a:lnTo>
                  <a:lnTo>
                    <a:pt x="164404" y="20928"/>
                  </a:lnTo>
                  <a:cubicBezTo>
                    <a:pt x="175443" y="10144"/>
                    <a:pt x="188772" y="91"/>
                    <a:pt x="204424" y="59"/>
                  </a:cubicBezTo>
                  <a:close/>
                </a:path>
              </a:pathLst>
            </a:custGeom>
            <a:solidFill>
              <a:schemeClr val="accent2"/>
            </a:solidFill>
            <a:ln w="80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1070" name="Freeform: Shape 1069">
              <a:extLst>
                <a:ext uri="{FF2B5EF4-FFF2-40B4-BE49-F238E27FC236}">
                  <a16:creationId xmlns:a16="http://schemas.microsoft.com/office/drawing/2014/main" id="{72580F66-DD9C-8EFF-D137-4F0061AA87BB}"/>
                </a:ext>
              </a:extLst>
            </p:cNvPr>
            <p:cNvSpPr/>
            <p:nvPr/>
          </p:nvSpPr>
          <p:spPr>
            <a:xfrm>
              <a:off x="4634247" y="1739315"/>
              <a:ext cx="156306" cy="156240"/>
            </a:xfrm>
            <a:custGeom>
              <a:avLst/>
              <a:gdLst>
                <a:gd name="connsiteX0" fmla="*/ 56919 w 156306"/>
                <a:gd name="connsiteY0" fmla="*/ 24524 h 156240"/>
                <a:gd name="connsiteX1" fmla="*/ 25234 w 156306"/>
                <a:gd name="connsiteY1" fmla="*/ 55286 h 156240"/>
                <a:gd name="connsiteX2" fmla="*/ 55296 w 156306"/>
                <a:gd name="connsiteY2" fmla="*/ 130967 h 156240"/>
                <a:gd name="connsiteX3" fmla="*/ 131073 w 156306"/>
                <a:gd name="connsiteY3" fmla="*/ 100905 h 156240"/>
                <a:gd name="connsiteX4" fmla="*/ 100947 w 156306"/>
                <a:gd name="connsiteY4" fmla="*/ 25160 h 156240"/>
                <a:gd name="connsiteX5" fmla="*/ 56919 w 156306"/>
                <a:gd name="connsiteY5" fmla="*/ 24524 h 156240"/>
                <a:gd name="connsiteX6" fmla="*/ 49316 w 156306"/>
                <a:gd name="connsiteY6" fmla="*/ 5533 h 156240"/>
                <a:gd name="connsiteX7" fmla="*/ 109122 w 156306"/>
                <a:gd name="connsiteY7" fmla="*/ 6328 h 156240"/>
                <a:gd name="connsiteX8" fmla="*/ 149937 w 156306"/>
                <a:gd name="connsiteY8" fmla="*/ 109047 h 156240"/>
                <a:gd name="connsiteX9" fmla="*/ 47153 w 156306"/>
                <a:gd name="connsiteY9" fmla="*/ 149862 h 156240"/>
                <a:gd name="connsiteX10" fmla="*/ 6402 w 156306"/>
                <a:gd name="connsiteY10" fmla="*/ 47110 h 156240"/>
                <a:gd name="connsiteX11" fmla="*/ 49316 w 156306"/>
                <a:gd name="connsiteY11" fmla="*/ 5532 h 156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6306" h="156240">
                  <a:moveTo>
                    <a:pt x="56919" y="24524"/>
                  </a:moveTo>
                  <a:cubicBezTo>
                    <a:pt x="43208" y="29964"/>
                    <a:pt x="31564" y="40653"/>
                    <a:pt x="25234" y="55286"/>
                  </a:cubicBezTo>
                  <a:cubicBezTo>
                    <a:pt x="12573" y="84553"/>
                    <a:pt x="25997" y="118337"/>
                    <a:pt x="55296" y="130967"/>
                  </a:cubicBezTo>
                  <a:cubicBezTo>
                    <a:pt x="84691" y="143628"/>
                    <a:pt x="118380" y="130299"/>
                    <a:pt x="131073" y="100905"/>
                  </a:cubicBezTo>
                  <a:cubicBezTo>
                    <a:pt x="143702" y="71605"/>
                    <a:pt x="130405" y="37853"/>
                    <a:pt x="100947" y="25160"/>
                  </a:cubicBezTo>
                  <a:cubicBezTo>
                    <a:pt x="86313" y="18862"/>
                    <a:pt x="70566" y="19116"/>
                    <a:pt x="56919" y="24524"/>
                  </a:cubicBezTo>
                  <a:close/>
                  <a:moveTo>
                    <a:pt x="49316" y="5533"/>
                  </a:moveTo>
                  <a:cubicBezTo>
                    <a:pt x="67926" y="-1816"/>
                    <a:pt x="89367" y="-2134"/>
                    <a:pt x="109122" y="6328"/>
                  </a:cubicBezTo>
                  <a:cubicBezTo>
                    <a:pt x="148697" y="23380"/>
                    <a:pt x="166957" y="69570"/>
                    <a:pt x="149937" y="109047"/>
                  </a:cubicBezTo>
                  <a:cubicBezTo>
                    <a:pt x="132822" y="148589"/>
                    <a:pt x="86695" y="166913"/>
                    <a:pt x="47153" y="149862"/>
                  </a:cubicBezTo>
                  <a:cubicBezTo>
                    <a:pt x="7611" y="132842"/>
                    <a:pt x="-10681" y="86620"/>
                    <a:pt x="6402" y="47110"/>
                  </a:cubicBezTo>
                  <a:cubicBezTo>
                    <a:pt x="14928" y="27418"/>
                    <a:pt x="30739" y="12913"/>
                    <a:pt x="49316" y="5532"/>
                  </a:cubicBezTo>
                  <a:close/>
                </a:path>
              </a:pathLst>
            </a:custGeom>
            <a:solidFill>
              <a:schemeClr val="accent2"/>
            </a:solidFill>
            <a:ln w="80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1071" name="Freeform: Shape 1070">
              <a:extLst>
                <a:ext uri="{FF2B5EF4-FFF2-40B4-BE49-F238E27FC236}">
                  <a16:creationId xmlns:a16="http://schemas.microsoft.com/office/drawing/2014/main" id="{EA2CE3D3-018E-9BA2-D622-B70C72852889}"/>
                </a:ext>
              </a:extLst>
            </p:cNvPr>
            <p:cNvSpPr/>
            <p:nvPr/>
          </p:nvSpPr>
          <p:spPr>
            <a:xfrm>
              <a:off x="4669930" y="1970958"/>
              <a:ext cx="141578" cy="413608"/>
            </a:xfrm>
            <a:custGeom>
              <a:avLst/>
              <a:gdLst>
                <a:gd name="connsiteX0" fmla="*/ 131398 w 141578"/>
                <a:gd name="connsiteY0" fmla="*/ 5 h 413608"/>
                <a:gd name="connsiteX1" fmla="*/ 141578 w 141578"/>
                <a:gd name="connsiteY1" fmla="*/ 10375 h 413608"/>
                <a:gd name="connsiteX2" fmla="*/ 141578 w 141578"/>
                <a:gd name="connsiteY2" fmla="*/ 156395 h 413608"/>
                <a:gd name="connsiteX3" fmla="*/ 133624 w 141578"/>
                <a:gd name="connsiteY3" fmla="*/ 211811 h 413608"/>
                <a:gd name="connsiteX4" fmla="*/ 89851 w 141578"/>
                <a:gd name="connsiteY4" fmla="*/ 249381 h 413608"/>
                <a:gd name="connsiteX5" fmla="*/ 83330 w 141578"/>
                <a:gd name="connsiteY5" fmla="*/ 251704 h 413608"/>
                <a:gd name="connsiteX6" fmla="*/ 83330 w 141578"/>
                <a:gd name="connsiteY6" fmla="*/ 361996 h 413608"/>
                <a:gd name="connsiteX7" fmla="*/ 139860 w 141578"/>
                <a:gd name="connsiteY7" fmla="*/ 397816 h 413608"/>
                <a:gd name="connsiteX8" fmla="*/ 136520 w 141578"/>
                <a:gd name="connsiteY8" fmla="*/ 411973 h 413608"/>
                <a:gd name="connsiteX9" fmla="*/ 122363 w 141578"/>
                <a:gd name="connsiteY9" fmla="*/ 408569 h 413608"/>
                <a:gd name="connsiteX10" fmla="*/ 72959 w 141578"/>
                <a:gd name="connsiteY10" fmla="*/ 381847 h 413608"/>
                <a:gd name="connsiteX11" fmla="*/ 23714 w 141578"/>
                <a:gd name="connsiteY11" fmla="*/ 408569 h 413608"/>
                <a:gd name="connsiteX12" fmla="*/ 6186 w 141578"/>
                <a:gd name="connsiteY12" fmla="*/ 397816 h 413608"/>
                <a:gd name="connsiteX13" fmla="*/ 62779 w 141578"/>
                <a:gd name="connsiteY13" fmla="*/ 361996 h 413608"/>
                <a:gd name="connsiteX14" fmla="*/ 62811 w 141578"/>
                <a:gd name="connsiteY14" fmla="*/ 259017 h 413608"/>
                <a:gd name="connsiteX15" fmla="*/ 13725 w 141578"/>
                <a:gd name="connsiteY15" fmla="*/ 276545 h 413608"/>
                <a:gd name="connsiteX16" fmla="*/ 587 w 141578"/>
                <a:gd name="connsiteY16" fmla="*/ 270342 h 413608"/>
                <a:gd name="connsiteX17" fmla="*/ 6854 w 141578"/>
                <a:gd name="connsiteY17" fmla="*/ 257204 h 413608"/>
                <a:gd name="connsiteX18" fmla="*/ 82980 w 141578"/>
                <a:gd name="connsiteY18" fmla="*/ 230068 h 413608"/>
                <a:gd name="connsiteX19" fmla="*/ 114728 w 141578"/>
                <a:gd name="connsiteY19" fmla="*/ 203632 h 413608"/>
                <a:gd name="connsiteX20" fmla="*/ 120964 w 141578"/>
                <a:gd name="connsiteY20" fmla="*/ 156391 h 413608"/>
                <a:gd name="connsiteX21" fmla="*/ 120964 w 141578"/>
                <a:gd name="connsiteY21" fmla="*/ 10372 h 413608"/>
                <a:gd name="connsiteX22" fmla="*/ 131398 w 141578"/>
                <a:gd name="connsiteY22" fmla="*/ 1 h 4136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41578" h="413608">
                  <a:moveTo>
                    <a:pt x="131398" y="5"/>
                  </a:moveTo>
                  <a:cubicBezTo>
                    <a:pt x="137060" y="36"/>
                    <a:pt x="141641" y="4681"/>
                    <a:pt x="141578" y="10375"/>
                  </a:cubicBezTo>
                  <a:lnTo>
                    <a:pt x="141578" y="156395"/>
                  </a:lnTo>
                  <a:cubicBezTo>
                    <a:pt x="141578" y="176945"/>
                    <a:pt x="140782" y="195428"/>
                    <a:pt x="133624" y="211811"/>
                  </a:cubicBezTo>
                  <a:cubicBezTo>
                    <a:pt x="126467" y="228258"/>
                    <a:pt x="112215" y="241396"/>
                    <a:pt x="89851" y="249381"/>
                  </a:cubicBezTo>
                  <a:lnTo>
                    <a:pt x="83330" y="251704"/>
                  </a:lnTo>
                  <a:lnTo>
                    <a:pt x="83330" y="361996"/>
                  </a:lnTo>
                  <a:cubicBezTo>
                    <a:pt x="106712" y="364954"/>
                    <a:pt x="127740" y="377934"/>
                    <a:pt x="139860" y="397816"/>
                  </a:cubicBezTo>
                  <a:cubicBezTo>
                    <a:pt x="142818" y="402651"/>
                    <a:pt x="141324" y="408983"/>
                    <a:pt x="136520" y="411973"/>
                  </a:cubicBezTo>
                  <a:cubicBezTo>
                    <a:pt x="131684" y="414931"/>
                    <a:pt x="125353" y="413436"/>
                    <a:pt x="122363" y="408569"/>
                  </a:cubicBezTo>
                  <a:cubicBezTo>
                    <a:pt x="112342" y="392249"/>
                    <a:pt x="93509" y="381847"/>
                    <a:pt x="72959" y="381847"/>
                  </a:cubicBezTo>
                  <a:cubicBezTo>
                    <a:pt x="52472" y="381847"/>
                    <a:pt x="33703" y="392249"/>
                    <a:pt x="23714" y="408569"/>
                  </a:cubicBezTo>
                  <a:cubicBezTo>
                    <a:pt x="16525" y="420244"/>
                    <a:pt x="-972" y="409523"/>
                    <a:pt x="6186" y="397816"/>
                  </a:cubicBezTo>
                  <a:cubicBezTo>
                    <a:pt x="18402" y="377934"/>
                    <a:pt x="39366" y="364954"/>
                    <a:pt x="62779" y="361996"/>
                  </a:cubicBezTo>
                  <a:lnTo>
                    <a:pt x="62811" y="259017"/>
                  </a:lnTo>
                  <a:lnTo>
                    <a:pt x="13725" y="276545"/>
                  </a:lnTo>
                  <a:cubicBezTo>
                    <a:pt x="8413" y="278486"/>
                    <a:pt x="2528" y="275654"/>
                    <a:pt x="587" y="270342"/>
                  </a:cubicBezTo>
                  <a:cubicBezTo>
                    <a:pt x="-1290" y="264966"/>
                    <a:pt x="1478" y="259081"/>
                    <a:pt x="6854" y="257204"/>
                  </a:cubicBezTo>
                  <a:lnTo>
                    <a:pt x="82980" y="230068"/>
                  </a:lnTo>
                  <a:cubicBezTo>
                    <a:pt x="101558" y="223420"/>
                    <a:pt x="109734" y="215117"/>
                    <a:pt x="114728" y="203632"/>
                  </a:cubicBezTo>
                  <a:cubicBezTo>
                    <a:pt x="119755" y="192116"/>
                    <a:pt x="120964" y="176306"/>
                    <a:pt x="120964" y="156391"/>
                  </a:cubicBezTo>
                  <a:lnTo>
                    <a:pt x="120964" y="10372"/>
                  </a:lnTo>
                  <a:cubicBezTo>
                    <a:pt x="120932" y="4582"/>
                    <a:pt x="125672" y="-95"/>
                    <a:pt x="131398" y="1"/>
                  </a:cubicBezTo>
                  <a:close/>
                </a:path>
              </a:pathLst>
            </a:custGeom>
            <a:solidFill>
              <a:schemeClr val="accent3"/>
            </a:solidFill>
            <a:ln w="80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</p:grpSp>
      <p:grpSp>
        <p:nvGrpSpPr>
          <p:cNvPr id="1072" name="Group 1071">
            <a:extLst>
              <a:ext uri="{FF2B5EF4-FFF2-40B4-BE49-F238E27FC236}">
                <a16:creationId xmlns:a16="http://schemas.microsoft.com/office/drawing/2014/main" id="{C3D6B3D9-D56C-1284-9FDC-E475004E6315}"/>
              </a:ext>
            </a:extLst>
          </p:cNvPr>
          <p:cNvGrpSpPr/>
          <p:nvPr/>
        </p:nvGrpSpPr>
        <p:grpSpPr>
          <a:xfrm>
            <a:off x="6178797" y="2473977"/>
            <a:ext cx="2816610" cy="607770"/>
            <a:chOff x="5957301" y="2473977"/>
            <a:chExt cx="2528695" cy="607770"/>
          </a:xfrm>
        </p:grpSpPr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079608CE-391B-E3F0-8AFA-5CA607D2CC9C}"/>
                </a:ext>
              </a:extLst>
            </p:cNvPr>
            <p:cNvSpPr/>
            <p:nvPr/>
          </p:nvSpPr>
          <p:spPr>
            <a:xfrm>
              <a:off x="5957301" y="2473977"/>
              <a:ext cx="2528695" cy="607770"/>
            </a:xfrm>
            <a:prstGeom prst="roundRect">
              <a:avLst>
                <a:gd name="adj" fmla="val 9028"/>
              </a:avLst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3200" dirty="0">
                <a:solidFill>
                  <a:schemeClr val="accent2"/>
                </a:solidFill>
              </a:endParaRPr>
            </a:p>
          </p:txBody>
        </p:sp>
        <p:sp>
          <p:nvSpPr>
            <p:cNvPr id="11" name="Content Placeholder 2">
              <a:extLst>
                <a:ext uri="{FF2B5EF4-FFF2-40B4-BE49-F238E27FC236}">
                  <a16:creationId xmlns:a16="http://schemas.microsoft.com/office/drawing/2014/main" id="{6474A4A6-59B8-5AB9-BA68-899A76C9754B}"/>
                </a:ext>
              </a:extLst>
            </p:cNvPr>
            <p:cNvSpPr txBox="1">
              <a:spLocks/>
            </p:cNvSpPr>
            <p:nvPr/>
          </p:nvSpPr>
          <p:spPr>
            <a:xfrm>
              <a:off x="6038302" y="2701172"/>
              <a:ext cx="2366693" cy="2295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171496" indent="-171496" algn="l" defTabSz="685983" rtl="0" eaLnBrk="1" latinLnBrk="0" hangingPunct="1">
                <a:lnSpc>
                  <a:spcPct val="90000"/>
                </a:lnSpc>
                <a:spcBef>
                  <a:spcPts val="750"/>
                </a:spcBef>
                <a:buClr>
                  <a:srgbClr val="1F94D1"/>
                </a:buClr>
                <a:buFont typeface="Arial"/>
                <a:buChar char="•"/>
                <a:defRPr sz="2101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1pPr>
              <a:lvl2pPr marL="292100" indent="-112713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Font typeface="Arial" panose="020B0604020202020204" pitchFamily="34" charset="0"/>
                <a:buChar char="–"/>
                <a:tabLst/>
                <a:defRPr sz="180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2pPr>
              <a:lvl3pPr marL="460375" indent="-112713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SzPct val="60000"/>
                <a:buFont typeface="Arial" panose="020B0604020202020204" pitchFamily="34" charset="0"/>
                <a:buChar char="►"/>
                <a:tabLst/>
                <a:defRPr sz="150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3pPr>
              <a:lvl4pPr marL="573088" indent="-112713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Font typeface="Wingdings" panose="05000000000000000000" pitchFamily="2" charset="2"/>
                <a:buChar char="§"/>
                <a:tabLst/>
                <a:defRPr sz="135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4pPr>
              <a:lvl5pPr marL="695325" indent="-122238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SzPct val="80000"/>
                <a:buFont typeface="Courier New" panose="02070309020205020404" pitchFamily="49" charset="0"/>
                <a:buChar char="o"/>
                <a:tabLst/>
                <a:defRPr sz="135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5pPr>
              <a:lvl6pPr marL="1886453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9444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2436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5427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lnSpc>
                  <a:spcPct val="85000"/>
                </a:lnSpc>
                <a:spcBef>
                  <a:spcPts val="100"/>
                </a:spcBef>
                <a:buNone/>
              </a:pPr>
              <a:r>
                <a:rPr lang="nl-NL" sz="2000" dirty="0">
                  <a:solidFill>
                    <a:schemeClr val="accent2"/>
                  </a:solidFill>
                  <a:cs typeface="Arial" panose="020B0604020202020204" pitchFamily="34" charset="0"/>
                </a:rPr>
                <a:t>BELEVING-</a:t>
              </a:r>
            </a:p>
            <a:p>
              <a:pPr marL="0" indent="0" algn="ctr">
                <a:lnSpc>
                  <a:spcPct val="85000"/>
                </a:lnSpc>
                <a:spcBef>
                  <a:spcPts val="100"/>
                </a:spcBef>
                <a:buNone/>
              </a:pPr>
              <a:r>
                <a:rPr lang="nl-NL" sz="2000" dirty="0">
                  <a:solidFill>
                    <a:schemeClr val="accent2"/>
                  </a:solidFill>
                  <a:cs typeface="Arial" panose="020B0604020202020204" pitchFamily="34" charset="0"/>
                </a:rPr>
                <a:t>INTERVIEWS</a:t>
              </a:r>
            </a:p>
          </p:txBody>
        </p:sp>
      </p:grpSp>
      <p:grpSp>
        <p:nvGrpSpPr>
          <p:cNvPr id="1075" name="Group 1074">
            <a:extLst>
              <a:ext uri="{FF2B5EF4-FFF2-40B4-BE49-F238E27FC236}">
                <a16:creationId xmlns:a16="http://schemas.microsoft.com/office/drawing/2014/main" id="{347C15E8-F0A7-9730-4360-BE2145D6E170}"/>
              </a:ext>
            </a:extLst>
          </p:cNvPr>
          <p:cNvGrpSpPr/>
          <p:nvPr/>
        </p:nvGrpSpPr>
        <p:grpSpPr>
          <a:xfrm>
            <a:off x="7350154" y="1567100"/>
            <a:ext cx="473896" cy="797570"/>
            <a:chOff x="9764701" y="1567100"/>
            <a:chExt cx="473896" cy="797570"/>
          </a:xfrm>
        </p:grpSpPr>
        <p:grpSp>
          <p:nvGrpSpPr>
            <p:cNvPr id="20" name="Graphic 18">
              <a:extLst>
                <a:ext uri="{FF2B5EF4-FFF2-40B4-BE49-F238E27FC236}">
                  <a16:creationId xmlns:a16="http://schemas.microsoft.com/office/drawing/2014/main" id="{4386E145-F455-B8D0-D0C6-86F584E5697C}"/>
                </a:ext>
              </a:extLst>
            </p:cNvPr>
            <p:cNvGrpSpPr/>
            <p:nvPr/>
          </p:nvGrpSpPr>
          <p:grpSpPr>
            <a:xfrm>
              <a:off x="9764701" y="1763999"/>
              <a:ext cx="422230" cy="600671"/>
              <a:chOff x="6257663" y="3176937"/>
              <a:chExt cx="2159461" cy="3072090"/>
            </a:xfrm>
            <a:solidFill>
              <a:schemeClr val="accent2"/>
            </a:solidFill>
          </p:grpSpPr>
          <p:sp>
            <p:nvSpPr>
              <p:cNvPr id="22" name="Freeform: Shape 21">
                <a:extLst>
                  <a:ext uri="{FF2B5EF4-FFF2-40B4-BE49-F238E27FC236}">
                    <a16:creationId xmlns:a16="http://schemas.microsoft.com/office/drawing/2014/main" id="{B0827C06-B29F-A24A-D921-20625A9D54E8}"/>
                  </a:ext>
                </a:extLst>
              </p:cNvPr>
              <p:cNvSpPr/>
              <p:nvPr/>
            </p:nvSpPr>
            <p:spPr>
              <a:xfrm>
                <a:off x="6257663" y="4003185"/>
                <a:ext cx="2159461" cy="2245842"/>
              </a:xfrm>
              <a:custGeom>
                <a:avLst/>
                <a:gdLst>
                  <a:gd name="connsiteX0" fmla="*/ 416846 w 2159461"/>
                  <a:gd name="connsiteY0" fmla="*/ 576548 h 2245842"/>
                  <a:gd name="connsiteX1" fmla="*/ 416401 w 2159461"/>
                  <a:gd name="connsiteY1" fmla="*/ 666144 h 2245842"/>
                  <a:gd name="connsiteX2" fmla="*/ 380533 w 2159461"/>
                  <a:gd name="connsiteY2" fmla="*/ 613608 h 2245842"/>
                  <a:gd name="connsiteX3" fmla="*/ 586212 w 2159461"/>
                  <a:gd name="connsiteY3" fmla="*/ 95993 h 2245842"/>
                  <a:gd name="connsiteX4" fmla="*/ 1094009 w 2159461"/>
                  <a:gd name="connsiteY4" fmla="*/ 95993 h 2245842"/>
                  <a:gd name="connsiteX5" fmla="*/ 1189259 w 2159461"/>
                  <a:gd name="connsiteY5" fmla="*/ 144064 h 2245842"/>
                  <a:gd name="connsiteX6" fmla="*/ 1464890 w 2159461"/>
                  <a:gd name="connsiteY6" fmla="*/ 432046 h 2245842"/>
                  <a:gd name="connsiteX7" fmla="*/ 1525762 w 2159461"/>
                  <a:gd name="connsiteY7" fmla="*/ 454072 h 2245842"/>
                  <a:gd name="connsiteX8" fmla="*/ 1572046 w 2159461"/>
                  <a:gd name="connsiteY8" fmla="*/ 436958 h 2245842"/>
                  <a:gd name="connsiteX9" fmla="*/ 1757635 w 2159461"/>
                  <a:gd name="connsiteY9" fmla="*/ 311048 h 2245842"/>
                  <a:gd name="connsiteX10" fmla="*/ 1836365 w 2159461"/>
                  <a:gd name="connsiteY10" fmla="*/ 295420 h 2245842"/>
                  <a:gd name="connsiteX11" fmla="*/ 2022400 w 2159461"/>
                  <a:gd name="connsiteY11" fmla="*/ 340961 h 2245842"/>
                  <a:gd name="connsiteX12" fmla="*/ 2023889 w 2159461"/>
                  <a:gd name="connsiteY12" fmla="*/ 403468 h 2245842"/>
                  <a:gd name="connsiteX13" fmla="*/ 1829815 w 2159461"/>
                  <a:gd name="connsiteY13" fmla="*/ 414928 h 2245842"/>
                  <a:gd name="connsiteX14" fmla="*/ 1803325 w 2159461"/>
                  <a:gd name="connsiteY14" fmla="*/ 424602 h 2245842"/>
                  <a:gd name="connsiteX15" fmla="*/ 1563264 w 2159461"/>
                  <a:gd name="connsiteY15" fmla="*/ 607364 h 2245842"/>
                  <a:gd name="connsiteX16" fmla="*/ 1467717 w 2159461"/>
                  <a:gd name="connsiteY16" fmla="*/ 613764 h 2245842"/>
                  <a:gd name="connsiteX17" fmla="*/ 1259356 w 2159461"/>
                  <a:gd name="connsiteY17" fmla="*/ 410467 h 2245842"/>
                  <a:gd name="connsiteX18" fmla="*/ 1177799 w 2159461"/>
                  <a:gd name="connsiteY18" fmla="*/ 444101 h 2245842"/>
                  <a:gd name="connsiteX19" fmla="*/ 1172438 w 2159461"/>
                  <a:gd name="connsiteY19" fmla="*/ 985693 h 2245842"/>
                  <a:gd name="connsiteX20" fmla="*/ 1181220 w 2159461"/>
                  <a:gd name="connsiteY20" fmla="*/ 1013971 h 2245842"/>
                  <a:gd name="connsiteX21" fmla="*/ 1840236 w 2159461"/>
                  <a:gd name="connsiteY21" fmla="*/ 1937438 h 2245842"/>
                  <a:gd name="connsiteX22" fmla="*/ 1864940 w 2159461"/>
                  <a:gd name="connsiteY22" fmla="*/ 2041025 h 2245842"/>
                  <a:gd name="connsiteX23" fmla="*/ 1809577 w 2159461"/>
                  <a:gd name="connsiteY23" fmla="*/ 2120798 h 2245842"/>
                  <a:gd name="connsiteX24" fmla="*/ 1716114 w 2159461"/>
                  <a:gd name="connsiteY24" fmla="*/ 2147141 h 2245842"/>
                  <a:gd name="connsiteX25" fmla="*/ 1626369 w 2159461"/>
                  <a:gd name="connsiteY25" fmla="*/ 2090139 h 2245842"/>
                  <a:gd name="connsiteX26" fmla="*/ 1174808 w 2159461"/>
                  <a:gd name="connsiteY26" fmla="*/ 1459699 h 2245842"/>
                  <a:gd name="connsiteX27" fmla="*/ 1174808 w 2159461"/>
                  <a:gd name="connsiteY27" fmla="*/ 1394662 h 2245842"/>
                  <a:gd name="connsiteX28" fmla="*/ 1165733 w 2159461"/>
                  <a:gd name="connsiteY28" fmla="*/ 1366681 h 2245842"/>
                  <a:gd name="connsiteX29" fmla="*/ 966748 w 2159461"/>
                  <a:gd name="connsiteY29" fmla="*/ 1102363 h 2245842"/>
                  <a:gd name="connsiteX30" fmla="*/ 910192 w 2159461"/>
                  <a:gd name="connsiteY30" fmla="*/ 1138680 h 2245842"/>
                  <a:gd name="connsiteX31" fmla="*/ 1078815 w 2159461"/>
                  <a:gd name="connsiteY31" fmla="*/ 1410138 h 2245842"/>
                  <a:gd name="connsiteX32" fmla="*/ 1078815 w 2159461"/>
                  <a:gd name="connsiteY32" fmla="*/ 2018256 h 2245842"/>
                  <a:gd name="connsiteX33" fmla="*/ 1038631 w 2159461"/>
                  <a:gd name="connsiteY33" fmla="*/ 2117076 h 2245842"/>
                  <a:gd name="connsiteX34" fmla="*/ 947103 w 2159461"/>
                  <a:gd name="connsiteY34" fmla="*/ 2149968 h 2245842"/>
                  <a:gd name="connsiteX35" fmla="*/ 855873 w 2159461"/>
                  <a:gd name="connsiteY35" fmla="*/ 2117076 h 2245842"/>
                  <a:gd name="connsiteX36" fmla="*/ 815986 w 2159461"/>
                  <a:gd name="connsiteY36" fmla="*/ 2018256 h 2245842"/>
                  <a:gd name="connsiteX37" fmla="*/ 816135 w 2159461"/>
                  <a:gd name="connsiteY37" fmla="*/ 1532481 h 2245842"/>
                  <a:gd name="connsiteX38" fmla="*/ 807055 w 2159461"/>
                  <a:gd name="connsiteY38" fmla="*/ 1504649 h 2245842"/>
                  <a:gd name="connsiteX39" fmla="*/ 558064 w 2159461"/>
                  <a:gd name="connsiteY39" fmla="*/ 1155200 h 2245842"/>
                  <a:gd name="connsiteX40" fmla="*/ 623101 w 2159461"/>
                  <a:gd name="connsiteY40" fmla="*/ 1060396 h 2245842"/>
                  <a:gd name="connsiteX41" fmla="*/ 595566 w 2159461"/>
                  <a:gd name="connsiteY41" fmla="*/ 927937 h 2245842"/>
                  <a:gd name="connsiteX42" fmla="*/ 511628 w 2159461"/>
                  <a:gd name="connsiteY42" fmla="*/ 805301 h 2245842"/>
                  <a:gd name="connsiteX43" fmla="*/ 513415 w 2159461"/>
                  <a:gd name="connsiteY43" fmla="*/ 458827 h 2245842"/>
                  <a:gd name="connsiteX44" fmla="*/ 430665 w 2159461"/>
                  <a:gd name="connsiteY44" fmla="*/ 424594 h 2245842"/>
                  <a:gd name="connsiteX45" fmla="*/ 304608 w 2159461"/>
                  <a:gd name="connsiteY45" fmla="*/ 554073 h 2245842"/>
                  <a:gd name="connsiteX46" fmla="*/ 294934 w 2159461"/>
                  <a:gd name="connsiteY46" fmla="*/ 658997 h 2245842"/>
                  <a:gd name="connsiteX47" fmla="*/ 516688 w 2159461"/>
                  <a:gd name="connsiteY47" fmla="*/ 981807 h 2245842"/>
                  <a:gd name="connsiteX48" fmla="*/ 530084 w 2159461"/>
                  <a:gd name="connsiteY48" fmla="*/ 1037318 h 2245842"/>
                  <a:gd name="connsiteX49" fmla="*/ 498529 w 2159461"/>
                  <a:gd name="connsiteY49" fmla="*/ 1079884 h 2245842"/>
                  <a:gd name="connsiteX50" fmla="*/ 447033 w 2159461"/>
                  <a:gd name="connsiteY50" fmla="*/ 1094023 h 2245842"/>
                  <a:gd name="connsiteX51" fmla="*/ 400448 w 2159461"/>
                  <a:gd name="connsiteY51" fmla="*/ 1061432 h 2245842"/>
                  <a:gd name="connsiteX52" fmla="*/ 107852 w 2159461"/>
                  <a:gd name="connsiteY52" fmla="*/ 634750 h 2245842"/>
                  <a:gd name="connsiteX53" fmla="*/ 115445 w 2159461"/>
                  <a:gd name="connsiteY53" fmla="*/ 545154 h 2245842"/>
                  <a:gd name="connsiteX54" fmla="*/ 505970 w 2159461"/>
                  <a:gd name="connsiteY54" fmla="*/ 144075 h 2245842"/>
                  <a:gd name="connsiteX55" fmla="*/ 586190 w 2159461"/>
                  <a:gd name="connsiteY55" fmla="*/ 96004 h 2245842"/>
                  <a:gd name="connsiteX56" fmla="*/ 586212 w 2159461"/>
                  <a:gd name="connsiteY56" fmla="*/ 0 h 2245842"/>
                  <a:gd name="connsiteX57" fmla="*/ 437683 w 2159461"/>
                  <a:gd name="connsiteY57" fmla="*/ 77389 h 2245842"/>
                  <a:gd name="connsiteX58" fmla="*/ 47158 w 2159461"/>
                  <a:gd name="connsiteY58" fmla="*/ 478048 h 2245842"/>
                  <a:gd name="connsiteX59" fmla="*/ 29297 w 2159461"/>
                  <a:gd name="connsiteY59" fmla="*/ 688639 h 2245842"/>
                  <a:gd name="connsiteX60" fmla="*/ 321897 w 2159461"/>
                  <a:gd name="connsiteY60" fmla="*/ 1115930 h 2245842"/>
                  <a:gd name="connsiteX61" fmla="*/ 435455 w 2159461"/>
                  <a:gd name="connsiteY61" fmla="*/ 1189452 h 2245842"/>
                  <a:gd name="connsiteX62" fmla="*/ 464475 w 2159461"/>
                  <a:gd name="connsiteY62" fmla="*/ 1190343 h 2245842"/>
                  <a:gd name="connsiteX63" fmla="*/ 720161 w 2159461"/>
                  <a:gd name="connsiteY63" fmla="*/ 1547976 h 2245842"/>
                  <a:gd name="connsiteX64" fmla="*/ 720161 w 2159461"/>
                  <a:gd name="connsiteY64" fmla="*/ 2018283 h 2245842"/>
                  <a:gd name="connsiteX65" fmla="*/ 792044 w 2159461"/>
                  <a:gd name="connsiteY65" fmla="*/ 2188990 h 2245842"/>
                  <a:gd name="connsiteX66" fmla="*/ 947271 w 2159461"/>
                  <a:gd name="connsiteY66" fmla="*/ 2245843 h 2245842"/>
                  <a:gd name="connsiteX67" fmla="*/ 1102646 w 2159461"/>
                  <a:gd name="connsiteY67" fmla="*/ 2188990 h 2245842"/>
                  <a:gd name="connsiteX68" fmla="*/ 1174678 w 2159461"/>
                  <a:gd name="connsiteY68" fmla="*/ 2018283 h 2245842"/>
                  <a:gd name="connsiteX69" fmla="*/ 1174678 w 2159461"/>
                  <a:gd name="connsiteY69" fmla="*/ 1624481 h 2245842"/>
                  <a:gd name="connsiteX70" fmla="*/ 1548386 w 2159461"/>
                  <a:gd name="connsiteY70" fmla="*/ 2145994 h 2245842"/>
                  <a:gd name="connsiteX71" fmla="*/ 1706292 w 2159461"/>
                  <a:gd name="connsiteY71" fmla="*/ 2242882 h 2245842"/>
                  <a:gd name="connsiteX72" fmla="*/ 1865538 w 2159461"/>
                  <a:gd name="connsiteY72" fmla="*/ 2198980 h 2245842"/>
                  <a:gd name="connsiteX73" fmla="*/ 1958853 w 2159461"/>
                  <a:gd name="connsiteY73" fmla="*/ 2062505 h 2245842"/>
                  <a:gd name="connsiteX74" fmla="*/ 1918520 w 2159461"/>
                  <a:gd name="connsiteY74" fmla="*/ 1881976 h 2245842"/>
                  <a:gd name="connsiteX75" fmla="*/ 1268724 w 2159461"/>
                  <a:gd name="connsiteY75" fmla="*/ 971158 h 2245842"/>
                  <a:gd name="connsiteX76" fmla="*/ 1272893 w 2159461"/>
                  <a:gd name="connsiteY76" fmla="*/ 557696 h 2245842"/>
                  <a:gd name="connsiteX77" fmla="*/ 1407134 w 2159461"/>
                  <a:gd name="connsiteY77" fmla="*/ 688665 h 2245842"/>
                  <a:gd name="connsiteX78" fmla="*/ 1624719 w 2159461"/>
                  <a:gd name="connsiteY78" fmla="*/ 681373 h 2245842"/>
                  <a:gd name="connsiteX79" fmla="*/ 1850046 w 2159461"/>
                  <a:gd name="connsiteY79" fmla="*/ 509774 h 2245842"/>
                  <a:gd name="connsiteX80" fmla="*/ 1993067 w 2159461"/>
                  <a:gd name="connsiteY80" fmla="*/ 501293 h 2245842"/>
                  <a:gd name="connsiteX81" fmla="*/ 2115855 w 2159461"/>
                  <a:gd name="connsiteY81" fmla="*/ 464976 h 2245842"/>
                  <a:gd name="connsiteX82" fmla="*/ 2159460 w 2159461"/>
                  <a:gd name="connsiteY82" fmla="*/ 377910 h 2245842"/>
                  <a:gd name="connsiteX83" fmla="*/ 2119128 w 2159461"/>
                  <a:gd name="connsiteY83" fmla="*/ 288166 h 2245842"/>
                  <a:gd name="connsiteX84" fmla="*/ 2006760 w 2159461"/>
                  <a:gd name="connsiteY84" fmla="*/ 236372 h 2245842"/>
                  <a:gd name="connsiteX85" fmla="*/ 1858082 w 2159461"/>
                  <a:gd name="connsiteY85" fmla="*/ 201995 h 2245842"/>
                  <a:gd name="connsiteX86" fmla="*/ 1703750 w 2159461"/>
                  <a:gd name="connsiteY86" fmla="*/ 231610 h 2245842"/>
                  <a:gd name="connsiteX87" fmla="*/ 1522924 w 2159461"/>
                  <a:gd name="connsiteY87" fmla="*/ 354246 h 2245842"/>
                  <a:gd name="connsiteX88" fmla="*/ 1258308 w 2159461"/>
                  <a:gd name="connsiteY88" fmla="*/ 77873 h 2245842"/>
                  <a:gd name="connsiteX89" fmla="*/ 1093556 w 2159461"/>
                  <a:gd name="connsiteY89" fmla="*/ 34 h 2245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</a:cxnLst>
                <a:rect l="l" t="t" r="r" b="b"/>
                <a:pathLst>
                  <a:path w="2159461" h="2245842">
                    <a:moveTo>
                      <a:pt x="416846" y="576548"/>
                    </a:moveTo>
                    <a:lnTo>
                      <a:pt x="416401" y="666144"/>
                    </a:lnTo>
                    <a:lnTo>
                      <a:pt x="380533" y="613608"/>
                    </a:lnTo>
                    <a:close/>
                    <a:moveTo>
                      <a:pt x="586212" y="95993"/>
                    </a:moveTo>
                    <a:lnTo>
                      <a:pt x="1094009" y="95993"/>
                    </a:lnTo>
                    <a:cubicBezTo>
                      <a:pt x="1146545" y="95993"/>
                      <a:pt x="1155773" y="109092"/>
                      <a:pt x="1189259" y="144064"/>
                    </a:cubicBezTo>
                    <a:lnTo>
                      <a:pt x="1464890" y="432046"/>
                    </a:lnTo>
                    <a:cubicBezTo>
                      <a:pt x="1481707" y="449458"/>
                      <a:pt x="1507009" y="455859"/>
                      <a:pt x="1525762" y="454072"/>
                    </a:cubicBezTo>
                    <a:cubicBezTo>
                      <a:pt x="1544664" y="452285"/>
                      <a:pt x="1559546" y="445442"/>
                      <a:pt x="1572046" y="436958"/>
                    </a:cubicBezTo>
                    <a:lnTo>
                      <a:pt x="1757635" y="311048"/>
                    </a:lnTo>
                    <a:cubicBezTo>
                      <a:pt x="1785018" y="292593"/>
                      <a:pt x="1800795" y="287236"/>
                      <a:pt x="1836365" y="295420"/>
                    </a:cubicBezTo>
                    <a:lnTo>
                      <a:pt x="2022400" y="340961"/>
                    </a:lnTo>
                    <a:cubicBezTo>
                      <a:pt x="2083718" y="355995"/>
                      <a:pt x="2058118" y="401384"/>
                      <a:pt x="2023889" y="403468"/>
                    </a:cubicBezTo>
                    <a:lnTo>
                      <a:pt x="1829815" y="414928"/>
                    </a:lnTo>
                    <a:cubicBezTo>
                      <a:pt x="1820290" y="415374"/>
                      <a:pt x="1811063" y="418650"/>
                      <a:pt x="1803325" y="424602"/>
                    </a:cubicBezTo>
                    <a:lnTo>
                      <a:pt x="1563264" y="607364"/>
                    </a:lnTo>
                    <a:cubicBezTo>
                      <a:pt x="1526650" y="635196"/>
                      <a:pt x="1489743" y="635344"/>
                      <a:pt x="1467717" y="613764"/>
                    </a:cubicBezTo>
                    <a:lnTo>
                      <a:pt x="1259356" y="410467"/>
                    </a:lnTo>
                    <a:cubicBezTo>
                      <a:pt x="1229142" y="380851"/>
                      <a:pt x="1178245" y="401833"/>
                      <a:pt x="1177799" y="444101"/>
                    </a:cubicBezTo>
                    <a:lnTo>
                      <a:pt x="1172438" y="985693"/>
                    </a:lnTo>
                    <a:cubicBezTo>
                      <a:pt x="1172290" y="995812"/>
                      <a:pt x="1175265" y="1005486"/>
                      <a:pt x="1181220" y="1013971"/>
                    </a:cubicBezTo>
                    <a:lnTo>
                      <a:pt x="1840236" y="1937438"/>
                    </a:lnTo>
                    <a:cubicBezTo>
                      <a:pt x="1868068" y="1976430"/>
                      <a:pt x="1872084" y="2010217"/>
                      <a:pt x="1864940" y="2041025"/>
                    </a:cubicBezTo>
                    <a:cubicBezTo>
                      <a:pt x="1857796" y="2071981"/>
                      <a:pt x="1837409" y="2101002"/>
                      <a:pt x="1809577" y="2120798"/>
                    </a:cubicBezTo>
                    <a:cubicBezTo>
                      <a:pt x="1781749" y="2140595"/>
                      <a:pt x="1747664" y="2150562"/>
                      <a:pt x="1716114" y="2147141"/>
                    </a:cubicBezTo>
                    <a:cubicBezTo>
                      <a:pt x="1684563" y="2143868"/>
                      <a:pt x="1654201" y="2129131"/>
                      <a:pt x="1626369" y="2090139"/>
                    </a:cubicBezTo>
                    <a:lnTo>
                      <a:pt x="1174808" y="1459699"/>
                    </a:lnTo>
                    <a:lnTo>
                      <a:pt x="1174808" y="1394662"/>
                    </a:lnTo>
                    <a:cubicBezTo>
                      <a:pt x="1174808" y="1384543"/>
                      <a:pt x="1171535" y="1374869"/>
                      <a:pt x="1165733" y="1366681"/>
                    </a:cubicBezTo>
                    <a:lnTo>
                      <a:pt x="966748" y="1102363"/>
                    </a:lnTo>
                    <a:cubicBezTo>
                      <a:pt x="928648" y="1051465"/>
                      <a:pt x="884444" y="1097749"/>
                      <a:pt x="910192" y="1138680"/>
                    </a:cubicBezTo>
                    <a:lnTo>
                      <a:pt x="1078815" y="1410138"/>
                    </a:lnTo>
                    <a:lnTo>
                      <a:pt x="1078815" y="2018256"/>
                    </a:lnTo>
                    <a:cubicBezTo>
                      <a:pt x="1078815" y="2066174"/>
                      <a:pt x="1062443" y="2095794"/>
                      <a:pt x="1038631" y="2117076"/>
                    </a:cubicBezTo>
                    <a:cubicBezTo>
                      <a:pt x="1015116" y="2138210"/>
                      <a:pt x="981332" y="2149968"/>
                      <a:pt x="947103" y="2149968"/>
                    </a:cubicBezTo>
                    <a:cubicBezTo>
                      <a:pt x="912870" y="2149968"/>
                      <a:pt x="879537" y="2138210"/>
                      <a:pt x="855873" y="2117076"/>
                    </a:cubicBezTo>
                    <a:cubicBezTo>
                      <a:pt x="832358" y="2095946"/>
                      <a:pt x="815986" y="2066178"/>
                      <a:pt x="815986" y="2018256"/>
                    </a:cubicBezTo>
                    <a:lnTo>
                      <a:pt x="816135" y="1532481"/>
                    </a:lnTo>
                    <a:cubicBezTo>
                      <a:pt x="816135" y="1522507"/>
                      <a:pt x="812858" y="1512833"/>
                      <a:pt x="807055" y="1504649"/>
                    </a:cubicBezTo>
                    <a:lnTo>
                      <a:pt x="558064" y="1155200"/>
                    </a:lnTo>
                    <a:cubicBezTo>
                      <a:pt x="589318" y="1131982"/>
                      <a:pt x="613576" y="1098941"/>
                      <a:pt x="623101" y="1060396"/>
                    </a:cubicBezTo>
                    <a:cubicBezTo>
                      <a:pt x="632923" y="1020509"/>
                      <a:pt x="625928" y="971992"/>
                      <a:pt x="595566" y="927937"/>
                    </a:cubicBezTo>
                    <a:lnTo>
                      <a:pt x="511628" y="805301"/>
                    </a:lnTo>
                    <a:lnTo>
                      <a:pt x="513415" y="458827"/>
                    </a:lnTo>
                    <a:cubicBezTo>
                      <a:pt x="513861" y="415221"/>
                      <a:pt x="461027" y="393341"/>
                      <a:pt x="430665" y="424594"/>
                    </a:cubicBezTo>
                    <a:lnTo>
                      <a:pt x="304608" y="554073"/>
                    </a:lnTo>
                    <a:cubicBezTo>
                      <a:pt x="277073" y="582054"/>
                      <a:pt x="272611" y="626551"/>
                      <a:pt x="294934" y="658997"/>
                    </a:cubicBezTo>
                    <a:lnTo>
                      <a:pt x="516688" y="981807"/>
                    </a:lnTo>
                    <a:cubicBezTo>
                      <a:pt x="530084" y="1001603"/>
                      <a:pt x="533654" y="1020798"/>
                      <a:pt x="530084" y="1037318"/>
                    </a:cubicBezTo>
                    <a:cubicBezTo>
                      <a:pt x="526807" y="1052353"/>
                      <a:pt x="514901" y="1068576"/>
                      <a:pt x="498529" y="1079884"/>
                    </a:cubicBezTo>
                    <a:cubicBezTo>
                      <a:pt x="482459" y="1090898"/>
                      <a:pt x="462365" y="1095809"/>
                      <a:pt x="447033" y="1094023"/>
                    </a:cubicBezTo>
                    <a:cubicBezTo>
                      <a:pt x="430513" y="1091790"/>
                      <a:pt x="418458" y="1087477"/>
                      <a:pt x="400448" y="1061432"/>
                    </a:cubicBezTo>
                    <a:lnTo>
                      <a:pt x="107852" y="634750"/>
                    </a:lnTo>
                    <a:cubicBezTo>
                      <a:pt x="83593" y="599031"/>
                      <a:pt x="95351" y="565991"/>
                      <a:pt x="115445" y="545154"/>
                    </a:cubicBezTo>
                    <a:lnTo>
                      <a:pt x="505970" y="144075"/>
                    </a:lnTo>
                    <a:cubicBezTo>
                      <a:pt x="536328" y="113565"/>
                      <a:pt x="548833" y="96004"/>
                      <a:pt x="586190" y="96004"/>
                    </a:cubicBezTo>
                    <a:close/>
                    <a:moveTo>
                      <a:pt x="586212" y="0"/>
                    </a:moveTo>
                    <a:cubicBezTo>
                      <a:pt x="510755" y="0"/>
                      <a:pt x="464917" y="49560"/>
                      <a:pt x="437683" y="77389"/>
                    </a:cubicBezTo>
                    <a:lnTo>
                      <a:pt x="47158" y="478048"/>
                    </a:lnTo>
                    <a:cubicBezTo>
                      <a:pt x="-11779" y="538471"/>
                      <a:pt x="-12819" y="627324"/>
                      <a:pt x="29297" y="688639"/>
                    </a:cubicBezTo>
                    <a:lnTo>
                      <a:pt x="321897" y="1115930"/>
                    </a:lnTo>
                    <a:cubicBezTo>
                      <a:pt x="352107" y="1159833"/>
                      <a:pt x="394821" y="1184243"/>
                      <a:pt x="435455" y="1189452"/>
                    </a:cubicBezTo>
                    <a:cubicBezTo>
                      <a:pt x="444233" y="1190492"/>
                      <a:pt x="455693" y="1190492"/>
                      <a:pt x="464475" y="1190343"/>
                    </a:cubicBezTo>
                    <a:lnTo>
                      <a:pt x="720161" y="1547976"/>
                    </a:lnTo>
                    <a:lnTo>
                      <a:pt x="720161" y="2018283"/>
                    </a:lnTo>
                    <a:cubicBezTo>
                      <a:pt x="720161" y="2090166"/>
                      <a:pt x="748438" y="2150143"/>
                      <a:pt x="792044" y="2188990"/>
                    </a:cubicBezTo>
                    <a:cubicBezTo>
                      <a:pt x="835501" y="2227833"/>
                      <a:pt x="891611" y="2245843"/>
                      <a:pt x="947271" y="2245843"/>
                    </a:cubicBezTo>
                    <a:cubicBezTo>
                      <a:pt x="1002783" y="2245843"/>
                      <a:pt x="1059041" y="2227837"/>
                      <a:pt x="1102646" y="2188990"/>
                    </a:cubicBezTo>
                    <a:cubicBezTo>
                      <a:pt x="1146103" y="2150147"/>
                      <a:pt x="1174678" y="2090166"/>
                      <a:pt x="1174678" y="2018283"/>
                    </a:cubicBezTo>
                    <a:lnTo>
                      <a:pt x="1174678" y="1624481"/>
                    </a:lnTo>
                    <a:lnTo>
                      <a:pt x="1548386" y="2145994"/>
                    </a:lnTo>
                    <a:cubicBezTo>
                      <a:pt x="1590060" y="2204485"/>
                      <a:pt x="1648250" y="2236630"/>
                      <a:pt x="1706292" y="2242882"/>
                    </a:cubicBezTo>
                    <a:cubicBezTo>
                      <a:pt x="1764036" y="2248986"/>
                      <a:pt x="1820443" y="2231426"/>
                      <a:pt x="1865538" y="2198980"/>
                    </a:cubicBezTo>
                    <a:cubicBezTo>
                      <a:pt x="1910782" y="2166835"/>
                      <a:pt x="1945757" y="2119206"/>
                      <a:pt x="1958853" y="2062505"/>
                    </a:cubicBezTo>
                    <a:cubicBezTo>
                      <a:pt x="1971799" y="2005653"/>
                      <a:pt x="1960190" y="1940319"/>
                      <a:pt x="1918520" y="1881976"/>
                    </a:cubicBezTo>
                    <a:lnTo>
                      <a:pt x="1268724" y="971158"/>
                    </a:lnTo>
                    <a:lnTo>
                      <a:pt x="1272893" y="557696"/>
                    </a:lnTo>
                    <a:lnTo>
                      <a:pt x="1407134" y="688665"/>
                    </a:lnTo>
                    <a:cubicBezTo>
                      <a:pt x="1466513" y="746261"/>
                      <a:pt x="1559088" y="731231"/>
                      <a:pt x="1624719" y="681373"/>
                    </a:cubicBezTo>
                    <a:lnTo>
                      <a:pt x="1850046" y="509774"/>
                    </a:lnTo>
                    <a:lnTo>
                      <a:pt x="1993067" y="501293"/>
                    </a:lnTo>
                    <a:cubicBezTo>
                      <a:pt x="2046201" y="501293"/>
                      <a:pt x="2087280" y="487600"/>
                      <a:pt x="2115855" y="464976"/>
                    </a:cubicBezTo>
                    <a:cubicBezTo>
                      <a:pt x="2143089" y="443099"/>
                      <a:pt x="2159312" y="409167"/>
                      <a:pt x="2159460" y="377910"/>
                    </a:cubicBezTo>
                    <a:cubicBezTo>
                      <a:pt x="2159609" y="347106"/>
                      <a:pt x="2146065" y="312424"/>
                      <a:pt x="2119128" y="288166"/>
                    </a:cubicBezTo>
                    <a:cubicBezTo>
                      <a:pt x="2092485" y="263907"/>
                      <a:pt x="2055577" y="247536"/>
                      <a:pt x="2006760" y="236372"/>
                    </a:cubicBezTo>
                    <a:lnTo>
                      <a:pt x="1858082" y="201995"/>
                    </a:lnTo>
                    <a:cubicBezTo>
                      <a:pt x="1799149" y="188302"/>
                      <a:pt x="1744974" y="203633"/>
                      <a:pt x="1703750" y="231610"/>
                    </a:cubicBezTo>
                    <a:lnTo>
                      <a:pt x="1522924" y="354246"/>
                    </a:lnTo>
                    <a:lnTo>
                      <a:pt x="1258308" y="77873"/>
                    </a:lnTo>
                    <a:cubicBezTo>
                      <a:pt x="1222140" y="39925"/>
                      <a:pt x="1172137" y="34"/>
                      <a:pt x="1093556" y="34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381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7CDAFB8D-C4C9-EE0F-2099-8647F7A044EF}"/>
                  </a:ext>
                </a:extLst>
              </p:cNvPr>
              <p:cNvSpPr/>
              <p:nvPr/>
            </p:nvSpPr>
            <p:spPr>
              <a:xfrm>
                <a:off x="6712107" y="3176937"/>
                <a:ext cx="766018" cy="766144"/>
              </a:xfrm>
              <a:custGeom>
                <a:avLst/>
                <a:gdLst>
                  <a:gd name="connsiteX0" fmla="*/ 276994 w 766018"/>
                  <a:gd name="connsiteY0" fmla="*/ 115893 h 766144"/>
                  <a:gd name="connsiteX1" fmla="*/ 496515 w 766018"/>
                  <a:gd name="connsiteY1" fmla="*/ 119463 h 766144"/>
                  <a:gd name="connsiteX2" fmla="*/ 646385 w 766018"/>
                  <a:gd name="connsiteY2" fmla="*/ 496889 h 766144"/>
                  <a:gd name="connsiteX3" fmla="*/ 268658 w 766018"/>
                  <a:gd name="connsiteY3" fmla="*/ 646611 h 766144"/>
                  <a:gd name="connsiteX4" fmla="*/ 119234 w 766018"/>
                  <a:gd name="connsiteY4" fmla="*/ 269337 h 766144"/>
                  <a:gd name="connsiteX5" fmla="*/ 276990 w 766018"/>
                  <a:gd name="connsiteY5" fmla="*/ 115897 h 766144"/>
                  <a:gd name="connsiteX6" fmla="*/ 241721 w 766018"/>
                  <a:gd name="connsiteY6" fmla="*/ 27192 h 766144"/>
                  <a:gd name="connsiteX7" fmla="*/ 31428 w 766018"/>
                  <a:gd name="connsiteY7" fmla="*/ 231088 h 766144"/>
                  <a:gd name="connsiteX8" fmla="*/ 230710 w 766018"/>
                  <a:gd name="connsiteY8" fmla="*/ 734884 h 766144"/>
                  <a:gd name="connsiteX9" fmla="*/ 734773 w 766018"/>
                  <a:gd name="connsiteY9" fmla="*/ 534414 h 766144"/>
                  <a:gd name="connsiteX10" fmla="*/ 534600 w 766018"/>
                  <a:gd name="connsiteY10" fmla="*/ 31075 h 766144"/>
                  <a:gd name="connsiteX11" fmla="*/ 241706 w 766018"/>
                  <a:gd name="connsiteY11" fmla="*/ 27204 h 766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66018" h="766144">
                    <a:moveTo>
                      <a:pt x="276994" y="115893"/>
                    </a:moveTo>
                    <a:cubicBezTo>
                      <a:pt x="345159" y="88808"/>
                      <a:pt x="423592" y="87912"/>
                      <a:pt x="496515" y="119463"/>
                    </a:cubicBezTo>
                    <a:cubicBezTo>
                      <a:pt x="643112" y="182568"/>
                      <a:pt x="709486" y="350741"/>
                      <a:pt x="646385" y="496889"/>
                    </a:cubicBezTo>
                    <a:cubicBezTo>
                      <a:pt x="583284" y="643342"/>
                      <a:pt x="415107" y="709716"/>
                      <a:pt x="268658" y="646611"/>
                    </a:cubicBezTo>
                    <a:cubicBezTo>
                      <a:pt x="122659" y="583810"/>
                      <a:pt x="56281" y="415035"/>
                      <a:pt x="119234" y="269337"/>
                    </a:cubicBezTo>
                    <a:cubicBezTo>
                      <a:pt x="151081" y="196112"/>
                      <a:pt x="208830" y="142978"/>
                      <a:pt x="276990" y="115897"/>
                    </a:cubicBezTo>
                    <a:close/>
                    <a:moveTo>
                      <a:pt x="241721" y="27192"/>
                    </a:moveTo>
                    <a:cubicBezTo>
                      <a:pt x="150342" y="63357"/>
                      <a:pt x="73247" y="134348"/>
                      <a:pt x="31428" y="231088"/>
                    </a:cubicBezTo>
                    <a:cubicBezTo>
                      <a:pt x="-52361" y="424712"/>
                      <a:pt x="37235" y="651369"/>
                      <a:pt x="230710" y="734884"/>
                    </a:cubicBezTo>
                    <a:cubicBezTo>
                      <a:pt x="424784" y="818525"/>
                      <a:pt x="651144" y="728484"/>
                      <a:pt x="734773" y="534414"/>
                    </a:cubicBezTo>
                    <a:cubicBezTo>
                      <a:pt x="818266" y="340938"/>
                      <a:pt x="728674" y="114552"/>
                      <a:pt x="534600" y="31075"/>
                    </a:cubicBezTo>
                    <a:cubicBezTo>
                      <a:pt x="437712" y="-10447"/>
                      <a:pt x="332788" y="-8961"/>
                      <a:pt x="241706" y="27204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381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11A70BEC-F081-A71F-5305-9C388F2A53DA}"/>
                  </a:ext>
                </a:extLst>
              </p:cNvPr>
              <p:cNvSpPr/>
              <p:nvPr/>
            </p:nvSpPr>
            <p:spPr>
              <a:xfrm>
                <a:off x="6674556" y="5349450"/>
                <a:ext cx="277260" cy="757141"/>
              </a:xfrm>
              <a:custGeom>
                <a:avLst/>
                <a:gdLst>
                  <a:gd name="connsiteX0" fmla="*/ 46093 w 277260"/>
                  <a:gd name="connsiteY0" fmla="*/ 18 h 757141"/>
                  <a:gd name="connsiteX1" fmla="*/ 9483 w 277260"/>
                  <a:gd name="connsiteY1" fmla="*/ 76515 h 757141"/>
                  <a:gd name="connsiteX2" fmla="*/ 101159 w 277260"/>
                  <a:gd name="connsiteY2" fmla="*/ 202870 h 757141"/>
                  <a:gd name="connsiteX3" fmla="*/ 7250 w 277260"/>
                  <a:gd name="connsiteY3" fmla="*/ 697141 h 757141"/>
                  <a:gd name="connsiteX4" fmla="*/ 44752 w 277260"/>
                  <a:gd name="connsiteY4" fmla="*/ 756226 h 757141"/>
                  <a:gd name="connsiteX5" fmla="*/ 101456 w 277260"/>
                  <a:gd name="connsiteY5" fmla="*/ 715300 h 757141"/>
                  <a:gd name="connsiteX6" fmla="*/ 130183 w 277260"/>
                  <a:gd name="connsiteY6" fmla="*/ 565281 h 757141"/>
                  <a:gd name="connsiteX7" fmla="*/ 227369 w 277260"/>
                  <a:gd name="connsiteY7" fmla="*/ 565281 h 757141"/>
                  <a:gd name="connsiteX8" fmla="*/ 227369 w 277260"/>
                  <a:gd name="connsiteY8" fmla="*/ 469436 h 757141"/>
                  <a:gd name="connsiteX9" fmla="*/ 148189 w 277260"/>
                  <a:gd name="connsiteY9" fmla="*/ 469436 h 757141"/>
                  <a:gd name="connsiteX10" fmla="*/ 199388 w 277260"/>
                  <a:gd name="connsiteY10" fmla="*/ 200207 h 757141"/>
                  <a:gd name="connsiteX11" fmla="*/ 190907 w 277260"/>
                  <a:gd name="connsiteY11" fmla="*/ 163299 h 757141"/>
                  <a:gd name="connsiteX12" fmla="*/ 87321 w 277260"/>
                  <a:gd name="connsiteY12" fmla="*/ 20275 h 757141"/>
                  <a:gd name="connsiteX13" fmla="*/ 46097 w 277260"/>
                  <a:gd name="connsiteY13" fmla="*/ 33 h 7571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77260" h="757141">
                    <a:moveTo>
                      <a:pt x="46093" y="18"/>
                    </a:moveTo>
                    <a:cubicBezTo>
                      <a:pt x="7696" y="1507"/>
                      <a:pt x="-13438" y="45559"/>
                      <a:pt x="9483" y="76515"/>
                    </a:cubicBezTo>
                    <a:lnTo>
                      <a:pt x="101159" y="202870"/>
                    </a:lnTo>
                    <a:lnTo>
                      <a:pt x="7250" y="697141"/>
                    </a:lnTo>
                    <a:cubicBezTo>
                      <a:pt x="403" y="723781"/>
                      <a:pt x="17666" y="751018"/>
                      <a:pt x="44752" y="756226"/>
                    </a:cubicBezTo>
                    <a:cubicBezTo>
                      <a:pt x="71841" y="761583"/>
                      <a:pt x="97882" y="742831"/>
                      <a:pt x="101456" y="715300"/>
                    </a:cubicBezTo>
                    <a:lnTo>
                      <a:pt x="130183" y="565281"/>
                    </a:lnTo>
                    <a:lnTo>
                      <a:pt x="227369" y="565281"/>
                    </a:lnTo>
                    <a:cubicBezTo>
                      <a:pt x="293891" y="567662"/>
                      <a:pt x="293891" y="466758"/>
                      <a:pt x="227369" y="469436"/>
                    </a:cubicBezTo>
                    <a:lnTo>
                      <a:pt x="148189" y="469436"/>
                    </a:lnTo>
                    <a:lnTo>
                      <a:pt x="199388" y="200207"/>
                    </a:lnTo>
                    <a:cubicBezTo>
                      <a:pt x="201621" y="187112"/>
                      <a:pt x="198645" y="174013"/>
                      <a:pt x="190907" y="163299"/>
                    </a:cubicBezTo>
                    <a:lnTo>
                      <a:pt x="87321" y="20275"/>
                    </a:lnTo>
                    <a:cubicBezTo>
                      <a:pt x="77944" y="6879"/>
                      <a:pt x="62316" y="-561"/>
                      <a:pt x="46097" y="33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381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FE9B2C68-F7AB-A142-1E00-D6011A853AB3}"/>
                </a:ext>
              </a:extLst>
            </p:cNvPr>
            <p:cNvGrpSpPr/>
            <p:nvPr/>
          </p:nvGrpSpPr>
          <p:grpSpPr>
            <a:xfrm>
              <a:off x="10007743" y="1567100"/>
              <a:ext cx="230854" cy="248769"/>
              <a:chOff x="8562537" y="1789241"/>
              <a:chExt cx="550323" cy="593032"/>
            </a:xfrm>
            <a:solidFill>
              <a:schemeClr val="accent3"/>
            </a:solidFill>
          </p:grpSpPr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3A08E099-A7DD-E757-4A30-15C13AD921F1}"/>
                  </a:ext>
                </a:extLst>
              </p:cNvPr>
              <p:cNvSpPr/>
              <p:nvPr/>
            </p:nvSpPr>
            <p:spPr>
              <a:xfrm>
                <a:off x="8572410" y="1789241"/>
                <a:ext cx="540450" cy="418908"/>
              </a:xfrm>
              <a:custGeom>
                <a:avLst/>
                <a:gdLst>
                  <a:gd name="connsiteX0" fmla="*/ 140480 w 540450"/>
                  <a:gd name="connsiteY0" fmla="*/ 377641 h 418908"/>
                  <a:gd name="connsiteX1" fmla="*/ 143802 w 540450"/>
                  <a:gd name="connsiteY1" fmla="*/ 377641 h 418908"/>
                  <a:gd name="connsiteX2" fmla="*/ 282622 w 540450"/>
                  <a:gd name="connsiteY2" fmla="*/ 418888 h 418908"/>
                  <a:gd name="connsiteX3" fmla="*/ 384896 w 540450"/>
                  <a:gd name="connsiteY3" fmla="*/ 398188 h 418908"/>
                  <a:gd name="connsiteX4" fmla="*/ 524058 w 540450"/>
                  <a:gd name="connsiteY4" fmla="*/ 359005 h 418908"/>
                  <a:gd name="connsiteX5" fmla="*/ 498509 w 540450"/>
                  <a:gd name="connsiteY5" fmla="*/ 216705 h 418908"/>
                  <a:gd name="connsiteX6" fmla="*/ 505727 w 540450"/>
                  <a:gd name="connsiteY6" fmla="*/ 172327 h 418908"/>
                  <a:gd name="connsiteX7" fmla="*/ 469981 w 540450"/>
                  <a:gd name="connsiteY7" fmla="*/ 79296 h 418908"/>
                  <a:gd name="connsiteX8" fmla="*/ 381456 w 540450"/>
                  <a:gd name="connsiteY8" fmla="*/ 33505 h 418908"/>
                  <a:gd name="connsiteX9" fmla="*/ 284872 w 540450"/>
                  <a:gd name="connsiteY9" fmla="*/ 58138 h 418908"/>
                  <a:gd name="connsiteX10" fmla="*/ 164188 w 540450"/>
                  <a:gd name="connsiteY10" fmla="*/ 2991 h 418908"/>
                  <a:gd name="connsiteX11" fmla="*/ 81812 w 540450"/>
                  <a:gd name="connsiteY11" fmla="*/ 107025 h 418908"/>
                  <a:gd name="connsiteX12" fmla="*/ 81812 w 540450"/>
                  <a:gd name="connsiteY12" fmla="*/ 110157 h 418908"/>
                  <a:gd name="connsiteX13" fmla="*/ 3254 w 540450"/>
                  <a:gd name="connsiteY13" fmla="*/ 267543 h 418908"/>
                  <a:gd name="connsiteX14" fmla="*/ 140470 w 540450"/>
                  <a:gd name="connsiteY14" fmla="*/ 377648 h 418908"/>
                  <a:gd name="connsiteX15" fmla="*/ 95607 w 540450"/>
                  <a:gd name="connsiteY15" fmla="*/ 125509 h 418908"/>
                  <a:gd name="connsiteX16" fmla="*/ 101755 w 540450"/>
                  <a:gd name="connsiteY16" fmla="*/ 115733 h 418908"/>
                  <a:gd name="connsiteX17" fmla="*/ 101755 w 540450"/>
                  <a:gd name="connsiteY17" fmla="*/ 106949 h 418908"/>
                  <a:gd name="connsiteX18" fmla="*/ 101755 w 540450"/>
                  <a:gd name="connsiteY18" fmla="*/ 106911 h 418908"/>
                  <a:gd name="connsiteX19" fmla="*/ 174241 w 540450"/>
                  <a:gd name="connsiteY19" fmla="*/ 20371 h 418908"/>
                  <a:gd name="connsiteX20" fmla="*/ 272272 w 540450"/>
                  <a:gd name="connsiteY20" fmla="*/ 76435 h 418908"/>
                  <a:gd name="connsiteX21" fmla="*/ 279032 w 540450"/>
                  <a:gd name="connsiteY21" fmla="*/ 82468 h 418908"/>
                  <a:gd name="connsiteX22" fmla="*/ 287816 w 540450"/>
                  <a:gd name="connsiteY22" fmla="*/ 80444 h 418908"/>
                  <a:gd name="connsiteX23" fmla="*/ 416556 w 540450"/>
                  <a:gd name="connsiteY23" fmla="*/ 62724 h 418908"/>
                  <a:gd name="connsiteX24" fmla="*/ 486559 w 540450"/>
                  <a:gd name="connsiteY24" fmla="*/ 172253 h 418908"/>
                  <a:gd name="connsiteX25" fmla="*/ 478081 w 540450"/>
                  <a:gd name="connsiteY25" fmla="*/ 216707 h 418908"/>
                  <a:gd name="connsiteX26" fmla="*/ 481900 w 540450"/>
                  <a:gd name="connsiteY26" fmla="*/ 228545 h 418908"/>
                  <a:gd name="connsiteX27" fmla="*/ 510925 w 540450"/>
                  <a:gd name="connsiteY27" fmla="*/ 349689 h 418908"/>
                  <a:gd name="connsiteX28" fmla="*/ 389782 w 540450"/>
                  <a:gd name="connsiteY28" fmla="*/ 378714 h 418908"/>
                  <a:gd name="connsiteX29" fmla="*/ 380768 w 540450"/>
                  <a:gd name="connsiteY29" fmla="*/ 378714 h 418908"/>
                  <a:gd name="connsiteX30" fmla="*/ 283001 w 540450"/>
                  <a:gd name="connsiteY30" fmla="*/ 399642 h 418908"/>
                  <a:gd name="connsiteX31" fmla="*/ 152814 w 540450"/>
                  <a:gd name="connsiteY31" fmla="*/ 360535 h 418908"/>
                  <a:gd name="connsiteX32" fmla="*/ 147124 w 540450"/>
                  <a:gd name="connsiteY32" fmla="*/ 358664 h 418908"/>
                  <a:gd name="connsiteX33" fmla="*/ 141357 w 540450"/>
                  <a:gd name="connsiteY33" fmla="*/ 358664 h 418908"/>
                  <a:gd name="connsiteX34" fmla="*/ 23010 w 540450"/>
                  <a:gd name="connsiteY34" fmla="*/ 260897 h 418908"/>
                  <a:gd name="connsiteX35" fmla="*/ 96488 w 540450"/>
                  <a:gd name="connsiteY35" fmla="*/ 126085 h 418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540450" h="418908">
                    <a:moveTo>
                      <a:pt x="140480" y="377641"/>
                    </a:moveTo>
                    <a:lnTo>
                      <a:pt x="143802" y="377641"/>
                    </a:lnTo>
                    <a:cubicBezTo>
                      <a:pt x="184818" y="405139"/>
                      <a:pt x="233243" y="419537"/>
                      <a:pt x="282622" y="418888"/>
                    </a:cubicBezTo>
                    <a:cubicBezTo>
                      <a:pt x="317796" y="419078"/>
                      <a:pt x="352586" y="412014"/>
                      <a:pt x="384896" y="398188"/>
                    </a:cubicBezTo>
                    <a:cubicBezTo>
                      <a:pt x="434467" y="422897"/>
                      <a:pt x="494659" y="405941"/>
                      <a:pt x="524058" y="359005"/>
                    </a:cubicBezTo>
                    <a:cubicBezTo>
                      <a:pt x="553426" y="312069"/>
                      <a:pt x="542390" y="250503"/>
                      <a:pt x="498509" y="216705"/>
                    </a:cubicBezTo>
                    <a:cubicBezTo>
                      <a:pt x="503321" y="202422"/>
                      <a:pt x="505765" y="187413"/>
                      <a:pt x="505727" y="172327"/>
                    </a:cubicBezTo>
                    <a:cubicBezTo>
                      <a:pt x="505612" y="137994"/>
                      <a:pt x="492895" y="104883"/>
                      <a:pt x="469981" y="79296"/>
                    </a:cubicBezTo>
                    <a:cubicBezTo>
                      <a:pt x="447066" y="53708"/>
                      <a:pt x="415560" y="37400"/>
                      <a:pt x="381456" y="33505"/>
                    </a:cubicBezTo>
                    <a:cubicBezTo>
                      <a:pt x="347352" y="29610"/>
                      <a:pt x="312980" y="38394"/>
                      <a:pt x="284872" y="58138"/>
                    </a:cubicBezTo>
                    <a:cubicBezTo>
                      <a:pt x="262149" y="14181"/>
                      <a:pt x="212310" y="-8580"/>
                      <a:pt x="164188" y="2991"/>
                    </a:cubicBezTo>
                    <a:cubicBezTo>
                      <a:pt x="116066" y="14563"/>
                      <a:pt x="82041" y="57527"/>
                      <a:pt x="81812" y="107025"/>
                    </a:cubicBezTo>
                    <a:lnTo>
                      <a:pt x="81812" y="110157"/>
                    </a:lnTo>
                    <a:cubicBezTo>
                      <a:pt x="21853" y="137616"/>
                      <a:pt x="-10839" y="203150"/>
                      <a:pt x="3254" y="267543"/>
                    </a:cubicBezTo>
                    <a:cubicBezTo>
                      <a:pt x="17384" y="331969"/>
                      <a:pt x="74517" y="377795"/>
                      <a:pt x="140470" y="377648"/>
                    </a:cubicBezTo>
                    <a:close/>
                    <a:moveTo>
                      <a:pt x="95607" y="125509"/>
                    </a:moveTo>
                    <a:cubicBezTo>
                      <a:pt x="99578" y="123943"/>
                      <a:pt x="102061" y="119972"/>
                      <a:pt x="101755" y="115733"/>
                    </a:cubicBezTo>
                    <a:lnTo>
                      <a:pt x="101755" y="106949"/>
                    </a:lnTo>
                    <a:lnTo>
                      <a:pt x="101755" y="106911"/>
                    </a:lnTo>
                    <a:cubicBezTo>
                      <a:pt x="101793" y="64329"/>
                      <a:pt x="132307" y="27857"/>
                      <a:pt x="174241" y="20371"/>
                    </a:cubicBezTo>
                    <a:cubicBezTo>
                      <a:pt x="216212" y="12847"/>
                      <a:pt x="257496" y="36487"/>
                      <a:pt x="272272" y="76435"/>
                    </a:cubicBezTo>
                    <a:cubicBezTo>
                      <a:pt x="273380" y="79413"/>
                      <a:pt x="275900" y="81705"/>
                      <a:pt x="279032" y="82468"/>
                    </a:cubicBezTo>
                    <a:cubicBezTo>
                      <a:pt x="282087" y="83271"/>
                      <a:pt x="285410" y="82506"/>
                      <a:pt x="287816" y="80444"/>
                    </a:cubicBezTo>
                    <a:cubicBezTo>
                      <a:pt x="323601" y="49930"/>
                      <a:pt x="373859" y="43018"/>
                      <a:pt x="416556" y="62724"/>
                    </a:cubicBezTo>
                    <a:cubicBezTo>
                      <a:pt x="459291" y="82430"/>
                      <a:pt x="486598" y="125203"/>
                      <a:pt x="486559" y="172253"/>
                    </a:cubicBezTo>
                    <a:cubicBezTo>
                      <a:pt x="486636" y="187491"/>
                      <a:pt x="483733" y="202576"/>
                      <a:pt x="478081" y="216707"/>
                    </a:cubicBezTo>
                    <a:cubicBezTo>
                      <a:pt x="476362" y="221060"/>
                      <a:pt x="477928" y="226025"/>
                      <a:pt x="481900" y="228545"/>
                    </a:cubicBezTo>
                    <a:cubicBezTo>
                      <a:pt x="523337" y="253980"/>
                      <a:pt x="536359" y="308210"/>
                      <a:pt x="510925" y="349689"/>
                    </a:cubicBezTo>
                    <a:cubicBezTo>
                      <a:pt x="485490" y="391164"/>
                      <a:pt x="431260" y="404148"/>
                      <a:pt x="389782" y="378714"/>
                    </a:cubicBezTo>
                    <a:cubicBezTo>
                      <a:pt x="386955" y="377263"/>
                      <a:pt x="383595" y="377263"/>
                      <a:pt x="380768" y="378714"/>
                    </a:cubicBezTo>
                    <a:cubicBezTo>
                      <a:pt x="350064" y="392654"/>
                      <a:pt x="316723" y="399795"/>
                      <a:pt x="283001" y="399642"/>
                    </a:cubicBezTo>
                    <a:cubicBezTo>
                      <a:pt x="236600" y="400444"/>
                      <a:pt x="191077" y="386772"/>
                      <a:pt x="152814" y="360535"/>
                    </a:cubicBezTo>
                    <a:cubicBezTo>
                      <a:pt x="151134" y="359351"/>
                      <a:pt x="149148" y="358702"/>
                      <a:pt x="147124" y="358664"/>
                    </a:cubicBezTo>
                    <a:lnTo>
                      <a:pt x="141357" y="358664"/>
                    </a:lnTo>
                    <a:cubicBezTo>
                      <a:pt x="83574" y="358626"/>
                      <a:pt x="33969" y="317609"/>
                      <a:pt x="23010" y="260897"/>
                    </a:cubicBezTo>
                    <a:cubicBezTo>
                      <a:pt x="12087" y="204146"/>
                      <a:pt x="42868" y="147623"/>
                      <a:pt x="96488" y="126085"/>
                    </a:cubicBezTo>
                    <a:close/>
                  </a:path>
                </a:pathLst>
              </a:custGeom>
              <a:grpFill/>
              <a:ln w="97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6B30D950-AC51-FC0E-F3BE-8AAC76287767}"/>
                  </a:ext>
                </a:extLst>
              </p:cNvPr>
              <p:cNvSpPr/>
              <p:nvPr/>
            </p:nvSpPr>
            <p:spPr>
              <a:xfrm>
                <a:off x="8562537" y="2307568"/>
                <a:ext cx="74692" cy="74705"/>
              </a:xfrm>
              <a:custGeom>
                <a:avLst/>
                <a:gdLst>
                  <a:gd name="connsiteX0" fmla="*/ 37236 w 74692"/>
                  <a:gd name="connsiteY0" fmla="*/ 74706 h 74705"/>
                  <a:gd name="connsiteX1" fmla="*/ 71798 w 74692"/>
                  <a:gd name="connsiteY1" fmla="*/ 51715 h 74705"/>
                  <a:gd name="connsiteX2" fmla="*/ 63779 w 74692"/>
                  <a:gd name="connsiteY2" fmla="*/ 10965 h 74705"/>
                  <a:gd name="connsiteX3" fmla="*/ 23067 w 74692"/>
                  <a:gd name="connsiteY3" fmla="*/ 2831 h 74705"/>
                  <a:gd name="connsiteX4" fmla="*/ 0 w 74692"/>
                  <a:gd name="connsiteY4" fmla="*/ 37355 h 74705"/>
                  <a:gd name="connsiteX5" fmla="*/ 37236 w 74692"/>
                  <a:gd name="connsiteY5" fmla="*/ 74705 h 74705"/>
                  <a:gd name="connsiteX6" fmla="*/ 37236 w 74692"/>
                  <a:gd name="connsiteY6" fmla="*/ 19673 h 74705"/>
                  <a:gd name="connsiteX7" fmla="*/ 37236 w 74692"/>
                  <a:gd name="connsiteY7" fmla="*/ 19635 h 74705"/>
                  <a:gd name="connsiteX8" fmla="*/ 53772 w 74692"/>
                  <a:gd name="connsiteY8" fmla="*/ 30596 h 74705"/>
                  <a:gd name="connsiteX9" fmla="*/ 49915 w 74692"/>
                  <a:gd name="connsiteY9" fmla="*/ 50035 h 74705"/>
                  <a:gd name="connsiteX10" fmla="*/ 30476 w 74692"/>
                  <a:gd name="connsiteY10" fmla="*/ 53854 h 74705"/>
                  <a:gd name="connsiteX11" fmla="*/ 19553 w 74692"/>
                  <a:gd name="connsiteY11" fmla="*/ 37356 h 74705"/>
                  <a:gd name="connsiteX12" fmla="*/ 37236 w 74692"/>
                  <a:gd name="connsiteY12" fmla="*/ 19635 h 74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4692" h="74705">
                    <a:moveTo>
                      <a:pt x="37236" y="74706"/>
                    </a:moveTo>
                    <a:cubicBezTo>
                      <a:pt x="52359" y="74744"/>
                      <a:pt x="65993" y="65654"/>
                      <a:pt x="71798" y="51715"/>
                    </a:cubicBezTo>
                    <a:cubicBezTo>
                      <a:pt x="77642" y="37775"/>
                      <a:pt x="74471" y="21659"/>
                      <a:pt x="63779" y="10965"/>
                    </a:cubicBezTo>
                    <a:cubicBezTo>
                      <a:pt x="53124" y="271"/>
                      <a:pt x="37045" y="-2936"/>
                      <a:pt x="23067" y="2831"/>
                    </a:cubicBezTo>
                    <a:cubicBezTo>
                      <a:pt x="9089" y="8597"/>
                      <a:pt x="0" y="22232"/>
                      <a:pt x="0" y="37355"/>
                    </a:cubicBezTo>
                    <a:cubicBezTo>
                      <a:pt x="0" y="57939"/>
                      <a:pt x="16651" y="74628"/>
                      <a:pt x="37236" y="74705"/>
                    </a:cubicBezTo>
                    <a:close/>
                    <a:moveTo>
                      <a:pt x="37236" y="19673"/>
                    </a:moveTo>
                    <a:lnTo>
                      <a:pt x="37236" y="19635"/>
                    </a:lnTo>
                    <a:cubicBezTo>
                      <a:pt x="44454" y="19597"/>
                      <a:pt x="50984" y="23951"/>
                      <a:pt x="53772" y="30596"/>
                    </a:cubicBezTo>
                    <a:cubicBezTo>
                      <a:pt x="56521" y="37241"/>
                      <a:pt x="55032" y="44917"/>
                      <a:pt x="49915" y="50035"/>
                    </a:cubicBezTo>
                    <a:cubicBezTo>
                      <a:pt x="44835" y="55114"/>
                      <a:pt x="37121" y="56642"/>
                      <a:pt x="30476" y="53854"/>
                    </a:cubicBezTo>
                    <a:cubicBezTo>
                      <a:pt x="23831" y="51105"/>
                      <a:pt x="19515" y="44574"/>
                      <a:pt x="19553" y="37356"/>
                    </a:cubicBezTo>
                    <a:cubicBezTo>
                      <a:pt x="19553" y="27579"/>
                      <a:pt x="27459" y="19635"/>
                      <a:pt x="37236" y="19635"/>
                    </a:cubicBezTo>
                    <a:close/>
                  </a:path>
                </a:pathLst>
              </a:custGeom>
              <a:grpFill/>
              <a:ln w="97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299648DE-6909-B2B0-907F-2424EF04B528}"/>
                  </a:ext>
                </a:extLst>
              </p:cNvPr>
              <p:cNvSpPr/>
              <p:nvPr/>
            </p:nvSpPr>
            <p:spPr>
              <a:xfrm>
                <a:off x="8643386" y="2208428"/>
                <a:ext cx="101278" cy="101294"/>
              </a:xfrm>
              <a:custGeom>
                <a:avLst/>
                <a:gdLst>
                  <a:gd name="connsiteX0" fmla="*/ 1 w 101278"/>
                  <a:gd name="connsiteY0" fmla="*/ 50640 h 101294"/>
                  <a:gd name="connsiteX1" fmla="*/ 31241 w 101278"/>
                  <a:gd name="connsiteY1" fmla="*/ 97423 h 101294"/>
                  <a:gd name="connsiteX2" fmla="*/ 86463 w 101278"/>
                  <a:gd name="connsiteY2" fmla="*/ 86462 h 101294"/>
                  <a:gd name="connsiteX3" fmla="*/ 97424 w 101278"/>
                  <a:gd name="connsiteY3" fmla="*/ 31278 h 101294"/>
                  <a:gd name="connsiteX4" fmla="*/ 50641 w 101278"/>
                  <a:gd name="connsiteY4" fmla="*/ 0 h 101294"/>
                  <a:gd name="connsiteX5" fmla="*/ 0 w 101278"/>
                  <a:gd name="connsiteY5" fmla="*/ 50641 h 101294"/>
                  <a:gd name="connsiteX6" fmla="*/ 81729 w 101278"/>
                  <a:gd name="connsiteY6" fmla="*/ 50640 h 101294"/>
                  <a:gd name="connsiteX7" fmla="*/ 62519 w 101278"/>
                  <a:gd name="connsiteY7" fmla="*/ 79359 h 101294"/>
                  <a:gd name="connsiteX8" fmla="*/ 28645 w 101278"/>
                  <a:gd name="connsiteY8" fmla="*/ 72637 h 101294"/>
                  <a:gd name="connsiteX9" fmla="*/ 21923 w 101278"/>
                  <a:gd name="connsiteY9" fmla="*/ 38763 h 101294"/>
                  <a:gd name="connsiteX10" fmla="*/ 50642 w 101278"/>
                  <a:gd name="connsiteY10" fmla="*/ 19553 h 101294"/>
                  <a:gd name="connsiteX11" fmla="*/ 81730 w 101278"/>
                  <a:gd name="connsiteY11" fmla="*/ 50641 h 1012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01278" h="101294">
                    <a:moveTo>
                      <a:pt x="1" y="50640"/>
                    </a:moveTo>
                    <a:cubicBezTo>
                      <a:pt x="1" y="71148"/>
                      <a:pt x="12336" y="89594"/>
                      <a:pt x="31241" y="97423"/>
                    </a:cubicBezTo>
                    <a:cubicBezTo>
                      <a:pt x="50183" y="105290"/>
                      <a:pt x="71952" y="100937"/>
                      <a:pt x="86463" y="86462"/>
                    </a:cubicBezTo>
                    <a:cubicBezTo>
                      <a:pt x="100938" y="71988"/>
                      <a:pt x="105253" y="50182"/>
                      <a:pt x="97424" y="31278"/>
                    </a:cubicBezTo>
                    <a:cubicBezTo>
                      <a:pt x="89595" y="12335"/>
                      <a:pt x="71111" y="0"/>
                      <a:pt x="50641" y="0"/>
                    </a:cubicBezTo>
                    <a:cubicBezTo>
                      <a:pt x="22685" y="38"/>
                      <a:pt x="38" y="22685"/>
                      <a:pt x="0" y="50641"/>
                    </a:cubicBezTo>
                    <a:close/>
                    <a:moveTo>
                      <a:pt x="81729" y="50640"/>
                    </a:moveTo>
                    <a:cubicBezTo>
                      <a:pt x="81729" y="63205"/>
                      <a:pt x="74167" y="74547"/>
                      <a:pt x="62519" y="79359"/>
                    </a:cubicBezTo>
                    <a:cubicBezTo>
                      <a:pt x="50909" y="84171"/>
                      <a:pt x="37543" y="81536"/>
                      <a:pt x="28645" y="72637"/>
                    </a:cubicBezTo>
                    <a:cubicBezTo>
                      <a:pt x="19746" y="63738"/>
                      <a:pt x="17111" y="50373"/>
                      <a:pt x="21923" y="38763"/>
                    </a:cubicBezTo>
                    <a:cubicBezTo>
                      <a:pt x="26735" y="27115"/>
                      <a:pt x="38077" y="19553"/>
                      <a:pt x="50642" y="19553"/>
                    </a:cubicBezTo>
                    <a:cubicBezTo>
                      <a:pt x="67790" y="19592"/>
                      <a:pt x="81691" y="33493"/>
                      <a:pt x="81730" y="50641"/>
                    </a:cubicBezTo>
                    <a:close/>
                  </a:path>
                </a:pathLst>
              </a:custGeom>
              <a:grpFill/>
              <a:ln w="97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</p:grpSp>
      <p:grpSp>
        <p:nvGrpSpPr>
          <p:cNvPr id="1074" name="Group 1073">
            <a:extLst>
              <a:ext uri="{FF2B5EF4-FFF2-40B4-BE49-F238E27FC236}">
                <a16:creationId xmlns:a16="http://schemas.microsoft.com/office/drawing/2014/main" id="{0ECDF799-57BD-2620-BB99-503A7710AB76}"/>
              </a:ext>
            </a:extLst>
          </p:cNvPr>
          <p:cNvGrpSpPr/>
          <p:nvPr/>
        </p:nvGrpSpPr>
        <p:grpSpPr>
          <a:xfrm>
            <a:off x="409605" y="2473977"/>
            <a:ext cx="2816610" cy="607770"/>
            <a:chOff x="409606" y="2473977"/>
            <a:chExt cx="2528695" cy="607770"/>
          </a:xfrm>
        </p:grpSpPr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id="{9CEB4D74-C9AC-E9C0-F531-D5269404CFA4}"/>
                </a:ext>
              </a:extLst>
            </p:cNvPr>
            <p:cNvSpPr/>
            <p:nvPr/>
          </p:nvSpPr>
          <p:spPr>
            <a:xfrm>
              <a:off x="409606" y="2473977"/>
              <a:ext cx="2528695" cy="607770"/>
            </a:xfrm>
            <a:prstGeom prst="roundRect">
              <a:avLst>
                <a:gd name="adj" fmla="val 9028"/>
              </a:avLst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3200" dirty="0">
                <a:solidFill>
                  <a:schemeClr val="accent2"/>
                </a:solidFill>
              </a:endParaRPr>
            </a:p>
          </p:txBody>
        </p:sp>
        <p:sp>
          <p:nvSpPr>
            <p:cNvPr id="5" name="Content Placeholder 2">
              <a:extLst>
                <a:ext uri="{FF2B5EF4-FFF2-40B4-BE49-F238E27FC236}">
                  <a16:creationId xmlns:a16="http://schemas.microsoft.com/office/drawing/2014/main" id="{D3666790-0A71-414D-712B-69DF011EA716}"/>
                </a:ext>
              </a:extLst>
            </p:cNvPr>
            <p:cNvSpPr txBox="1">
              <a:spLocks/>
            </p:cNvSpPr>
            <p:nvPr/>
          </p:nvSpPr>
          <p:spPr>
            <a:xfrm>
              <a:off x="490607" y="2701172"/>
              <a:ext cx="2366693" cy="2295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171496" indent="-171496" algn="l" defTabSz="685983" rtl="0" eaLnBrk="1" latinLnBrk="0" hangingPunct="1">
                <a:lnSpc>
                  <a:spcPct val="90000"/>
                </a:lnSpc>
                <a:spcBef>
                  <a:spcPts val="750"/>
                </a:spcBef>
                <a:buClr>
                  <a:srgbClr val="1F94D1"/>
                </a:buClr>
                <a:buFont typeface="Arial"/>
                <a:buChar char="•"/>
                <a:defRPr sz="2101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1pPr>
              <a:lvl2pPr marL="292100" indent="-112713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Font typeface="Arial" panose="020B0604020202020204" pitchFamily="34" charset="0"/>
                <a:buChar char="–"/>
                <a:tabLst/>
                <a:defRPr sz="180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2pPr>
              <a:lvl3pPr marL="460375" indent="-112713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SzPct val="60000"/>
                <a:buFont typeface="Arial" panose="020B0604020202020204" pitchFamily="34" charset="0"/>
                <a:buChar char="►"/>
                <a:tabLst/>
                <a:defRPr sz="150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3pPr>
              <a:lvl4pPr marL="573088" indent="-112713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Font typeface="Wingdings" panose="05000000000000000000" pitchFamily="2" charset="2"/>
                <a:buChar char="§"/>
                <a:tabLst/>
                <a:defRPr sz="135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4pPr>
              <a:lvl5pPr marL="695325" indent="-122238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SzPct val="80000"/>
                <a:buFont typeface="Courier New" panose="02070309020205020404" pitchFamily="49" charset="0"/>
                <a:buChar char="o"/>
                <a:tabLst/>
                <a:defRPr sz="135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5pPr>
              <a:lvl6pPr marL="1886453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9444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2436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5427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lnSpc>
                  <a:spcPct val="85000"/>
                </a:lnSpc>
                <a:spcBef>
                  <a:spcPts val="100"/>
                </a:spcBef>
                <a:buNone/>
              </a:pPr>
              <a:r>
                <a:rPr lang="nl-NL" sz="2000" dirty="0">
                  <a:solidFill>
                    <a:schemeClr val="accent2"/>
                  </a:solidFill>
                  <a:cs typeface="Arial" panose="020B0604020202020204" pitchFamily="34" charset="0"/>
                </a:rPr>
                <a:t>1-OP-1 ONDERSTEUNING</a:t>
              </a:r>
            </a:p>
          </p:txBody>
        </p:sp>
      </p:grpSp>
      <p:grpSp>
        <p:nvGrpSpPr>
          <p:cNvPr id="1076" name="Group 1075">
            <a:extLst>
              <a:ext uri="{FF2B5EF4-FFF2-40B4-BE49-F238E27FC236}">
                <a16:creationId xmlns:a16="http://schemas.microsoft.com/office/drawing/2014/main" id="{273F6C60-8731-3DCF-C1F1-CC57DFFA2E95}"/>
              </a:ext>
            </a:extLst>
          </p:cNvPr>
          <p:cNvGrpSpPr/>
          <p:nvPr/>
        </p:nvGrpSpPr>
        <p:grpSpPr>
          <a:xfrm>
            <a:off x="1412194" y="1724968"/>
            <a:ext cx="814386" cy="678215"/>
            <a:chOff x="1328579" y="1758172"/>
            <a:chExt cx="814386" cy="678215"/>
          </a:xfrm>
        </p:grpSpPr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A37F837A-A450-B9D5-E202-940A1683E469}"/>
                </a:ext>
              </a:extLst>
            </p:cNvPr>
            <p:cNvSpPr/>
            <p:nvPr/>
          </p:nvSpPr>
          <p:spPr>
            <a:xfrm>
              <a:off x="1449208" y="1758172"/>
              <a:ext cx="165434" cy="175305"/>
            </a:xfrm>
            <a:custGeom>
              <a:avLst/>
              <a:gdLst>
                <a:gd name="connsiteX0" fmla="*/ 331885 w 663473"/>
                <a:gd name="connsiteY0" fmla="*/ 96142 h 703063"/>
                <a:gd name="connsiteX1" fmla="*/ 567778 w 663473"/>
                <a:gd name="connsiteY1" fmla="*/ 300186 h 703063"/>
                <a:gd name="connsiteX2" fmla="*/ 567778 w 663473"/>
                <a:gd name="connsiteY2" fmla="*/ 403323 h 703063"/>
                <a:gd name="connsiteX3" fmla="*/ 331885 w 663473"/>
                <a:gd name="connsiteY3" fmla="*/ 607070 h 703063"/>
                <a:gd name="connsiteX4" fmla="*/ 95993 w 663473"/>
                <a:gd name="connsiteY4" fmla="*/ 403323 h 703063"/>
                <a:gd name="connsiteX5" fmla="*/ 95993 w 663473"/>
                <a:gd name="connsiteY5" fmla="*/ 300186 h 703063"/>
                <a:gd name="connsiteX6" fmla="*/ 331885 w 663473"/>
                <a:gd name="connsiteY6" fmla="*/ 96142 h 703063"/>
                <a:gd name="connsiteX7" fmla="*/ 331885 w 663473"/>
                <a:gd name="connsiteY7" fmla="*/ 0 h 703063"/>
                <a:gd name="connsiteX8" fmla="*/ 0 w 663473"/>
                <a:gd name="connsiteY8" fmla="*/ 300038 h 703063"/>
                <a:gd name="connsiteX9" fmla="*/ 0 w 663473"/>
                <a:gd name="connsiteY9" fmla="*/ 403174 h 703063"/>
                <a:gd name="connsiteX10" fmla="*/ 331885 w 663473"/>
                <a:gd name="connsiteY10" fmla="*/ 703063 h 703063"/>
                <a:gd name="connsiteX11" fmla="*/ 663473 w 663473"/>
                <a:gd name="connsiteY11" fmla="*/ 403174 h 703063"/>
                <a:gd name="connsiteX12" fmla="*/ 663473 w 663473"/>
                <a:gd name="connsiteY12" fmla="*/ 300038 h 703063"/>
                <a:gd name="connsiteX13" fmla="*/ 331885 w 663473"/>
                <a:gd name="connsiteY13" fmla="*/ 0 h 703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63473" h="703063">
                  <a:moveTo>
                    <a:pt x="331885" y="96142"/>
                  </a:moveTo>
                  <a:cubicBezTo>
                    <a:pt x="466424" y="96142"/>
                    <a:pt x="567778" y="189753"/>
                    <a:pt x="567778" y="300186"/>
                  </a:cubicBezTo>
                  <a:lnTo>
                    <a:pt x="567778" y="403323"/>
                  </a:lnTo>
                  <a:cubicBezTo>
                    <a:pt x="567778" y="513752"/>
                    <a:pt x="466275" y="607070"/>
                    <a:pt x="331885" y="607070"/>
                  </a:cubicBezTo>
                  <a:cubicBezTo>
                    <a:pt x="197347" y="607070"/>
                    <a:pt x="95993" y="513756"/>
                    <a:pt x="95993" y="403323"/>
                  </a:cubicBezTo>
                  <a:lnTo>
                    <a:pt x="95993" y="300186"/>
                  </a:lnTo>
                  <a:cubicBezTo>
                    <a:pt x="95993" y="189757"/>
                    <a:pt x="197347" y="96142"/>
                    <a:pt x="331885" y="96142"/>
                  </a:cubicBezTo>
                  <a:close/>
                  <a:moveTo>
                    <a:pt x="331885" y="0"/>
                  </a:moveTo>
                  <a:cubicBezTo>
                    <a:pt x="151950" y="0"/>
                    <a:pt x="0" y="131415"/>
                    <a:pt x="0" y="300038"/>
                  </a:cubicBezTo>
                  <a:lnTo>
                    <a:pt x="0" y="403174"/>
                  </a:lnTo>
                  <a:cubicBezTo>
                    <a:pt x="0" y="571797"/>
                    <a:pt x="151954" y="703063"/>
                    <a:pt x="331885" y="703063"/>
                  </a:cubicBezTo>
                  <a:cubicBezTo>
                    <a:pt x="512117" y="703063"/>
                    <a:pt x="663473" y="571946"/>
                    <a:pt x="663473" y="403174"/>
                  </a:cubicBezTo>
                  <a:lnTo>
                    <a:pt x="663473" y="300038"/>
                  </a:lnTo>
                  <a:cubicBezTo>
                    <a:pt x="663473" y="131415"/>
                    <a:pt x="512114" y="0"/>
                    <a:pt x="331885" y="0"/>
                  </a:cubicBezTo>
                  <a:close/>
                </a:path>
              </a:pathLst>
            </a:custGeom>
            <a:solidFill>
              <a:schemeClr val="accent3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39981BB8-90C9-EF06-6278-05619BD53130}"/>
                </a:ext>
              </a:extLst>
            </p:cNvPr>
            <p:cNvSpPr/>
            <p:nvPr/>
          </p:nvSpPr>
          <p:spPr>
            <a:xfrm>
              <a:off x="1328579" y="1810051"/>
              <a:ext cx="814386" cy="626336"/>
            </a:xfrm>
            <a:custGeom>
              <a:avLst/>
              <a:gdLst>
                <a:gd name="connsiteX0" fmla="*/ 1501165 w 3266100"/>
                <a:gd name="connsiteY0" fmla="*/ 200044 h 2511925"/>
                <a:gd name="connsiteX1" fmla="*/ 1534502 w 3266100"/>
                <a:gd name="connsiteY1" fmla="*/ 260615 h 2511925"/>
                <a:gd name="connsiteX2" fmla="*/ 1571562 w 3266100"/>
                <a:gd name="connsiteY2" fmla="*/ 307349 h 2511925"/>
                <a:gd name="connsiteX3" fmla="*/ 1097408 w 3266100"/>
                <a:gd name="connsiteY3" fmla="*/ 903538 h 2511925"/>
                <a:gd name="connsiteX4" fmla="*/ 1087136 w 3266100"/>
                <a:gd name="connsiteY4" fmla="*/ 933305 h 2511925"/>
                <a:gd name="connsiteX5" fmla="*/ 1087136 w 3266100"/>
                <a:gd name="connsiteY5" fmla="*/ 1458967 h 2511925"/>
                <a:gd name="connsiteX6" fmla="*/ 1087285 w 3266100"/>
                <a:gd name="connsiteY6" fmla="*/ 1464031 h 2511925"/>
                <a:gd name="connsiteX7" fmla="*/ 1185807 w 3266100"/>
                <a:gd name="connsiteY7" fmla="*/ 2372182 h 2511925"/>
                <a:gd name="connsiteX8" fmla="*/ 1037873 w 3266100"/>
                <a:gd name="connsiteY8" fmla="*/ 2368609 h 2511925"/>
                <a:gd name="connsiteX9" fmla="*/ 897230 w 3266100"/>
                <a:gd name="connsiteY9" fmla="*/ 1700525 h 2511925"/>
                <a:gd name="connsiteX10" fmla="*/ 874016 w 3266100"/>
                <a:gd name="connsiteY10" fmla="*/ 1648880 h 2511925"/>
                <a:gd name="connsiteX11" fmla="*/ 815079 w 3266100"/>
                <a:gd name="connsiteY11" fmla="*/ 1623132 h 2511925"/>
                <a:gd name="connsiteX12" fmla="*/ 756142 w 3266100"/>
                <a:gd name="connsiteY12" fmla="*/ 1648880 h 2511925"/>
                <a:gd name="connsiteX13" fmla="*/ 732776 w 3266100"/>
                <a:gd name="connsiteY13" fmla="*/ 1700525 h 2511925"/>
                <a:gd name="connsiteX14" fmla="*/ 592133 w 3266100"/>
                <a:gd name="connsiteY14" fmla="*/ 2368609 h 2511925"/>
                <a:gd name="connsiteX15" fmla="*/ 444496 w 3266100"/>
                <a:gd name="connsiteY15" fmla="*/ 2372182 h 2511925"/>
                <a:gd name="connsiteX16" fmla="*/ 542870 w 3266100"/>
                <a:gd name="connsiteY16" fmla="*/ 1464031 h 2511925"/>
                <a:gd name="connsiteX17" fmla="*/ 543316 w 3266100"/>
                <a:gd name="connsiteY17" fmla="*/ 1049541 h 2511925"/>
                <a:gd name="connsiteX18" fmla="*/ 454912 w 3266100"/>
                <a:gd name="connsiteY18" fmla="*/ 1023496 h 2511925"/>
                <a:gd name="connsiteX19" fmla="*/ 200861 w 3266100"/>
                <a:gd name="connsiteY19" fmla="*/ 1419964 h 2511925"/>
                <a:gd name="connsiteX20" fmla="*/ 121240 w 3266100"/>
                <a:gd name="connsiteY20" fmla="*/ 1449282 h 2511925"/>
                <a:gd name="connsiteX21" fmla="*/ 97725 w 3266100"/>
                <a:gd name="connsiteY21" fmla="*/ 1423980 h 2511925"/>
                <a:gd name="connsiteX22" fmla="*/ 101893 w 3266100"/>
                <a:gd name="connsiteY22" fmla="*/ 1386330 h 2511925"/>
                <a:gd name="connsiteX23" fmla="*/ 412050 w 3266100"/>
                <a:gd name="connsiteY23" fmla="*/ 729562 h 2511925"/>
                <a:gd name="connsiteX24" fmla="*/ 481700 w 3266100"/>
                <a:gd name="connsiteY24" fmla="*/ 644728 h 2511925"/>
                <a:gd name="connsiteX25" fmla="*/ 593322 w 3266100"/>
                <a:gd name="connsiteY25" fmla="*/ 633714 h 2511925"/>
                <a:gd name="connsiteX26" fmla="*/ 814927 w 3266100"/>
                <a:gd name="connsiteY26" fmla="*/ 673155 h 2511925"/>
                <a:gd name="connsiteX27" fmla="*/ 1176282 w 3266100"/>
                <a:gd name="connsiteY27" fmla="*/ 518225 h 2511925"/>
                <a:gd name="connsiteX28" fmla="*/ 1634366 w 3266100"/>
                <a:gd name="connsiteY28" fmla="*/ 93482 h 2511925"/>
                <a:gd name="connsiteX29" fmla="*/ 1677229 w 3266100"/>
                <a:gd name="connsiteY29" fmla="*/ 114468 h 2511925"/>
                <a:gd name="connsiteX30" fmla="*/ 2089471 w 3266100"/>
                <a:gd name="connsiteY30" fmla="*/ 518099 h 2511925"/>
                <a:gd name="connsiteX31" fmla="*/ 2450827 w 3266100"/>
                <a:gd name="connsiteY31" fmla="*/ 673029 h 2511925"/>
                <a:gd name="connsiteX32" fmla="*/ 2672580 w 3266100"/>
                <a:gd name="connsiteY32" fmla="*/ 633588 h 2511925"/>
                <a:gd name="connsiteX33" fmla="*/ 2783904 w 3266100"/>
                <a:gd name="connsiteY33" fmla="*/ 644599 h 2511925"/>
                <a:gd name="connsiteX34" fmla="*/ 2853555 w 3266100"/>
                <a:gd name="connsiteY34" fmla="*/ 729432 h 2511925"/>
                <a:gd name="connsiteX35" fmla="*/ 3163712 w 3266100"/>
                <a:gd name="connsiteY35" fmla="*/ 1386200 h 2511925"/>
                <a:gd name="connsiteX36" fmla="*/ 3167880 w 3266100"/>
                <a:gd name="connsiteY36" fmla="*/ 1423854 h 2511925"/>
                <a:gd name="connsiteX37" fmla="*/ 3144365 w 3266100"/>
                <a:gd name="connsiteY37" fmla="*/ 1449156 h 2511925"/>
                <a:gd name="connsiteX38" fmla="*/ 3064743 w 3266100"/>
                <a:gd name="connsiteY38" fmla="*/ 1419835 h 2511925"/>
                <a:gd name="connsiteX39" fmla="*/ 2810990 w 3266100"/>
                <a:gd name="connsiteY39" fmla="*/ 1023370 h 2511925"/>
                <a:gd name="connsiteX40" fmla="*/ 2722586 w 3266100"/>
                <a:gd name="connsiteY40" fmla="*/ 1049411 h 2511925"/>
                <a:gd name="connsiteX41" fmla="*/ 2722735 w 3266100"/>
                <a:gd name="connsiteY41" fmla="*/ 1463901 h 2511925"/>
                <a:gd name="connsiteX42" fmla="*/ 2821109 w 3266100"/>
                <a:gd name="connsiteY42" fmla="*/ 2372053 h 2511925"/>
                <a:gd name="connsiteX43" fmla="*/ 2673323 w 3266100"/>
                <a:gd name="connsiteY43" fmla="*/ 2368483 h 2511925"/>
                <a:gd name="connsiteX44" fmla="*/ 2532681 w 3266100"/>
                <a:gd name="connsiteY44" fmla="*/ 1700399 h 2511925"/>
                <a:gd name="connsiteX45" fmla="*/ 2509463 w 3266100"/>
                <a:gd name="connsiteY45" fmla="*/ 1648755 h 2511925"/>
                <a:gd name="connsiteX46" fmla="*/ 2450526 w 3266100"/>
                <a:gd name="connsiteY46" fmla="*/ 1623007 h 2511925"/>
                <a:gd name="connsiteX47" fmla="*/ 2391440 w 3266100"/>
                <a:gd name="connsiteY47" fmla="*/ 1648755 h 2511925"/>
                <a:gd name="connsiteX48" fmla="*/ 2368222 w 3266100"/>
                <a:gd name="connsiteY48" fmla="*/ 1700399 h 2511925"/>
                <a:gd name="connsiteX49" fmla="*/ 2227580 w 3266100"/>
                <a:gd name="connsiteY49" fmla="*/ 2368483 h 2511925"/>
                <a:gd name="connsiteX50" fmla="*/ 2079942 w 3266100"/>
                <a:gd name="connsiteY50" fmla="*/ 2372053 h 2511925"/>
                <a:gd name="connsiteX51" fmla="*/ 2178316 w 3266100"/>
                <a:gd name="connsiteY51" fmla="*/ 1463901 h 2511925"/>
                <a:gd name="connsiteX52" fmla="*/ 2178465 w 3266100"/>
                <a:gd name="connsiteY52" fmla="*/ 933168 h 2511925"/>
                <a:gd name="connsiteX53" fmla="*/ 2168048 w 3266100"/>
                <a:gd name="connsiteY53" fmla="*/ 903404 h 2511925"/>
                <a:gd name="connsiteX54" fmla="*/ 1609198 w 3266100"/>
                <a:gd name="connsiteY54" fmla="*/ 200650 h 2511925"/>
                <a:gd name="connsiteX55" fmla="*/ 1601459 w 3266100"/>
                <a:gd name="connsiteY55" fmla="*/ 108524 h 2511925"/>
                <a:gd name="connsiteX56" fmla="*/ 1634351 w 3266100"/>
                <a:gd name="connsiteY56" fmla="*/ 93494 h 2511925"/>
                <a:gd name="connsiteX57" fmla="*/ 1635707 w 3266100"/>
                <a:gd name="connsiteY57" fmla="*/ 19 h 2511925"/>
                <a:gd name="connsiteX58" fmla="*/ 1521705 w 3266100"/>
                <a:gd name="connsiteY58" fmla="*/ 45411 h 2511925"/>
                <a:gd name="connsiteX59" fmla="*/ 1109158 w 3266100"/>
                <a:gd name="connsiteY59" fmla="*/ 449348 h 2511925"/>
                <a:gd name="connsiteX60" fmla="*/ 815521 w 3266100"/>
                <a:gd name="connsiteY60" fmla="*/ 577044 h 2511925"/>
                <a:gd name="connsiteX61" fmla="*/ 620853 w 3266100"/>
                <a:gd name="connsiteY61" fmla="*/ 541473 h 2511925"/>
                <a:gd name="connsiteX62" fmla="*/ 430502 w 3266100"/>
                <a:gd name="connsiteY62" fmla="*/ 563053 h 2511925"/>
                <a:gd name="connsiteX63" fmla="*/ 325578 w 3266100"/>
                <a:gd name="connsiteY63" fmla="*/ 688517 h 2511925"/>
                <a:gd name="connsiteX64" fmla="*/ 16906 w 3266100"/>
                <a:gd name="connsiteY64" fmla="*/ 1342313 h 2511925"/>
                <a:gd name="connsiteX65" fmla="*/ 7827 w 3266100"/>
                <a:gd name="connsiteY65" fmla="*/ 1457207 h 2511925"/>
                <a:gd name="connsiteX66" fmla="*/ 77775 w 3266100"/>
                <a:gd name="connsiteY66" fmla="*/ 1535045 h 2511925"/>
                <a:gd name="connsiteX67" fmla="*/ 281672 w 3266100"/>
                <a:gd name="connsiteY67" fmla="*/ 1471792 h 2511925"/>
                <a:gd name="connsiteX68" fmla="*/ 447468 w 3266100"/>
                <a:gd name="connsiteY68" fmla="*/ 1212978 h 2511925"/>
                <a:gd name="connsiteX69" fmla="*/ 447468 w 3266100"/>
                <a:gd name="connsiteY69" fmla="*/ 1456312 h 2511925"/>
                <a:gd name="connsiteX70" fmla="*/ 348495 w 3266100"/>
                <a:gd name="connsiteY70" fmla="*/ 2369378 h 2511925"/>
                <a:gd name="connsiteX71" fmla="*/ 348347 w 3266100"/>
                <a:gd name="connsiteY71" fmla="*/ 2376819 h 2511925"/>
                <a:gd name="connsiteX72" fmla="*/ 687673 w 3266100"/>
                <a:gd name="connsiteY72" fmla="*/ 2380096 h 2511925"/>
                <a:gd name="connsiteX73" fmla="*/ 686926 w 3266100"/>
                <a:gd name="connsiteY73" fmla="*/ 2384260 h 2511925"/>
                <a:gd name="connsiteX74" fmla="*/ 815216 w 3266100"/>
                <a:gd name="connsiteY74" fmla="*/ 1774355 h 2511925"/>
                <a:gd name="connsiteX75" fmla="*/ 942912 w 3266100"/>
                <a:gd name="connsiteY75" fmla="*/ 2380222 h 2511925"/>
                <a:gd name="connsiteX76" fmla="*/ 1282090 w 3266100"/>
                <a:gd name="connsiteY76" fmla="*/ 2376948 h 2511925"/>
                <a:gd name="connsiteX77" fmla="*/ 1281941 w 3266100"/>
                <a:gd name="connsiteY77" fmla="*/ 2369508 h 2511925"/>
                <a:gd name="connsiteX78" fmla="*/ 1183118 w 3266100"/>
                <a:gd name="connsiteY78" fmla="*/ 1456441 h 2511925"/>
                <a:gd name="connsiteX79" fmla="*/ 1182969 w 3266100"/>
                <a:gd name="connsiteY79" fmla="*/ 950283 h 2511925"/>
                <a:gd name="connsiteX80" fmla="*/ 1632740 w 3266100"/>
                <a:gd name="connsiteY80" fmla="*/ 384307 h 2511925"/>
                <a:gd name="connsiteX81" fmla="*/ 2082510 w 3266100"/>
                <a:gd name="connsiteY81" fmla="*/ 950283 h 2511925"/>
                <a:gd name="connsiteX82" fmla="*/ 2082510 w 3266100"/>
                <a:gd name="connsiteY82" fmla="*/ 1456289 h 2511925"/>
                <a:gd name="connsiteX83" fmla="*/ 1983686 w 3266100"/>
                <a:gd name="connsiteY83" fmla="*/ 2369355 h 2511925"/>
                <a:gd name="connsiteX84" fmla="*/ 1983538 w 3266100"/>
                <a:gd name="connsiteY84" fmla="*/ 2376796 h 2511925"/>
                <a:gd name="connsiteX85" fmla="*/ 2322864 w 3266100"/>
                <a:gd name="connsiteY85" fmla="*/ 2380073 h 2511925"/>
                <a:gd name="connsiteX86" fmla="*/ 2450560 w 3266100"/>
                <a:gd name="connsiteY86" fmla="*/ 1774355 h 2511925"/>
                <a:gd name="connsiteX87" fmla="*/ 2578107 w 3266100"/>
                <a:gd name="connsiteY87" fmla="*/ 2380222 h 2511925"/>
                <a:gd name="connsiteX88" fmla="*/ 2917434 w 3266100"/>
                <a:gd name="connsiteY88" fmla="*/ 2376948 h 2511925"/>
                <a:gd name="connsiteX89" fmla="*/ 2917285 w 3266100"/>
                <a:gd name="connsiteY89" fmla="*/ 2369508 h 2511925"/>
                <a:gd name="connsiteX90" fmla="*/ 2818313 w 3266100"/>
                <a:gd name="connsiteY90" fmla="*/ 1456441 h 2511925"/>
                <a:gd name="connsiteX91" fmla="*/ 2818313 w 3266100"/>
                <a:gd name="connsiteY91" fmla="*/ 1213108 h 2511925"/>
                <a:gd name="connsiteX92" fmla="*/ 2984109 w 3266100"/>
                <a:gd name="connsiteY92" fmla="*/ 1471921 h 2511925"/>
                <a:gd name="connsiteX93" fmla="*/ 3188153 w 3266100"/>
                <a:gd name="connsiteY93" fmla="*/ 1535175 h 2511925"/>
                <a:gd name="connsiteX94" fmla="*/ 3258101 w 3266100"/>
                <a:gd name="connsiteY94" fmla="*/ 1457337 h 2511925"/>
                <a:gd name="connsiteX95" fmla="*/ 3249022 w 3266100"/>
                <a:gd name="connsiteY95" fmla="*/ 1342442 h 2511925"/>
                <a:gd name="connsiteX96" fmla="*/ 2940351 w 3266100"/>
                <a:gd name="connsiteY96" fmla="*/ 688646 h 2511925"/>
                <a:gd name="connsiteX97" fmla="*/ 2835427 w 3266100"/>
                <a:gd name="connsiteY97" fmla="*/ 563183 h 2511925"/>
                <a:gd name="connsiteX98" fmla="*/ 2645373 w 3266100"/>
                <a:gd name="connsiteY98" fmla="*/ 541603 h 2511925"/>
                <a:gd name="connsiteX99" fmla="*/ 2450705 w 3266100"/>
                <a:gd name="connsiteY99" fmla="*/ 577173 h 2511925"/>
                <a:gd name="connsiteX100" fmla="*/ 2156771 w 3266100"/>
                <a:gd name="connsiteY100" fmla="*/ 449477 h 2511925"/>
                <a:gd name="connsiteX101" fmla="*/ 1744224 w 3266100"/>
                <a:gd name="connsiteY101" fmla="*/ 45541 h 2511925"/>
                <a:gd name="connsiteX102" fmla="*/ 1635727 w 3266100"/>
                <a:gd name="connsiteY102" fmla="*/ 0 h 251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</a:cxnLst>
              <a:rect l="l" t="t" r="r" b="b"/>
              <a:pathLst>
                <a:path w="3266100" h="2511925">
                  <a:moveTo>
                    <a:pt x="1501165" y="200044"/>
                  </a:moveTo>
                  <a:cubicBezTo>
                    <a:pt x="1508309" y="220584"/>
                    <a:pt x="1519022" y="241268"/>
                    <a:pt x="1534502" y="260615"/>
                  </a:cubicBezTo>
                  <a:lnTo>
                    <a:pt x="1571562" y="307349"/>
                  </a:lnTo>
                  <a:lnTo>
                    <a:pt x="1097408" y="903538"/>
                  </a:lnTo>
                  <a:cubicBezTo>
                    <a:pt x="1090858" y="912171"/>
                    <a:pt x="1087136" y="922439"/>
                    <a:pt x="1087136" y="933305"/>
                  </a:cubicBezTo>
                  <a:lnTo>
                    <a:pt x="1087136" y="1458967"/>
                  </a:lnTo>
                  <a:cubicBezTo>
                    <a:pt x="1087136" y="1460754"/>
                    <a:pt x="1087136" y="1462244"/>
                    <a:pt x="1087285" y="1464031"/>
                  </a:cubicBezTo>
                  <a:lnTo>
                    <a:pt x="1185807" y="2372182"/>
                  </a:lnTo>
                  <a:cubicBezTo>
                    <a:pt x="1181792" y="2427694"/>
                    <a:pt x="1049482" y="2423827"/>
                    <a:pt x="1037873" y="2368609"/>
                  </a:cubicBezTo>
                  <a:lnTo>
                    <a:pt x="897230" y="1700525"/>
                  </a:lnTo>
                  <a:cubicBezTo>
                    <a:pt x="893512" y="1682370"/>
                    <a:pt x="888003" y="1663915"/>
                    <a:pt x="874016" y="1648880"/>
                  </a:cubicBezTo>
                  <a:cubicBezTo>
                    <a:pt x="860174" y="1633999"/>
                    <a:pt x="837848" y="1623132"/>
                    <a:pt x="815079" y="1623132"/>
                  </a:cubicBezTo>
                  <a:cubicBezTo>
                    <a:pt x="792158" y="1623132"/>
                    <a:pt x="770133" y="1633999"/>
                    <a:pt x="756142" y="1648880"/>
                  </a:cubicBezTo>
                  <a:cubicBezTo>
                    <a:pt x="742003" y="1663911"/>
                    <a:pt x="736791" y="1682367"/>
                    <a:pt x="732776" y="1700525"/>
                  </a:cubicBezTo>
                  <a:lnTo>
                    <a:pt x="592133" y="2368609"/>
                  </a:lnTo>
                  <a:cubicBezTo>
                    <a:pt x="580376" y="2423823"/>
                    <a:pt x="448218" y="2427694"/>
                    <a:pt x="444496" y="2372182"/>
                  </a:cubicBezTo>
                  <a:lnTo>
                    <a:pt x="542870" y="1464031"/>
                  </a:lnTo>
                  <a:lnTo>
                    <a:pt x="543316" y="1049541"/>
                  </a:lnTo>
                  <a:cubicBezTo>
                    <a:pt x="543316" y="1001321"/>
                    <a:pt x="480660" y="982717"/>
                    <a:pt x="454912" y="1023496"/>
                  </a:cubicBezTo>
                  <a:lnTo>
                    <a:pt x="200861" y="1419964"/>
                  </a:lnTo>
                  <a:cubicBezTo>
                    <a:pt x="172584" y="1463867"/>
                    <a:pt x="144157" y="1461188"/>
                    <a:pt x="121240" y="1449282"/>
                  </a:cubicBezTo>
                  <a:cubicBezTo>
                    <a:pt x="109780" y="1443628"/>
                    <a:pt x="101446" y="1433802"/>
                    <a:pt x="97725" y="1423980"/>
                  </a:cubicBezTo>
                  <a:cubicBezTo>
                    <a:pt x="94153" y="1414009"/>
                    <a:pt x="93856" y="1403444"/>
                    <a:pt x="101893" y="1386330"/>
                  </a:cubicBezTo>
                  <a:lnTo>
                    <a:pt x="412050" y="729562"/>
                  </a:lnTo>
                  <a:cubicBezTo>
                    <a:pt x="428867" y="694437"/>
                    <a:pt x="452977" y="662738"/>
                    <a:pt x="481700" y="644728"/>
                  </a:cubicBezTo>
                  <a:cubicBezTo>
                    <a:pt x="510424" y="626421"/>
                    <a:pt x="543019" y="618535"/>
                    <a:pt x="593322" y="633714"/>
                  </a:cubicBezTo>
                  <a:cubicBezTo>
                    <a:pt x="670863" y="656932"/>
                    <a:pt x="739024" y="672854"/>
                    <a:pt x="814927" y="673155"/>
                  </a:cubicBezTo>
                  <a:cubicBezTo>
                    <a:pt x="937860" y="673600"/>
                    <a:pt x="1063617" y="628654"/>
                    <a:pt x="1176282" y="518225"/>
                  </a:cubicBezTo>
                  <a:close/>
                  <a:moveTo>
                    <a:pt x="1634366" y="93482"/>
                  </a:moveTo>
                  <a:cubicBezTo>
                    <a:pt x="1646867" y="93334"/>
                    <a:pt x="1661452" y="98988"/>
                    <a:pt x="1677229" y="114468"/>
                  </a:cubicBezTo>
                  <a:lnTo>
                    <a:pt x="2089471" y="518099"/>
                  </a:lnTo>
                  <a:cubicBezTo>
                    <a:pt x="2202430" y="628528"/>
                    <a:pt x="2328042" y="673475"/>
                    <a:pt x="2450827" y="673029"/>
                  </a:cubicBezTo>
                  <a:cubicBezTo>
                    <a:pt x="2526729" y="672583"/>
                    <a:pt x="2594742" y="656657"/>
                    <a:pt x="2672580" y="633588"/>
                  </a:cubicBezTo>
                  <a:cubicBezTo>
                    <a:pt x="2722883" y="618405"/>
                    <a:pt x="2755181" y="626295"/>
                    <a:pt x="2783904" y="644599"/>
                  </a:cubicBezTo>
                  <a:cubicBezTo>
                    <a:pt x="2812777" y="662757"/>
                    <a:pt x="2837035" y="694456"/>
                    <a:pt x="2853555" y="729432"/>
                  </a:cubicBezTo>
                  <a:lnTo>
                    <a:pt x="3163712" y="1386200"/>
                  </a:lnTo>
                  <a:cubicBezTo>
                    <a:pt x="3172494" y="1403166"/>
                    <a:pt x="3171599" y="1414032"/>
                    <a:pt x="3167880" y="1423854"/>
                  </a:cubicBezTo>
                  <a:cubicBezTo>
                    <a:pt x="3164158" y="1433825"/>
                    <a:pt x="3155677" y="1443499"/>
                    <a:pt x="3144365" y="1449156"/>
                  </a:cubicBezTo>
                  <a:cubicBezTo>
                    <a:pt x="3121444" y="1461063"/>
                    <a:pt x="3093017" y="1463741"/>
                    <a:pt x="3064743" y="1419835"/>
                  </a:cubicBezTo>
                  <a:lnTo>
                    <a:pt x="2810990" y="1023370"/>
                  </a:lnTo>
                  <a:cubicBezTo>
                    <a:pt x="2785242" y="982588"/>
                    <a:pt x="2722438" y="1001192"/>
                    <a:pt x="2722586" y="1049411"/>
                  </a:cubicBezTo>
                  <a:lnTo>
                    <a:pt x="2722735" y="1463901"/>
                  </a:lnTo>
                  <a:lnTo>
                    <a:pt x="2821109" y="2372053"/>
                  </a:lnTo>
                  <a:cubicBezTo>
                    <a:pt x="2817387" y="2427565"/>
                    <a:pt x="2685081" y="2423697"/>
                    <a:pt x="2673323" y="2368483"/>
                  </a:cubicBezTo>
                  <a:lnTo>
                    <a:pt x="2532681" y="1700399"/>
                  </a:lnTo>
                  <a:cubicBezTo>
                    <a:pt x="2528958" y="1682241"/>
                    <a:pt x="2523453" y="1663785"/>
                    <a:pt x="2509463" y="1648755"/>
                  </a:cubicBezTo>
                  <a:cubicBezTo>
                    <a:pt x="2495324" y="1633873"/>
                    <a:pt x="2473298" y="1623007"/>
                    <a:pt x="2450526" y="1623007"/>
                  </a:cubicBezTo>
                  <a:cubicBezTo>
                    <a:pt x="2427906" y="1623007"/>
                    <a:pt x="2405579" y="1633873"/>
                    <a:pt x="2391440" y="1648755"/>
                  </a:cubicBezTo>
                  <a:cubicBezTo>
                    <a:pt x="2377598" y="1663785"/>
                    <a:pt x="2372242" y="1682241"/>
                    <a:pt x="2368222" y="1700399"/>
                  </a:cubicBezTo>
                  <a:lnTo>
                    <a:pt x="2227580" y="2368483"/>
                  </a:lnTo>
                  <a:cubicBezTo>
                    <a:pt x="2221030" y="2424292"/>
                    <a:pt x="2083664" y="2427568"/>
                    <a:pt x="2079942" y="2372053"/>
                  </a:cubicBezTo>
                  <a:lnTo>
                    <a:pt x="2178316" y="1463901"/>
                  </a:lnTo>
                  <a:lnTo>
                    <a:pt x="2178465" y="933168"/>
                  </a:lnTo>
                  <a:cubicBezTo>
                    <a:pt x="2178465" y="922306"/>
                    <a:pt x="2174895" y="912038"/>
                    <a:pt x="2168048" y="903404"/>
                  </a:cubicBezTo>
                  <a:lnTo>
                    <a:pt x="1609198" y="200650"/>
                  </a:lnTo>
                  <a:cubicBezTo>
                    <a:pt x="1571098" y="152876"/>
                    <a:pt x="1583598" y="125490"/>
                    <a:pt x="1601459" y="108524"/>
                  </a:cubicBezTo>
                  <a:cubicBezTo>
                    <a:pt x="1610539" y="99891"/>
                    <a:pt x="1621550" y="93791"/>
                    <a:pt x="1634351" y="93494"/>
                  </a:cubicBezTo>
                  <a:close/>
                  <a:moveTo>
                    <a:pt x="1635707" y="19"/>
                  </a:moveTo>
                  <a:cubicBezTo>
                    <a:pt x="1589869" y="19"/>
                    <a:pt x="1550874" y="16985"/>
                    <a:pt x="1521705" y="45411"/>
                  </a:cubicBezTo>
                  <a:lnTo>
                    <a:pt x="1109158" y="449348"/>
                  </a:lnTo>
                  <a:cubicBezTo>
                    <a:pt x="1011972" y="544598"/>
                    <a:pt x="916128" y="577341"/>
                    <a:pt x="815521" y="577044"/>
                  </a:cubicBezTo>
                  <a:cubicBezTo>
                    <a:pt x="752420" y="576895"/>
                    <a:pt x="695118" y="563796"/>
                    <a:pt x="620853" y="541473"/>
                  </a:cubicBezTo>
                  <a:cubicBezTo>
                    <a:pt x="547926" y="519448"/>
                    <a:pt x="480656" y="531651"/>
                    <a:pt x="430502" y="563053"/>
                  </a:cubicBezTo>
                  <a:cubicBezTo>
                    <a:pt x="380644" y="594604"/>
                    <a:pt x="347604" y="641783"/>
                    <a:pt x="325578" y="688517"/>
                  </a:cubicBezTo>
                  <a:lnTo>
                    <a:pt x="16906" y="1342313"/>
                  </a:lnTo>
                  <a:cubicBezTo>
                    <a:pt x="-2591" y="1380413"/>
                    <a:pt x="-4675" y="1422532"/>
                    <a:pt x="7827" y="1457207"/>
                  </a:cubicBezTo>
                  <a:cubicBezTo>
                    <a:pt x="20775" y="1492034"/>
                    <a:pt x="46373" y="1518971"/>
                    <a:pt x="77775" y="1535045"/>
                  </a:cubicBezTo>
                  <a:cubicBezTo>
                    <a:pt x="140431" y="1567045"/>
                    <a:pt x="231517" y="1550228"/>
                    <a:pt x="281672" y="1471792"/>
                  </a:cubicBezTo>
                  <a:lnTo>
                    <a:pt x="447468" y="1212978"/>
                  </a:lnTo>
                  <a:lnTo>
                    <a:pt x="447468" y="1456312"/>
                  </a:lnTo>
                  <a:lnTo>
                    <a:pt x="348495" y="2369378"/>
                  </a:lnTo>
                  <a:cubicBezTo>
                    <a:pt x="348347" y="2371759"/>
                    <a:pt x="348049" y="2374438"/>
                    <a:pt x="348347" y="2376819"/>
                  </a:cubicBezTo>
                  <a:cubicBezTo>
                    <a:pt x="357426" y="2555413"/>
                    <a:pt x="666691" y="2557200"/>
                    <a:pt x="687673" y="2380096"/>
                  </a:cubicBezTo>
                  <a:lnTo>
                    <a:pt x="686926" y="2384260"/>
                  </a:lnTo>
                  <a:lnTo>
                    <a:pt x="815216" y="1774355"/>
                  </a:lnTo>
                  <a:lnTo>
                    <a:pt x="942912" y="2380222"/>
                  </a:lnTo>
                  <a:cubicBezTo>
                    <a:pt x="963601" y="2557181"/>
                    <a:pt x="1273015" y="2555546"/>
                    <a:pt x="1282090" y="2376948"/>
                  </a:cubicBezTo>
                  <a:cubicBezTo>
                    <a:pt x="1282239" y="2374567"/>
                    <a:pt x="1282090" y="2371889"/>
                    <a:pt x="1281941" y="2369508"/>
                  </a:cubicBezTo>
                  <a:lnTo>
                    <a:pt x="1183118" y="1456441"/>
                  </a:lnTo>
                  <a:lnTo>
                    <a:pt x="1182969" y="950283"/>
                  </a:lnTo>
                  <a:lnTo>
                    <a:pt x="1632740" y="384307"/>
                  </a:lnTo>
                  <a:lnTo>
                    <a:pt x="2082510" y="950283"/>
                  </a:lnTo>
                  <a:lnTo>
                    <a:pt x="2082510" y="1456289"/>
                  </a:lnTo>
                  <a:lnTo>
                    <a:pt x="1983686" y="2369355"/>
                  </a:lnTo>
                  <a:cubicBezTo>
                    <a:pt x="1983538" y="2371737"/>
                    <a:pt x="1983538" y="2374415"/>
                    <a:pt x="1983538" y="2376796"/>
                  </a:cubicBezTo>
                  <a:cubicBezTo>
                    <a:pt x="1992765" y="2555390"/>
                    <a:pt x="2301882" y="2557177"/>
                    <a:pt x="2322864" y="2380073"/>
                  </a:cubicBezTo>
                  <a:lnTo>
                    <a:pt x="2450560" y="1774355"/>
                  </a:lnTo>
                  <a:lnTo>
                    <a:pt x="2578107" y="2380222"/>
                  </a:lnTo>
                  <a:cubicBezTo>
                    <a:pt x="2614870" y="2554651"/>
                    <a:pt x="2908358" y="2555546"/>
                    <a:pt x="2917434" y="2376948"/>
                  </a:cubicBezTo>
                  <a:cubicBezTo>
                    <a:pt x="2917582" y="2374567"/>
                    <a:pt x="2917434" y="2371889"/>
                    <a:pt x="2917285" y="2369508"/>
                  </a:cubicBezTo>
                  <a:lnTo>
                    <a:pt x="2818313" y="1456441"/>
                  </a:lnTo>
                  <a:lnTo>
                    <a:pt x="2818313" y="1213108"/>
                  </a:lnTo>
                  <a:lnTo>
                    <a:pt x="2984109" y="1471921"/>
                  </a:lnTo>
                  <a:cubicBezTo>
                    <a:pt x="3034412" y="1550354"/>
                    <a:pt x="3125494" y="1567171"/>
                    <a:pt x="3188153" y="1535175"/>
                  </a:cubicBezTo>
                  <a:cubicBezTo>
                    <a:pt x="3219406" y="1519100"/>
                    <a:pt x="3245155" y="1492164"/>
                    <a:pt x="3258101" y="1457337"/>
                  </a:cubicBezTo>
                  <a:cubicBezTo>
                    <a:pt x="3270902" y="1422810"/>
                    <a:pt x="3268670" y="1380691"/>
                    <a:pt x="3249022" y="1342442"/>
                  </a:cubicBezTo>
                  <a:lnTo>
                    <a:pt x="2940351" y="688646"/>
                  </a:lnTo>
                  <a:cubicBezTo>
                    <a:pt x="2918325" y="641913"/>
                    <a:pt x="2885136" y="594737"/>
                    <a:pt x="2835427" y="563183"/>
                  </a:cubicBezTo>
                  <a:cubicBezTo>
                    <a:pt x="2785569" y="531632"/>
                    <a:pt x="2718300" y="519577"/>
                    <a:pt x="2645373" y="541603"/>
                  </a:cubicBezTo>
                  <a:cubicBezTo>
                    <a:pt x="2570811" y="563926"/>
                    <a:pt x="2513513" y="576876"/>
                    <a:pt x="2450705" y="577173"/>
                  </a:cubicBezTo>
                  <a:cubicBezTo>
                    <a:pt x="2350098" y="577619"/>
                    <a:pt x="2254101" y="544727"/>
                    <a:pt x="2156771" y="449477"/>
                  </a:cubicBezTo>
                  <a:lnTo>
                    <a:pt x="1744224" y="45541"/>
                  </a:lnTo>
                  <a:cubicBezTo>
                    <a:pt x="1712376" y="14585"/>
                    <a:pt x="1673381" y="0"/>
                    <a:pt x="1635727" y="0"/>
                  </a:cubicBezTo>
                  <a:close/>
                </a:path>
              </a:pathLst>
            </a:custGeom>
            <a:solidFill>
              <a:schemeClr val="accent2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D3E316E0-475A-F262-3E24-9D6794538AC8}"/>
                </a:ext>
              </a:extLst>
            </p:cNvPr>
            <p:cNvSpPr/>
            <p:nvPr/>
          </p:nvSpPr>
          <p:spPr>
            <a:xfrm>
              <a:off x="1856777" y="1758172"/>
              <a:ext cx="165471" cy="175305"/>
            </a:xfrm>
            <a:custGeom>
              <a:avLst/>
              <a:gdLst>
                <a:gd name="connsiteX0" fmla="*/ 331588 w 663621"/>
                <a:gd name="connsiteY0" fmla="*/ 96142 h 703063"/>
                <a:gd name="connsiteX1" fmla="*/ 95696 w 663621"/>
                <a:gd name="connsiteY1" fmla="*/ 300186 h 703063"/>
                <a:gd name="connsiteX2" fmla="*/ 95696 w 663621"/>
                <a:gd name="connsiteY2" fmla="*/ 403323 h 703063"/>
                <a:gd name="connsiteX3" fmla="*/ 331588 w 663621"/>
                <a:gd name="connsiteY3" fmla="*/ 607070 h 703063"/>
                <a:gd name="connsiteX4" fmla="*/ 567480 w 663621"/>
                <a:gd name="connsiteY4" fmla="*/ 403323 h 703063"/>
                <a:gd name="connsiteX5" fmla="*/ 567480 w 663621"/>
                <a:gd name="connsiteY5" fmla="*/ 300186 h 703063"/>
                <a:gd name="connsiteX6" fmla="*/ 331588 w 663621"/>
                <a:gd name="connsiteY6" fmla="*/ 96142 h 703063"/>
                <a:gd name="connsiteX7" fmla="*/ 331588 w 663621"/>
                <a:gd name="connsiteY7" fmla="*/ 0 h 703063"/>
                <a:gd name="connsiteX8" fmla="*/ 663622 w 663621"/>
                <a:gd name="connsiteY8" fmla="*/ 300038 h 703063"/>
                <a:gd name="connsiteX9" fmla="*/ 663622 w 663621"/>
                <a:gd name="connsiteY9" fmla="*/ 403174 h 703063"/>
                <a:gd name="connsiteX10" fmla="*/ 331588 w 663621"/>
                <a:gd name="connsiteY10" fmla="*/ 703063 h 703063"/>
                <a:gd name="connsiteX11" fmla="*/ 0 w 663621"/>
                <a:gd name="connsiteY11" fmla="*/ 403174 h 703063"/>
                <a:gd name="connsiteX12" fmla="*/ 0 w 663621"/>
                <a:gd name="connsiteY12" fmla="*/ 300038 h 703063"/>
                <a:gd name="connsiteX13" fmla="*/ 331588 w 663621"/>
                <a:gd name="connsiteY13" fmla="*/ 0 h 703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63621" h="703063">
                  <a:moveTo>
                    <a:pt x="331588" y="96142"/>
                  </a:moveTo>
                  <a:cubicBezTo>
                    <a:pt x="197049" y="96142"/>
                    <a:pt x="95696" y="189753"/>
                    <a:pt x="95696" y="300186"/>
                  </a:cubicBezTo>
                  <a:lnTo>
                    <a:pt x="95696" y="403323"/>
                  </a:lnTo>
                  <a:cubicBezTo>
                    <a:pt x="95696" y="513752"/>
                    <a:pt x="197049" y="607070"/>
                    <a:pt x="331588" y="607070"/>
                  </a:cubicBezTo>
                  <a:cubicBezTo>
                    <a:pt x="466127" y="607070"/>
                    <a:pt x="567480" y="513756"/>
                    <a:pt x="567480" y="403323"/>
                  </a:cubicBezTo>
                  <a:lnTo>
                    <a:pt x="567480" y="300186"/>
                  </a:lnTo>
                  <a:cubicBezTo>
                    <a:pt x="567480" y="189757"/>
                    <a:pt x="465978" y="96142"/>
                    <a:pt x="331588" y="96142"/>
                  </a:cubicBezTo>
                  <a:close/>
                  <a:moveTo>
                    <a:pt x="331588" y="0"/>
                  </a:moveTo>
                  <a:cubicBezTo>
                    <a:pt x="511820" y="0"/>
                    <a:pt x="663622" y="131415"/>
                    <a:pt x="663622" y="300038"/>
                  </a:cubicBezTo>
                  <a:lnTo>
                    <a:pt x="663622" y="403174"/>
                  </a:lnTo>
                  <a:cubicBezTo>
                    <a:pt x="663622" y="571797"/>
                    <a:pt x="511668" y="703063"/>
                    <a:pt x="331588" y="703063"/>
                  </a:cubicBezTo>
                  <a:cubicBezTo>
                    <a:pt x="151653" y="703063"/>
                    <a:pt x="0" y="571946"/>
                    <a:pt x="0" y="403174"/>
                  </a:cubicBezTo>
                  <a:lnTo>
                    <a:pt x="0" y="300038"/>
                  </a:lnTo>
                  <a:cubicBezTo>
                    <a:pt x="0" y="131415"/>
                    <a:pt x="151657" y="0"/>
                    <a:pt x="331588" y="0"/>
                  </a:cubicBezTo>
                  <a:close/>
                </a:path>
              </a:pathLst>
            </a:custGeom>
            <a:solidFill>
              <a:schemeClr val="accent3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</p:grpSp>
      <p:sp>
        <p:nvSpPr>
          <p:cNvPr id="44" name="TextBox 43">
            <a:extLst>
              <a:ext uri="{FF2B5EF4-FFF2-40B4-BE49-F238E27FC236}">
                <a16:creationId xmlns:a16="http://schemas.microsoft.com/office/drawing/2014/main" id="{C413E55F-B5ED-BDC6-3FDE-DBCE5826ED8D}"/>
              </a:ext>
            </a:extLst>
          </p:cNvPr>
          <p:cNvSpPr txBox="1"/>
          <p:nvPr/>
        </p:nvSpPr>
        <p:spPr>
          <a:xfrm>
            <a:off x="409606" y="3152541"/>
            <a:ext cx="2863290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NL" sz="1400" dirty="0">
                <a:solidFill>
                  <a:schemeClr val="tx1"/>
                </a:solidFill>
              </a:rPr>
              <a:t>Wij delen onze expertise met je en helpen je op weg met het in kaart brengen én verbeteren van de medewerkerbeleving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501A4122-20A9-8B6B-F06B-D6E3F2348B1F}"/>
              </a:ext>
            </a:extLst>
          </p:cNvPr>
          <p:cNvSpPr txBox="1"/>
          <p:nvPr/>
        </p:nvSpPr>
        <p:spPr>
          <a:xfrm>
            <a:off x="6075581" y="3152541"/>
            <a:ext cx="3044296" cy="28931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NL" sz="1400" dirty="0">
                <a:solidFill>
                  <a:schemeClr val="tx1"/>
                </a:solidFill>
              </a:rPr>
              <a:t>We nemen diepte-interviews bij jullie medewerkers af (1-op-1):</a:t>
            </a:r>
          </a:p>
          <a:p>
            <a:pPr marL="285750" indent="-285750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nl-NL" sz="1400" dirty="0">
                <a:solidFill>
                  <a:schemeClr val="tx1"/>
                </a:solidFill>
              </a:rPr>
              <a:t>m.b.v. een associatieve methode </a:t>
            </a:r>
          </a:p>
          <a:p>
            <a:pPr marL="285750" indent="-285750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nl-NL" sz="1400" dirty="0">
                <a:solidFill>
                  <a:schemeClr val="tx1"/>
                </a:solidFill>
              </a:rPr>
              <a:t>om hun behoeftes en beleving uit hun onderbewuste op tafel te krijgen</a:t>
            </a:r>
          </a:p>
          <a:p>
            <a:pPr marL="285750" indent="-285750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nl-NL" sz="1400" dirty="0">
                <a:solidFill>
                  <a:schemeClr val="tx1"/>
                </a:solidFill>
              </a:rPr>
              <a:t>om de momenten van de waarheid te bepalen</a:t>
            </a:r>
          </a:p>
          <a:p>
            <a:pPr marL="285750" indent="-285750">
              <a:buClr>
                <a:schemeClr val="accent2"/>
              </a:buClr>
              <a:buFont typeface="Wingdings" panose="05000000000000000000" pitchFamily="2" charset="2"/>
              <a:buChar char="§"/>
            </a:pPr>
            <a:endParaRPr lang="nl-NL" sz="1400" dirty="0">
              <a:solidFill>
                <a:schemeClr val="tx1"/>
              </a:solidFill>
            </a:endParaRPr>
          </a:p>
          <a:p>
            <a:r>
              <a:rPr lang="nl-NL" sz="1400" dirty="0">
                <a:solidFill>
                  <a:schemeClr val="tx1"/>
                </a:solidFill>
              </a:rPr>
              <a:t>Met jullie multidisciplinaire team: </a:t>
            </a:r>
          </a:p>
          <a:p>
            <a:pPr marL="285750" indent="-285750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nl-NL" sz="1400" dirty="0"/>
              <a:t>b</a:t>
            </a:r>
            <a:r>
              <a:rPr lang="nl-NL" sz="1400" dirty="0">
                <a:solidFill>
                  <a:schemeClr val="tx1"/>
                </a:solidFill>
              </a:rPr>
              <a:t>epalen we de gewenste beleving</a:t>
            </a:r>
          </a:p>
          <a:p>
            <a:pPr marL="285750" indent="-285750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nl-NL" sz="1400" dirty="0">
                <a:solidFill>
                  <a:schemeClr val="tx1"/>
                </a:solidFill>
              </a:rPr>
              <a:t>stellen we een roadmap op om de</a:t>
            </a:r>
            <a:r>
              <a:rPr lang="nl-NL" sz="1400" dirty="0"/>
              <a:t> gewenste beleving te realiseren én de</a:t>
            </a:r>
            <a:r>
              <a:rPr lang="nl-NL" sz="1400" dirty="0">
                <a:solidFill>
                  <a:schemeClr val="tx1"/>
                </a:solidFill>
              </a:rPr>
              <a:t> beleving continu te verbeteren</a:t>
            </a:r>
            <a:endParaRPr lang="nl-NL" sz="1200" dirty="0">
              <a:solidFill>
                <a:schemeClr val="accent2"/>
              </a:solidFill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3257E953-CF5C-9BAD-4921-C0285D4C28AB}"/>
              </a:ext>
            </a:extLst>
          </p:cNvPr>
          <p:cNvSpPr txBox="1"/>
          <p:nvPr/>
        </p:nvSpPr>
        <p:spPr>
          <a:xfrm>
            <a:off x="3265934" y="3152541"/>
            <a:ext cx="2816609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NL" sz="1400" dirty="0">
                <a:solidFill>
                  <a:schemeClr val="tx1"/>
                </a:solidFill>
              </a:rPr>
              <a:t>We organiseren focusgroepen met jullie medewerkers om: </a:t>
            </a:r>
          </a:p>
          <a:p>
            <a:pPr marL="285750" indent="-285750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nl-NL" sz="1400" dirty="0">
                <a:solidFill>
                  <a:schemeClr val="tx1"/>
                </a:solidFill>
              </a:rPr>
              <a:t>hun behoeftes en beleving in alle stappen in de reis in kaart te brengen</a:t>
            </a:r>
            <a:endParaRPr lang="nl-NL" sz="1400" dirty="0"/>
          </a:p>
          <a:p>
            <a:pPr marL="285750" indent="-285750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nl-NL" sz="1400" dirty="0">
                <a:solidFill>
                  <a:schemeClr val="tx1"/>
                </a:solidFill>
              </a:rPr>
              <a:t>momenten van de waarheid te bepalen</a:t>
            </a:r>
          </a:p>
          <a:p>
            <a:pPr marL="285750" indent="-285750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nl-NL" sz="1400" dirty="0">
                <a:solidFill>
                  <a:schemeClr val="tx1"/>
                </a:solidFill>
              </a:rPr>
              <a:t>verbeteringen te identificeren</a:t>
            </a:r>
            <a:endParaRPr lang="nl-NL" sz="1200" dirty="0">
              <a:solidFill>
                <a:schemeClr val="accent2"/>
              </a:solidFill>
            </a:endParaRPr>
          </a:p>
        </p:txBody>
      </p:sp>
      <p:sp>
        <p:nvSpPr>
          <p:cNvPr id="1054" name="Content Placeholder 2">
            <a:extLst>
              <a:ext uri="{FF2B5EF4-FFF2-40B4-BE49-F238E27FC236}">
                <a16:creationId xmlns:a16="http://schemas.microsoft.com/office/drawing/2014/main" id="{100E6550-D66E-916D-4034-7BED732DE2D2}"/>
              </a:ext>
            </a:extLst>
          </p:cNvPr>
          <p:cNvSpPr txBox="1">
            <a:spLocks/>
          </p:cNvSpPr>
          <p:nvPr/>
        </p:nvSpPr>
        <p:spPr>
          <a:xfrm>
            <a:off x="3602851" y="6305752"/>
            <a:ext cx="2910790" cy="30757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85000"/>
              </a:lnSpc>
              <a:spcBef>
                <a:spcPts val="300"/>
              </a:spcBef>
              <a:buNone/>
            </a:pPr>
            <a:r>
              <a:rPr lang="nl-NL" sz="1600" dirty="0">
                <a:solidFill>
                  <a:schemeClr val="accent6"/>
                </a:solidFill>
                <a:cs typeface="Arial" panose="020B0604020202020204" pitchFamily="34" charset="0"/>
              </a:rPr>
              <a:t>Medewerkertevredenheid</a:t>
            </a:r>
          </a:p>
          <a:p>
            <a:pPr marL="0" indent="0" algn="r">
              <a:lnSpc>
                <a:spcPct val="85000"/>
              </a:lnSpc>
              <a:spcBef>
                <a:spcPts val="300"/>
              </a:spcBef>
              <a:buNone/>
            </a:pPr>
            <a:r>
              <a:rPr lang="nl-NL" sz="1600" dirty="0">
                <a:solidFill>
                  <a:schemeClr val="accent6"/>
                </a:solidFill>
                <a:cs typeface="Arial" panose="020B0604020202020204" pitchFamily="34" charset="0"/>
              </a:rPr>
              <a:t>Aantrekkelijke werkgever</a:t>
            </a:r>
          </a:p>
        </p:txBody>
      </p:sp>
      <p:pic>
        <p:nvPicPr>
          <p:cNvPr id="1056" name="Graphic 1055" descr="Staafdiagram met stijgende lijn met effen opvulling">
            <a:extLst>
              <a:ext uri="{FF2B5EF4-FFF2-40B4-BE49-F238E27FC236}">
                <a16:creationId xmlns:a16="http://schemas.microsoft.com/office/drawing/2014/main" id="{2D4582C5-927A-07F5-DB96-077FC6CCD80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996593" y="6237461"/>
            <a:ext cx="440682" cy="444160"/>
          </a:xfrm>
          <a:prstGeom prst="rect">
            <a:avLst/>
          </a:prstGeom>
        </p:spPr>
      </p:pic>
      <p:pic>
        <p:nvPicPr>
          <p:cNvPr id="1057" name="Graphic 1056" descr="Staafdiagram met dalende lijn met effen opvulling">
            <a:extLst>
              <a:ext uri="{FF2B5EF4-FFF2-40B4-BE49-F238E27FC236}">
                <a16:creationId xmlns:a16="http://schemas.microsoft.com/office/drawing/2014/main" id="{48045ACC-8234-54A9-740C-F3B50803DE4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152649" y="6237461"/>
            <a:ext cx="440682" cy="444160"/>
          </a:xfrm>
          <a:prstGeom prst="rect">
            <a:avLst/>
          </a:prstGeom>
        </p:spPr>
      </p:pic>
      <p:sp>
        <p:nvSpPr>
          <p:cNvPr id="1058" name="TextBox 1057">
            <a:extLst>
              <a:ext uri="{FF2B5EF4-FFF2-40B4-BE49-F238E27FC236}">
                <a16:creationId xmlns:a16="http://schemas.microsoft.com/office/drawing/2014/main" id="{646CACFA-3922-A829-F726-EAD4F76551B5}"/>
              </a:ext>
            </a:extLst>
          </p:cNvPr>
          <p:cNvSpPr txBox="1"/>
          <p:nvPr/>
        </p:nvSpPr>
        <p:spPr>
          <a:xfrm>
            <a:off x="7534596" y="6308731"/>
            <a:ext cx="2101292" cy="3016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lnSpc>
                <a:spcPct val="85000"/>
              </a:lnSpc>
              <a:spcBef>
                <a:spcPts val="300"/>
              </a:spcBef>
              <a:buNone/>
            </a:pPr>
            <a:r>
              <a:rPr lang="nl-NL" sz="1600" dirty="0">
                <a:solidFill>
                  <a:schemeClr val="tx2"/>
                </a:solidFill>
                <a:cs typeface="Arial" panose="020B0604020202020204" pitchFamily="34" charset="0"/>
              </a:rPr>
              <a:t>Verzuim en Verloop</a:t>
            </a:r>
          </a:p>
        </p:txBody>
      </p:sp>
      <p:sp>
        <p:nvSpPr>
          <p:cNvPr id="1061" name="Rectangle 1060">
            <a:extLst>
              <a:ext uri="{FF2B5EF4-FFF2-40B4-BE49-F238E27FC236}">
                <a16:creationId xmlns:a16="http://schemas.microsoft.com/office/drawing/2014/main" id="{95E55C4F-4981-7067-7DCB-C6D9C6977349}"/>
              </a:ext>
            </a:extLst>
          </p:cNvPr>
          <p:cNvSpPr/>
          <p:nvPr/>
        </p:nvSpPr>
        <p:spPr>
          <a:xfrm>
            <a:off x="1841251" y="6301442"/>
            <a:ext cx="3205655" cy="2791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b="1" dirty="0">
                <a:solidFill>
                  <a:schemeClr val="accent2"/>
                </a:solidFill>
              </a:rPr>
              <a:t>Resultaat</a:t>
            </a:r>
          </a:p>
        </p:txBody>
      </p:sp>
      <p:sp>
        <p:nvSpPr>
          <p:cNvPr id="1077" name="Isosceles Triangle 1076">
            <a:extLst>
              <a:ext uri="{FF2B5EF4-FFF2-40B4-BE49-F238E27FC236}">
                <a16:creationId xmlns:a16="http://schemas.microsoft.com/office/drawing/2014/main" id="{45E14C41-41BF-3445-B2A2-71430FA4F934}"/>
              </a:ext>
            </a:extLst>
          </p:cNvPr>
          <p:cNvSpPr/>
          <p:nvPr/>
        </p:nvSpPr>
        <p:spPr>
          <a:xfrm rot="5400000">
            <a:off x="2457668" y="6269192"/>
            <a:ext cx="604284" cy="380699"/>
          </a:xfrm>
          <a:prstGeom prst="triangl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grpSp>
        <p:nvGrpSpPr>
          <p:cNvPr id="3" name="Group 1071">
            <a:extLst>
              <a:ext uri="{FF2B5EF4-FFF2-40B4-BE49-F238E27FC236}">
                <a16:creationId xmlns:a16="http://schemas.microsoft.com/office/drawing/2014/main" id="{34BD50C9-3848-C7D9-E38A-A204C3D97F09}"/>
              </a:ext>
            </a:extLst>
          </p:cNvPr>
          <p:cNvGrpSpPr/>
          <p:nvPr/>
        </p:nvGrpSpPr>
        <p:grpSpPr>
          <a:xfrm>
            <a:off x="9063392" y="2473977"/>
            <a:ext cx="2816610" cy="607770"/>
            <a:chOff x="5957301" y="2473977"/>
            <a:chExt cx="2528695" cy="607770"/>
          </a:xfrm>
        </p:grpSpPr>
        <p:sp>
          <p:nvSpPr>
            <p:cNvPr id="6" name="Rectangle: Rounded Corners 9">
              <a:extLst>
                <a:ext uri="{FF2B5EF4-FFF2-40B4-BE49-F238E27FC236}">
                  <a16:creationId xmlns:a16="http://schemas.microsoft.com/office/drawing/2014/main" id="{1B2D8EDA-AF5F-AAED-CDA2-CA71B4E6F01F}"/>
                </a:ext>
              </a:extLst>
            </p:cNvPr>
            <p:cNvSpPr/>
            <p:nvPr/>
          </p:nvSpPr>
          <p:spPr>
            <a:xfrm>
              <a:off x="5957301" y="2473977"/>
              <a:ext cx="2528695" cy="607770"/>
            </a:xfrm>
            <a:prstGeom prst="roundRect">
              <a:avLst>
                <a:gd name="adj" fmla="val 9028"/>
              </a:avLst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3200" dirty="0">
                <a:solidFill>
                  <a:schemeClr val="accent2"/>
                </a:solidFill>
              </a:endParaRPr>
            </a:p>
          </p:txBody>
        </p:sp>
        <p:sp>
          <p:nvSpPr>
            <p:cNvPr id="9" name="Content Placeholder 2">
              <a:extLst>
                <a:ext uri="{FF2B5EF4-FFF2-40B4-BE49-F238E27FC236}">
                  <a16:creationId xmlns:a16="http://schemas.microsoft.com/office/drawing/2014/main" id="{BB038989-113E-E7B5-482C-5DFF65F84369}"/>
                </a:ext>
              </a:extLst>
            </p:cNvPr>
            <p:cNvSpPr txBox="1">
              <a:spLocks/>
            </p:cNvSpPr>
            <p:nvPr/>
          </p:nvSpPr>
          <p:spPr>
            <a:xfrm>
              <a:off x="6038302" y="2701172"/>
              <a:ext cx="2366693" cy="2295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171496" indent="-171496" algn="l" defTabSz="685983" rtl="0" eaLnBrk="1" latinLnBrk="0" hangingPunct="1">
                <a:lnSpc>
                  <a:spcPct val="90000"/>
                </a:lnSpc>
                <a:spcBef>
                  <a:spcPts val="750"/>
                </a:spcBef>
                <a:buClr>
                  <a:srgbClr val="1F94D1"/>
                </a:buClr>
                <a:buFont typeface="Arial"/>
                <a:buChar char="•"/>
                <a:defRPr sz="2101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1pPr>
              <a:lvl2pPr marL="292100" indent="-112713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Font typeface="Arial" panose="020B0604020202020204" pitchFamily="34" charset="0"/>
                <a:buChar char="–"/>
                <a:tabLst/>
                <a:defRPr sz="180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2pPr>
              <a:lvl3pPr marL="460375" indent="-112713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SzPct val="60000"/>
                <a:buFont typeface="Arial" panose="020B0604020202020204" pitchFamily="34" charset="0"/>
                <a:buChar char="►"/>
                <a:tabLst/>
                <a:defRPr sz="150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3pPr>
              <a:lvl4pPr marL="573088" indent="-112713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Font typeface="Wingdings" panose="05000000000000000000" pitchFamily="2" charset="2"/>
                <a:buChar char="§"/>
                <a:tabLst/>
                <a:defRPr sz="135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4pPr>
              <a:lvl5pPr marL="695325" indent="-122238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SzPct val="80000"/>
                <a:buFont typeface="Courier New" panose="02070309020205020404" pitchFamily="49" charset="0"/>
                <a:buChar char="o"/>
                <a:tabLst/>
                <a:defRPr sz="135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5pPr>
              <a:lvl6pPr marL="1886453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9444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2436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5427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lnSpc>
                  <a:spcPct val="85000"/>
                </a:lnSpc>
                <a:spcBef>
                  <a:spcPts val="100"/>
                </a:spcBef>
                <a:buNone/>
              </a:pPr>
              <a:r>
                <a:rPr lang="nl-NL" sz="2000" dirty="0">
                  <a:solidFill>
                    <a:schemeClr val="accent2"/>
                  </a:solidFill>
                  <a:cs typeface="Arial" panose="020B0604020202020204" pitchFamily="34" charset="0"/>
                </a:rPr>
                <a:t>WERKSESSIE(S)</a:t>
              </a:r>
            </a:p>
            <a:p>
              <a:pPr marL="0" indent="0" algn="ctr">
                <a:lnSpc>
                  <a:spcPct val="85000"/>
                </a:lnSpc>
                <a:spcBef>
                  <a:spcPts val="100"/>
                </a:spcBef>
                <a:buNone/>
              </a:pPr>
              <a:r>
                <a:rPr lang="nl-NL" sz="2000" dirty="0">
                  <a:solidFill>
                    <a:schemeClr val="accent2"/>
                  </a:solidFill>
                  <a:cs typeface="Arial" panose="020B0604020202020204" pitchFamily="34" charset="0"/>
                </a:rPr>
                <a:t>HR PROCESSEN</a:t>
              </a:r>
            </a:p>
          </p:txBody>
        </p:sp>
      </p:grpSp>
      <p:sp>
        <p:nvSpPr>
          <p:cNvPr id="12" name="TextBox 45">
            <a:extLst>
              <a:ext uri="{FF2B5EF4-FFF2-40B4-BE49-F238E27FC236}">
                <a16:creationId xmlns:a16="http://schemas.microsoft.com/office/drawing/2014/main" id="{944BC6DE-AAA7-42B3-C47E-9E8285886143}"/>
              </a:ext>
            </a:extLst>
          </p:cNvPr>
          <p:cNvSpPr txBox="1"/>
          <p:nvPr/>
        </p:nvSpPr>
        <p:spPr>
          <a:xfrm>
            <a:off x="9063391" y="3152541"/>
            <a:ext cx="2994773" cy="264687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NL" sz="1400" dirty="0">
                <a:solidFill>
                  <a:schemeClr val="tx1"/>
                </a:solidFill>
              </a:rPr>
              <a:t>Wij organiseren één of meer werksessies met jullie multidisciplinaire team (HR, IT, operatie,…) waarin we:</a:t>
            </a:r>
          </a:p>
          <a:p>
            <a:pPr marL="285750" indent="-285750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nl-NL" sz="1400" dirty="0"/>
              <a:t>alle HR processen in kaart brengen </a:t>
            </a:r>
            <a:endParaRPr lang="nl-NL" sz="1400" dirty="0">
              <a:solidFill>
                <a:schemeClr val="tx1"/>
              </a:solidFill>
            </a:endParaRPr>
          </a:p>
          <a:p>
            <a:pPr marL="285750" indent="-285750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nl-NL" sz="1400" dirty="0"/>
              <a:t>g</a:t>
            </a:r>
            <a:r>
              <a:rPr lang="nl-NL" sz="1400" dirty="0">
                <a:solidFill>
                  <a:schemeClr val="tx1"/>
                </a:solidFill>
              </a:rPr>
              <a:t>eselecteerde HR processen uitwerken in detail procesflows</a:t>
            </a:r>
          </a:p>
          <a:p>
            <a:pPr marL="285750" indent="-285750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nl-NL" sz="1400" dirty="0">
                <a:solidFill>
                  <a:schemeClr val="tx1"/>
                </a:solidFill>
              </a:rPr>
              <a:t>de gewenste medewerkerbeleving terug laten komen in de procesflows</a:t>
            </a:r>
          </a:p>
          <a:p>
            <a:pPr marL="285750" indent="-285750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nl-NL" sz="1400" dirty="0"/>
              <a:t>wow momenten toevoegen aan de procesflows</a:t>
            </a:r>
            <a:endParaRPr lang="nl-NL" sz="1400" dirty="0">
              <a:solidFill>
                <a:schemeClr val="tx1"/>
              </a:solidFill>
            </a:endParaRPr>
          </a:p>
          <a:p>
            <a:endParaRPr lang="nl-NL" sz="1200" dirty="0">
              <a:solidFill>
                <a:schemeClr val="accent2"/>
              </a:solidFill>
            </a:endParaRP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54CA11FC-3A70-5DA0-11EC-65D12212FA02}"/>
              </a:ext>
            </a:extLst>
          </p:cNvPr>
          <p:cNvSpPr txBox="1"/>
          <p:nvPr/>
        </p:nvSpPr>
        <p:spPr>
          <a:xfrm>
            <a:off x="6766115" y="6228709"/>
            <a:ext cx="29738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2400" dirty="0">
                <a:solidFill>
                  <a:schemeClr val="accent2"/>
                </a:solidFill>
              </a:rPr>
              <a:t>&amp;</a:t>
            </a: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7B8337F9-B4F1-D70F-6F33-42336A241678}"/>
              </a:ext>
            </a:extLst>
          </p:cNvPr>
          <p:cNvSpPr/>
          <p:nvPr/>
        </p:nvSpPr>
        <p:spPr>
          <a:xfrm>
            <a:off x="10231299" y="1832518"/>
            <a:ext cx="113378" cy="113376"/>
          </a:xfrm>
          <a:custGeom>
            <a:avLst/>
            <a:gdLst>
              <a:gd name="connsiteX0" fmla="*/ 72344 w 144695"/>
              <a:gd name="connsiteY0" fmla="*/ 144694 h 144693"/>
              <a:gd name="connsiteX1" fmla="*/ 139198 w 144695"/>
              <a:gd name="connsiteY1" fmla="*/ 100014 h 144693"/>
              <a:gd name="connsiteX2" fmla="*/ 123432 w 144695"/>
              <a:gd name="connsiteY2" fmla="*/ 21151 h 144693"/>
              <a:gd name="connsiteX3" fmla="*/ 44570 w 144695"/>
              <a:gd name="connsiteY3" fmla="*/ 5571 h 144693"/>
              <a:gd name="connsiteX4" fmla="*/ 0 w 144695"/>
              <a:gd name="connsiteY4" fmla="*/ 72499 h 144693"/>
              <a:gd name="connsiteX5" fmla="*/ 72343 w 144695"/>
              <a:gd name="connsiteY5" fmla="*/ 144694 h 144693"/>
              <a:gd name="connsiteX6" fmla="*/ 72344 w 144695"/>
              <a:gd name="connsiteY6" fmla="*/ 29625 h 144693"/>
              <a:gd name="connsiteX7" fmla="*/ 111941 w 144695"/>
              <a:gd name="connsiteY7" fmla="*/ 56108 h 144693"/>
              <a:gd name="connsiteX8" fmla="*/ 102658 w 144695"/>
              <a:gd name="connsiteY8" fmla="*/ 102814 h 144693"/>
              <a:gd name="connsiteX9" fmla="*/ 55953 w 144695"/>
              <a:gd name="connsiteY9" fmla="*/ 112097 h 144693"/>
              <a:gd name="connsiteX10" fmla="*/ 29469 w 144695"/>
              <a:gd name="connsiteY10" fmla="*/ 72500 h 144693"/>
              <a:gd name="connsiteX11" fmla="*/ 42029 w 144695"/>
              <a:gd name="connsiteY11" fmla="*/ 42186 h 144693"/>
              <a:gd name="connsiteX12" fmla="*/ 72343 w 144695"/>
              <a:gd name="connsiteY12" fmla="*/ 29626 h 1446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44695" h="144693">
                <a:moveTo>
                  <a:pt x="72344" y="144694"/>
                </a:moveTo>
                <a:cubicBezTo>
                  <a:pt x="101628" y="144694"/>
                  <a:pt x="128000" y="127050"/>
                  <a:pt x="139198" y="100014"/>
                </a:cubicBezTo>
                <a:cubicBezTo>
                  <a:pt x="150395" y="72940"/>
                  <a:pt x="144170" y="41815"/>
                  <a:pt x="123432" y="21151"/>
                </a:cubicBezTo>
                <a:cubicBezTo>
                  <a:pt x="102732" y="450"/>
                  <a:pt x="71570" y="-5701"/>
                  <a:pt x="44570" y="5571"/>
                </a:cubicBezTo>
                <a:cubicBezTo>
                  <a:pt x="17534" y="16805"/>
                  <a:pt x="-73" y="43215"/>
                  <a:pt x="0" y="72499"/>
                </a:cubicBezTo>
                <a:cubicBezTo>
                  <a:pt x="74" y="112391"/>
                  <a:pt x="32451" y="144694"/>
                  <a:pt x="72343" y="144694"/>
                </a:cubicBezTo>
                <a:close/>
                <a:moveTo>
                  <a:pt x="72344" y="29625"/>
                </a:moveTo>
                <a:cubicBezTo>
                  <a:pt x="89693" y="29625"/>
                  <a:pt x="105311" y="40086"/>
                  <a:pt x="111941" y="56108"/>
                </a:cubicBezTo>
                <a:cubicBezTo>
                  <a:pt x="118607" y="72131"/>
                  <a:pt x="114924" y="90548"/>
                  <a:pt x="102658" y="102814"/>
                </a:cubicBezTo>
                <a:cubicBezTo>
                  <a:pt x="90392" y="115080"/>
                  <a:pt x="71975" y="118763"/>
                  <a:pt x="55953" y="112097"/>
                </a:cubicBezTo>
                <a:cubicBezTo>
                  <a:pt x="39930" y="105467"/>
                  <a:pt x="29469" y="89848"/>
                  <a:pt x="29469" y="72500"/>
                </a:cubicBezTo>
                <a:cubicBezTo>
                  <a:pt x="29469" y="61118"/>
                  <a:pt x="34000" y="50215"/>
                  <a:pt x="42029" y="42186"/>
                </a:cubicBezTo>
                <a:cubicBezTo>
                  <a:pt x="50059" y="34155"/>
                  <a:pt x="60962" y="29626"/>
                  <a:pt x="72343" y="29626"/>
                </a:cubicBezTo>
                <a:close/>
              </a:path>
            </a:pathLst>
          </a:custGeom>
          <a:solidFill>
            <a:schemeClr val="accent2"/>
          </a:solidFill>
          <a:ln w="933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BE8CAD0C-2E68-BFEF-011B-226AF3316607}"/>
              </a:ext>
            </a:extLst>
          </p:cNvPr>
          <p:cNvSpPr/>
          <p:nvPr/>
        </p:nvSpPr>
        <p:spPr>
          <a:xfrm>
            <a:off x="10122544" y="1692372"/>
            <a:ext cx="642816" cy="669596"/>
          </a:xfrm>
          <a:custGeom>
            <a:avLst/>
            <a:gdLst>
              <a:gd name="connsiteX0" fmla="*/ 383673 w 820376"/>
              <a:gd name="connsiteY0" fmla="*/ 730052 h 854553"/>
              <a:gd name="connsiteX1" fmla="*/ 395754 w 820376"/>
              <a:gd name="connsiteY1" fmla="*/ 688945 h 854553"/>
              <a:gd name="connsiteX2" fmla="*/ 322086 w 820376"/>
              <a:gd name="connsiteY2" fmla="*/ 614097 h 854553"/>
              <a:gd name="connsiteX3" fmla="*/ 284810 w 820376"/>
              <a:gd name="connsiteY3" fmla="*/ 624558 h 854553"/>
              <a:gd name="connsiteX4" fmla="*/ 284810 w 820376"/>
              <a:gd name="connsiteY4" fmla="*/ 579326 h 854553"/>
              <a:gd name="connsiteX5" fmla="*/ 805643 w 820376"/>
              <a:gd name="connsiteY5" fmla="*/ 579326 h 854553"/>
              <a:gd name="connsiteX6" fmla="*/ 816067 w 820376"/>
              <a:gd name="connsiteY6" fmla="*/ 575016 h 854553"/>
              <a:gd name="connsiteX7" fmla="*/ 820377 w 820376"/>
              <a:gd name="connsiteY7" fmla="*/ 564592 h 854553"/>
              <a:gd name="connsiteX8" fmla="*/ 820377 w 820376"/>
              <a:gd name="connsiteY8" fmla="*/ 14734 h 854553"/>
              <a:gd name="connsiteX9" fmla="*/ 816067 w 820376"/>
              <a:gd name="connsiteY9" fmla="*/ 4310 h 854553"/>
              <a:gd name="connsiteX10" fmla="*/ 805643 w 820376"/>
              <a:gd name="connsiteY10" fmla="*/ 0 h 854553"/>
              <a:gd name="connsiteX11" fmla="*/ 64091 w 820376"/>
              <a:gd name="connsiteY11" fmla="*/ 0 h 854553"/>
              <a:gd name="connsiteX12" fmla="*/ 49358 w 820376"/>
              <a:gd name="connsiteY12" fmla="*/ 14734 h 854553"/>
              <a:gd name="connsiteX13" fmla="*/ 49358 w 820376"/>
              <a:gd name="connsiteY13" fmla="*/ 564591 h 854553"/>
              <a:gd name="connsiteX14" fmla="*/ 53667 w 820376"/>
              <a:gd name="connsiteY14" fmla="*/ 575015 h 854553"/>
              <a:gd name="connsiteX15" fmla="*/ 64091 w 820376"/>
              <a:gd name="connsiteY15" fmla="*/ 579326 h 854553"/>
              <a:gd name="connsiteX16" fmla="*/ 138792 w 820376"/>
              <a:gd name="connsiteY16" fmla="*/ 579326 h 854553"/>
              <a:gd name="connsiteX17" fmla="*/ 138792 w 820376"/>
              <a:gd name="connsiteY17" fmla="*/ 623527 h 854553"/>
              <a:gd name="connsiteX18" fmla="*/ 98863 w 820376"/>
              <a:gd name="connsiteY18" fmla="*/ 611446 h 854553"/>
              <a:gd name="connsiteX19" fmla="*/ 32856 w 820376"/>
              <a:gd name="connsiteY19" fmla="*/ 650711 h 854553"/>
              <a:gd name="connsiteX20" fmla="*/ 36540 w 820376"/>
              <a:gd name="connsiteY20" fmla="*/ 727400 h 854553"/>
              <a:gd name="connsiteX21" fmla="*/ 0 w 820376"/>
              <a:gd name="connsiteY21" fmla="*/ 795175 h 854553"/>
              <a:gd name="connsiteX22" fmla="*/ 0 w 820376"/>
              <a:gd name="connsiteY22" fmla="*/ 851606 h 854553"/>
              <a:gd name="connsiteX23" fmla="*/ 29467 w 820376"/>
              <a:gd name="connsiteY23" fmla="*/ 851606 h 854553"/>
              <a:gd name="connsiteX24" fmla="*/ 29467 w 820376"/>
              <a:gd name="connsiteY24" fmla="*/ 794881 h 854553"/>
              <a:gd name="connsiteX25" fmla="*/ 57903 w 820376"/>
              <a:gd name="connsiteY25" fmla="*/ 748470 h 854553"/>
              <a:gd name="connsiteX26" fmla="*/ 59671 w 820376"/>
              <a:gd name="connsiteY26" fmla="*/ 749500 h 854553"/>
              <a:gd name="connsiteX27" fmla="*/ 64091 w 820376"/>
              <a:gd name="connsiteY27" fmla="*/ 751858 h 854553"/>
              <a:gd name="connsiteX28" fmla="*/ 69838 w 820376"/>
              <a:gd name="connsiteY28" fmla="*/ 754510 h 854553"/>
              <a:gd name="connsiteX29" fmla="*/ 76468 w 820376"/>
              <a:gd name="connsiteY29" fmla="*/ 757015 h 854553"/>
              <a:gd name="connsiteX30" fmla="*/ 78972 w 820376"/>
              <a:gd name="connsiteY30" fmla="*/ 757015 h 854553"/>
              <a:gd name="connsiteX31" fmla="*/ 98863 w 820376"/>
              <a:gd name="connsiteY31" fmla="*/ 759962 h 854553"/>
              <a:gd name="connsiteX32" fmla="*/ 118607 w 820376"/>
              <a:gd name="connsiteY32" fmla="*/ 757015 h 854553"/>
              <a:gd name="connsiteX33" fmla="*/ 121111 w 820376"/>
              <a:gd name="connsiteY33" fmla="*/ 757015 h 854553"/>
              <a:gd name="connsiteX34" fmla="*/ 127889 w 820376"/>
              <a:gd name="connsiteY34" fmla="*/ 754510 h 854553"/>
              <a:gd name="connsiteX35" fmla="*/ 133488 w 820376"/>
              <a:gd name="connsiteY35" fmla="*/ 751858 h 854553"/>
              <a:gd name="connsiteX36" fmla="*/ 137908 w 820376"/>
              <a:gd name="connsiteY36" fmla="*/ 749500 h 854553"/>
              <a:gd name="connsiteX37" fmla="*/ 139676 w 820376"/>
              <a:gd name="connsiteY37" fmla="*/ 748470 h 854553"/>
              <a:gd name="connsiteX38" fmla="*/ 168112 w 820376"/>
              <a:gd name="connsiteY38" fmla="*/ 794881 h 854553"/>
              <a:gd name="connsiteX39" fmla="*/ 168112 w 820376"/>
              <a:gd name="connsiteY39" fmla="*/ 851606 h 854553"/>
              <a:gd name="connsiteX40" fmla="*/ 197579 w 820376"/>
              <a:gd name="connsiteY40" fmla="*/ 851606 h 854553"/>
              <a:gd name="connsiteX41" fmla="*/ 197579 w 820376"/>
              <a:gd name="connsiteY41" fmla="*/ 794881 h 854553"/>
              <a:gd name="connsiteX42" fmla="*/ 161040 w 820376"/>
              <a:gd name="connsiteY42" fmla="*/ 727106 h 854553"/>
              <a:gd name="connsiteX43" fmla="*/ 173416 w 820376"/>
              <a:gd name="connsiteY43" fmla="*/ 688209 h 854553"/>
              <a:gd name="connsiteX44" fmla="*/ 247085 w 820376"/>
              <a:gd name="connsiteY44" fmla="*/ 688209 h 854553"/>
              <a:gd name="connsiteX45" fmla="*/ 259608 w 820376"/>
              <a:gd name="connsiteY45" fmla="*/ 729316 h 854553"/>
              <a:gd name="connsiteX46" fmla="*/ 223069 w 820376"/>
              <a:gd name="connsiteY46" fmla="*/ 797091 h 854553"/>
              <a:gd name="connsiteX47" fmla="*/ 223069 w 820376"/>
              <a:gd name="connsiteY47" fmla="*/ 854553 h 854553"/>
              <a:gd name="connsiteX48" fmla="*/ 252536 w 820376"/>
              <a:gd name="connsiteY48" fmla="*/ 854553 h 854553"/>
              <a:gd name="connsiteX49" fmla="*/ 252536 w 820376"/>
              <a:gd name="connsiteY49" fmla="*/ 797829 h 854553"/>
              <a:gd name="connsiteX50" fmla="*/ 280825 w 820376"/>
              <a:gd name="connsiteY50" fmla="*/ 751417 h 854553"/>
              <a:gd name="connsiteX51" fmla="*/ 282593 w 820376"/>
              <a:gd name="connsiteY51" fmla="*/ 752448 h 854553"/>
              <a:gd name="connsiteX52" fmla="*/ 287012 w 820376"/>
              <a:gd name="connsiteY52" fmla="*/ 754805 h 854553"/>
              <a:gd name="connsiteX53" fmla="*/ 292759 w 820376"/>
              <a:gd name="connsiteY53" fmla="*/ 757458 h 854553"/>
              <a:gd name="connsiteX54" fmla="*/ 299389 w 820376"/>
              <a:gd name="connsiteY54" fmla="*/ 759963 h 854553"/>
              <a:gd name="connsiteX55" fmla="*/ 302041 w 820376"/>
              <a:gd name="connsiteY55" fmla="*/ 760699 h 854553"/>
              <a:gd name="connsiteX56" fmla="*/ 341528 w 820376"/>
              <a:gd name="connsiteY56" fmla="*/ 760699 h 854553"/>
              <a:gd name="connsiteX57" fmla="*/ 344179 w 820376"/>
              <a:gd name="connsiteY57" fmla="*/ 759963 h 854553"/>
              <a:gd name="connsiteX58" fmla="*/ 350810 w 820376"/>
              <a:gd name="connsiteY58" fmla="*/ 757458 h 854553"/>
              <a:gd name="connsiteX59" fmla="*/ 356408 w 820376"/>
              <a:gd name="connsiteY59" fmla="*/ 754805 h 854553"/>
              <a:gd name="connsiteX60" fmla="*/ 360976 w 820376"/>
              <a:gd name="connsiteY60" fmla="*/ 752448 h 854553"/>
              <a:gd name="connsiteX61" fmla="*/ 362744 w 820376"/>
              <a:gd name="connsiteY61" fmla="*/ 751417 h 854553"/>
              <a:gd name="connsiteX62" fmla="*/ 391033 w 820376"/>
              <a:gd name="connsiteY62" fmla="*/ 797829 h 854553"/>
              <a:gd name="connsiteX63" fmla="*/ 391033 w 820376"/>
              <a:gd name="connsiteY63" fmla="*/ 854553 h 854553"/>
              <a:gd name="connsiteX64" fmla="*/ 420500 w 820376"/>
              <a:gd name="connsiteY64" fmla="*/ 854553 h 854553"/>
              <a:gd name="connsiteX65" fmla="*/ 420500 w 820376"/>
              <a:gd name="connsiteY65" fmla="*/ 797829 h 854553"/>
              <a:gd name="connsiteX66" fmla="*/ 383667 w 820376"/>
              <a:gd name="connsiteY66" fmla="*/ 730054 h 854553"/>
              <a:gd name="connsiteX67" fmla="*/ 322087 w 820376"/>
              <a:gd name="connsiteY67" fmla="*/ 643565 h 854553"/>
              <a:gd name="connsiteX68" fmla="*/ 364630 w 820376"/>
              <a:gd name="connsiteY68" fmla="*/ 673216 h 854553"/>
              <a:gd name="connsiteX69" fmla="*/ 351554 w 820376"/>
              <a:gd name="connsiteY69" fmla="*/ 723421 h 854553"/>
              <a:gd name="connsiteX70" fmla="*/ 292619 w 820376"/>
              <a:gd name="connsiteY70" fmla="*/ 723421 h 854553"/>
              <a:gd name="connsiteX71" fmla="*/ 279543 w 820376"/>
              <a:gd name="connsiteY71" fmla="*/ 673216 h 854553"/>
              <a:gd name="connsiteX72" fmla="*/ 322087 w 820376"/>
              <a:gd name="connsiteY72" fmla="*/ 643565 h 854553"/>
              <a:gd name="connsiteX73" fmla="*/ 78832 w 820376"/>
              <a:gd name="connsiteY73" fmla="*/ 549858 h 854553"/>
              <a:gd name="connsiteX74" fmla="*/ 78832 w 820376"/>
              <a:gd name="connsiteY74" fmla="*/ 29459 h 854553"/>
              <a:gd name="connsiteX75" fmla="*/ 790916 w 820376"/>
              <a:gd name="connsiteY75" fmla="*/ 29459 h 854553"/>
              <a:gd name="connsiteX76" fmla="*/ 790916 w 820376"/>
              <a:gd name="connsiteY76" fmla="*/ 549858 h 854553"/>
              <a:gd name="connsiteX77" fmla="*/ 284962 w 820376"/>
              <a:gd name="connsiteY77" fmla="*/ 549858 h 854553"/>
              <a:gd name="connsiteX78" fmla="*/ 284962 w 820376"/>
              <a:gd name="connsiteY78" fmla="*/ 509046 h 854553"/>
              <a:gd name="connsiteX79" fmla="*/ 293656 w 820376"/>
              <a:gd name="connsiteY79" fmla="*/ 510078 h 854553"/>
              <a:gd name="connsiteX80" fmla="*/ 330637 w 820376"/>
              <a:gd name="connsiteY80" fmla="*/ 472949 h 854553"/>
              <a:gd name="connsiteX81" fmla="*/ 330637 w 820376"/>
              <a:gd name="connsiteY81" fmla="*/ 384546 h 854553"/>
              <a:gd name="connsiteX82" fmla="*/ 315241 w 820376"/>
              <a:gd name="connsiteY82" fmla="*/ 347085 h 854553"/>
              <a:gd name="connsiteX83" fmla="*/ 277891 w 820376"/>
              <a:gd name="connsiteY83" fmla="*/ 331505 h 854553"/>
              <a:gd name="connsiteX84" fmla="*/ 271261 w 820376"/>
              <a:gd name="connsiteY84" fmla="*/ 331505 h 854553"/>
              <a:gd name="connsiteX85" fmla="*/ 267872 w 820376"/>
              <a:gd name="connsiteY85" fmla="*/ 331505 h 854553"/>
              <a:gd name="connsiteX86" fmla="*/ 152945 w 820376"/>
              <a:gd name="connsiteY86" fmla="*/ 331505 h 854553"/>
              <a:gd name="connsiteX87" fmla="*/ 106349 w 820376"/>
              <a:gd name="connsiteY87" fmla="*/ 350770 h 854553"/>
              <a:gd name="connsiteX88" fmla="*/ 87085 w 820376"/>
              <a:gd name="connsiteY88" fmla="*/ 397365 h 854553"/>
              <a:gd name="connsiteX89" fmla="*/ 87085 w 820376"/>
              <a:gd name="connsiteY89" fmla="*/ 474127 h 854553"/>
              <a:gd name="connsiteX90" fmla="*/ 127454 w 820376"/>
              <a:gd name="connsiteY90" fmla="*/ 514350 h 854553"/>
              <a:gd name="connsiteX91" fmla="*/ 138210 w 820376"/>
              <a:gd name="connsiteY91" fmla="*/ 512876 h 854553"/>
              <a:gd name="connsiteX92" fmla="*/ 138210 w 820376"/>
              <a:gd name="connsiteY92" fmla="*/ 548827 h 854553"/>
              <a:gd name="connsiteX93" fmla="*/ 98870 w 820376"/>
              <a:gd name="connsiteY93" fmla="*/ 640912 h 854553"/>
              <a:gd name="connsiteX94" fmla="*/ 139977 w 820376"/>
              <a:gd name="connsiteY94" fmla="*/ 667580 h 854553"/>
              <a:gd name="connsiteX95" fmla="*/ 143955 w 820376"/>
              <a:gd name="connsiteY95" fmla="*/ 685850 h 854553"/>
              <a:gd name="connsiteX96" fmla="*/ 127896 w 820376"/>
              <a:gd name="connsiteY96" fmla="*/ 720326 h 854553"/>
              <a:gd name="connsiteX97" fmla="*/ 83695 w 820376"/>
              <a:gd name="connsiteY97" fmla="*/ 728135 h 854553"/>
              <a:gd name="connsiteX98" fmla="*/ 69992 w 820376"/>
              <a:gd name="connsiteY98" fmla="*/ 720179 h 854553"/>
              <a:gd name="connsiteX99" fmla="*/ 53933 w 820376"/>
              <a:gd name="connsiteY99" fmla="*/ 685850 h 854553"/>
              <a:gd name="connsiteX100" fmla="*/ 98871 w 820376"/>
              <a:gd name="connsiteY100" fmla="*/ 640912 h 854553"/>
              <a:gd name="connsiteX101" fmla="*/ 227197 w 820376"/>
              <a:gd name="connsiteY101" fmla="*/ 659035 h 854553"/>
              <a:gd name="connsiteX102" fmla="*/ 227197 w 820376"/>
              <a:gd name="connsiteY102" fmla="*/ 554725 h 854553"/>
              <a:gd name="connsiteX103" fmla="*/ 212463 w 820376"/>
              <a:gd name="connsiteY103" fmla="*/ 539991 h 854553"/>
              <a:gd name="connsiteX104" fmla="*/ 197729 w 820376"/>
              <a:gd name="connsiteY104" fmla="*/ 554725 h 854553"/>
              <a:gd name="connsiteX105" fmla="*/ 197729 w 820376"/>
              <a:gd name="connsiteY105" fmla="*/ 658601 h 854553"/>
              <a:gd name="connsiteX106" fmla="*/ 168262 w 820376"/>
              <a:gd name="connsiteY106" fmla="*/ 658601 h 854553"/>
              <a:gd name="connsiteX107" fmla="*/ 168262 w 820376"/>
              <a:gd name="connsiteY107" fmla="*/ 406209 h 854553"/>
              <a:gd name="connsiteX108" fmla="*/ 153528 w 820376"/>
              <a:gd name="connsiteY108" fmla="*/ 391475 h 854553"/>
              <a:gd name="connsiteX109" fmla="*/ 138794 w 820376"/>
              <a:gd name="connsiteY109" fmla="*/ 406209 h 854553"/>
              <a:gd name="connsiteX110" fmla="*/ 138794 w 820376"/>
              <a:gd name="connsiteY110" fmla="*/ 475016 h 854553"/>
              <a:gd name="connsiteX111" fmla="*/ 135627 w 820376"/>
              <a:gd name="connsiteY111" fmla="*/ 482604 h 854553"/>
              <a:gd name="connsiteX112" fmla="*/ 128039 w 820376"/>
              <a:gd name="connsiteY112" fmla="*/ 485771 h 854553"/>
              <a:gd name="connsiteX113" fmla="*/ 117137 w 820376"/>
              <a:gd name="connsiteY113" fmla="*/ 475016 h 854553"/>
              <a:gd name="connsiteX114" fmla="*/ 117137 w 820376"/>
              <a:gd name="connsiteY114" fmla="*/ 398400 h 854553"/>
              <a:gd name="connsiteX115" fmla="*/ 127745 w 820376"/>
              <a:gd name="connsiteY115" fmla="*/ 372616 h 854553"/>
              <a:gd name="connsiteX116" fmla="*/ 153529 w 820376"/>
              <a:gd name="connsiteY116" fmla="*/ 362008 h 854553"/>
              <a:gd name="connsiteX117" fmla="*/ 271399 w 820376"/>
              <a:gd name="connsiteY117" fmla="*/ 362008 h 854553"/>
              <a:gd name="connsiteX118" fmla="*/ 274935 w 820376"/>
              <a:gd name="connsiteY118" fmla="*/ 362008 h 854553"/>
              <a:gd name="connsiteX119" fmla="*/ 277882 w 820376"/>
              <a:gd name="connsiteY119" fmla="*/ 362008 h 854553"/>
              <a:gd name="connsiteX120" fmla="*/ 294420 w 820376"/>
              <a:gd name="connsiteY120" fmla="*/ 368749 h 854553"/>
              <a:gd name="connsiteX121" fmla="*/ 301161 w 820376"/>
              <a:gd name="connsiteY121" fmla="*/ 385288 h 854553"/>
              <a:gd name="connsiteX122" fmla="*/ 301161 w 820376"/>
              <a:gd name="connsiteY122" fmla="*/ 473690 h 854553"/>
              <a:gd name="connsiteX123" fmla="*/ 299908 w 820376"/>
              <a:gd name="connsiteY123" fmla="*/ 480393 h 854553"/>
              <a:gd name="connsiteX124" fmla="*/ 293794 w 820376"/>
              <a:gd name="connsiteY124" fmla="*/ 483450 h 854553"/>
              <a:gd name="connsiteX125" fmla="*/ 287679 w 820376"/>
              <a:gd name="connsiteY125" fmla="*/ 480393 h 854553"/>
              <a:gd name="connsiteX126" fmla="*/ 286427 w 820376"/>
              <a:gd name="connsiteY126" fmla="*/ 473690 h 854553"/>
              <a:gd name="connsiteX127" fmla="*/ 286427 w 820376"/>
              <a:gd name="connsiteY127" fmla="*/ 406210 h 854553"/>
              <a:gd name="connsiteX128" fmla="*/ 282117 w 820376"/>
              <a:gd name="connsiteY128" fmla="*/ 395786 h 854553"/>
              <a:gd name="connsiteX129" fmla="*/ 271693 w 820376"/>
              <a:gd name="connsiteY129" fmla="*/ 391475 h 854553"/>
              <a:gd name="connsiteX130" fmla="*/ 256959 w 820376"/>
              <a:gd name="connsiteY130" fmla="*/ 406209 h 854553"/>
              <a:gd name="connsiteX131" fmla="*/ 255191 w 820376"/>
              <a:gd name="connsiteY131" fmla="*/ 564739 h 854553"/>
              <a:gd name="connsiteX132" fmla="*/ 254160 w 820376"/>
              <a:gd name="connsiteY132" fmla="*/ 656825 h 854553"/>
              <a:gd name="connsiteX133" fmla="*/ 253128 w 820376"/>
              <a:gd name="connsiteY133" fmla="*/ 658888 h 854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</a:cxnLst>
            <a:rect l="l" t="t" r="r" b="b"/>
            <a:pathLst>
              <a:path w="820376" h="854553">
                <a:moveTo>
                  <a:pt x="383673" y="730052"/>
                </a:moveTo>
                <a:cubicBezTo>
                  <a:pt x="391667" y="717859"/>
                  <a:pt x="395902" y="703531"/>
                  <a:pt x="395754" y="688945"/>
                </a:cubicBezTo>
                <a:cubicBezTo>
                  <a:pt x="395754" y="648059"/>
                  <a:pt x="362971" y="614723"/>
                  <a:pt x="322086" y="614097"/>
                </a:cubicBezTo>
                <a:cubicBezTo>
                  <a:pt x="308936" y="614208"/>
                  <a:pt x="296081" y="617817"/>
                  <a:pt x="284810" y="624558"/>
                </a:cubicBezTo>
                <a:lnTo>
                  <a:pt x="284810" y="579326"/>
                </a:lnTo>
                <a:lnTo>
                  <a:pt x="805643" y="579326"/>
                </a:lnTo>
                <a:cubicBezTo>
                  <a:pt x="809548" y="579326"/>
                  <a:pt x="813305" y="577778"/>
                  <a:pt x="816067" y="575016"/>
                </a:cubicBezTo>
                <a:cubicBezTo>
                  <a:pt x="818830" y="572253"/>
                  <a:pt x="820377" y="568497"/>
                  <a:pt x="820377" y="564592"/>
                </a:cubicBezTo>
                <a:lnTo>
                  <a:pt x="820377" y="14734"/>
                </a:lnTo>
                <a:cubicBezTo>
                  <a:pt x="820377" y="10830"/>
                  <a:pt x="818830" y="7072"/>
                  <a:pt x="816067" y="4310"/>
                </a:cubicBezTo>
                <a:cubicBezTo>
                  <a:pt x="813305" y="1547"/>
                  <a:pt x="809548" y="0"/>
                  <a:pt x="805643" y="0"/>
                </a:cubicBezTo>
                <a:lnTo>
                  <a:pt x="64091" y="0"/>
                </a:lnTo>
                <a:cubicBezTo>
                  <a:pt x="55951" y="0"/>
                  <a:pt x="49358" y="6593"/>
                  <a:pt x="49358" y="14734"/>
                </a:cubicBezTo>
                <a:lnTo>
                  <a:pt x="49358" y="564591"/>
                </a:lnTo>
                <a:cubicBezTo>
                  <a:pt x="49358" y="568496"/>
                  <a:pt x="50905" y="572253"/>
                  <a:pt x="53667" y="575015"/>
                </a:cubicBezTo>
                <a:cubicBezTo>
                  <a:pt x="56430" y="577778"/>
                  <a:pt x="60187" y="579326"/>
                  <a:pt x="64091" y="579326"/>
                </a:cubicBezTo>
                <a:lnTo>
                  <a:pt x="138792" y="579326"/>
                </a:lnTo>
                <a:lnTo>
                  <a:pt x="138792" y="623527"/>
                </a:lnTo>
                <a:cubicBezTo>
                  <a:pt x="126931" y="615680"/>
                  <a:pt x="113081" y="611482"/>
                  <a:pt x="98863" y="611446"/>
                </a:cubicBezTo>
                <a:cubicBezTo>
                  <a:pt x="71311" y="611335"/>
                  <a:pt x="45932" y="626437"/>
                  <a:pt x="32856" y="650711"/>
                </a:cubicBezTo>
                <a:cubicBezTo>
                  <a:pt x="19817" y="674985"/>
                  <a:pt x="21216" y="704489"/>
                  <a:pt x="36540" y="727400"/>
                </a:cubicBezTo>
                <a:cubicBezTo>
                  <a:pt x="13812" y="742503"/>
                  <a:pt x="110" y="767918"/>
                  <a:pt x="0" y="795175"/>
                </a:cubicBezTo>
                <a:lnTo>
                  <a:pt x="0" y="851606"/>
                </a:lnTo>
                <a:lnTo>
                  <a:pt x="29467" y="851606"/>
                </a:lnTo>
                <a:lnTo>
                  <a:pt x="29467" y="794881"/>
                </a:lnTo>
                <a:cubicBezTo>
                  <a:pt x="29504" y="775322"/>
                  <a:pt x="40481" y="757384"/>
                  <a:pt x="57903" y="748470"/>
                </a:cubicBezTo>
                <a:lnTo>
                  <a:pt x="59671" y="749500"/>
                </a:lnTo>
                <a:lnTo>
                  <a:pt x="64091" y="751858"/>
                </a:lnTo>
                <a:cubicBezTo>
                  <a:pt x="65933" y="752926"/>
                  <a:pt x="67848" y="753811"/>
                  <a:pt x="69838" y="754510"/>
                </a:cubicBezTo>
                <a:cubicBezTo>
                  <a:pt x="71974" y="755505"/>
                  <a:pt x="74184" y="756352"/>
                  <a:pt x="76468" y="757015"/>
                </a:cubicBezTo>
                <a:lnTo>
                  <a:pt x="78972" y="757015"/>
                </a:lnTo>
                <a:cubicBezTo>
                  <a:pt x="85455" y="758893"/>
                  <a:pt x="92122" y="759888"/>
                  <a:pt x="98863" y="759962"/>
                </a:cubicBezTo>
                <a:cubicBezTo>
                  <a:pt x="105531" y="759888"/>
                  <a:pt x="112197" y="758893"/>
                  <a:pt x="118607" y="757015"/>
                </a:cubicBezTo>
                <a:lnTo>
                  <a:pt x="121111" y="757015"/>
                </a:lnTo>
                <a:cubicBezTo>
                  <a:pt x="123432" y="756352"/>
                  <a:pt x="125679" y="755505"/>
                  <a:pt x="127889" y="754510"/>
                </a:cubicBezTo>
                <a:cubicBezTo>
                  <a:pt x="129841" y="753774"/>
                  <a:pt x="131683" y="752889"/>
                  <a:pt x="133488" y="751858"/>
                </a:cubicBezTo>
                <a:lnTo>
                  <a:pt x="137908" y="749500"/>
                </a:lnTo>
                <a:cubicBezTo>
                  <a:pt x="137908" y="749500"/>
                  <a:pt x="139234" y="749500"/>
                  <a:pt x="139676" y="748470"/>
                </a:cubicBezTo>
                <a:cubicBezTo>
                  <a:pt x="157099" y="757384"/>
                  <a:pt x="168075" y="775322"/>
                  <a:pt x="168112" y="794881"/>
                </a:cubicBezTo>
                <a:lnTo>
                  <a:pt x="168112" y="851606"/>
                </a:lnTo>
                <a:lnTo>
                  <a:pt x="197579" y="851606"/>
                </a:lnTo>
                <a:lnTo>
                  <a:pt x="197579" y="794881"/>
                </a:lnTo>
                <a:cubicBezTo>
                  <a:pt x="197506" y="767587"/>
                  <a:pt x="183804" y="742172"/>
                  <a:pt x="161040" y="727106"/>
                </a:cubicBezTo>
                <a:cubicBezTo>
                  <a:pt x="168738" y="715577"/>
                  <a:pt x="173047" y="702096"/>
                  <a:pt x="173416" y="688209"/>
                </a:cubicBezTo>
                <a:lnTo>
                  <a:pt x="247085" y="688209"/>
                </a:lnTo>
                <a:cubicBezTo>
                  <a:pt x="247085" y="702869"/>
                  <a:pt x="251431" y="717161"/>
                  <a:pt x="259608" y="729316"/>
                </a:cubicBezTo>
                <a:cubicBezTo>
                  <a:pt x="236881" y="744382"/>
                  <a:pt x="223142" y="769798"/>
                  <a:pt x="223069" y="797091"/>
                </a:cubicBezTo>
                <a:lnTo>
                  <a:pt x="223069" y="854553"/>
                </a:lnTo>
                <a:lnTo>
                  <a:pt x="252536" y="854553"/>
                </a:lnTo>
                <a:lnTo>
                  <a:pt x="252536" y="797829"/>
                </a:lnTo>
                <a:cubicBezTo>
                  <a:pt x="252536" y="778270"/>
                  <a:pt x="263438" y="760368"/>
                  <a:pt x="280825" y="751417"/>
                </a:cubicBezTo>
                <a:cubicBezTo>
                  <a:pt x="280825" y="751417"/>
                  <a:pt x="282150" y="751417"/>
                  <a:pt x="282593" y="752448"/>
                </a:cubicBezTo>
                <a:lnTo>
                  <a:pt x="287012" y="754805"/>
                </a:lnTo>
                <a:cubicBezTo>
                  <a:pt x="288855" y="755800"/>
                  <a:pt x="290807" y="756685"/>
                  <a:pt x="292759" y="757458"/>
                </a:cubicBezTo>
                <a:cubicBezTo>
                  <a:pt x="294932" y="758416"/>
                  <a:pt x="297143" y="759263"/>
                  <a:pt x="299389" y="759963"/>
                </a:cubicBezTo>
                <a:lnTo>
                  <a:pt x="302041" y="760699"/>
                </a:lnTo>
                <a:cubicBezTo>
                  <a:pt x="314897" y="764641"/>
                  <a:pt x="328672" y="764641"/>
                  <a:pt x="341528" y="760699"/>
                </a:cubicBezTo>
                <a:lnTo>
                  <a:pt x="344179" y="759963"/>
                </a:lnTo>
                <a:cubicBezTo>
                  <a:pt x="346426" y="759263"/>
                  <a:pt x="348637" y="758416"/>
                  <a:pt x="350810" y="757458"/>
                </a:cubicBezTo>
                <a:cubicBezTo>
                  <a:pt x="352762" y="756722"/>
                  <a:pt x="354604" y="755837"/>
                  <a:pt x="356408" y="754805"/>
                </a:cubicBezTo>
                <a:lnTo>
                  <a:pt x="360976" y="752448"/>
                </a:lnTo>
                <a:lnTo>
                  <a:pt x="362744" y="751417"/>
                </a:lnTo>
                <a:cubicBezTo>
                  <a:pt x="380130" y="760368"/>
                  <a:pt x="391033" y="778270"/>
                  <a:pt x="391033" y="797829"/>
                </a:cubicBezTo>
                <a:lnTo>
                  <a:pt x="391033" y="854553"/>
                </a:lnTo>
                <a:lnTo>
                  <a:pt x="420500" y="854553"/>
                </a:lnTo>
                <a:lnTo>
                  <a:pt x="420500" y="797829"/>
                </a:lnTo>
                <a:cubicBezTo>
                  <a:pt x="420353" y="770498"/>
                  <a:pt x="406503" y="745045"/>
                  <a:pt x="383667" y="730054"/>
                </a:cubicBezTo>
                <a:close/>
                <a:moveTo>
                  <a:pt x="322087" y="643565"/>
                </a:moveTo>
                <a:cubicBezTo>
                  <a:pt x="341093" y="643565"/>
                  <a:pt x="358037" y="655425"/>
                  <a:pt x="364630" y="673216"/>
                </a:cubicBezTo>
                <a:cubicBezTo>
                  <a:pt x="371186" y="691044"/>
                  <a:pt x="365993" y="711081"/>
                  <a:pt x="351554" y="723421"/>
                </a:cubicBezTo>
                <a:cubicBezTo>
                  <a:pt x="334463" y="737602"/>
                  <a:pt x="309710" y="737602"/>
                  <a:pt x="292619" y="723421"/>
                </a:cubicBezTo>
                <a:cubicBezTo>
                  <a:pt x="278181" y="711081"/>
                  <a:pt x="272987" y="691044"/>
                  <a:pt x="279543" y="673216"/>
                </a:cubicBezTo>
                <a:cubicBezTo>
                  <a:pt x="286136" y="655425"/>
                  <a:pt x="303080" y="643565"/>
                  <a:pt x="322087" y="643565"/>
                </a:cubicBezTo>
                <a:close/>
                <a:moveTo>
                  <a:pt x="78832" y="549858"/>
                </a:moveTo>
                <a:lnTo>
                  <a:pt x="78832" y="29459"/>
                </a:lnTo>
                <a:lnTo>
                  <a:pt x="790916" y="29459"/>
                </a:lnTo>
                <a:lnTo>
                  <a:pt x="790916" y="549858"/>
                </a:lnTo>
                <a:lnTo>
                  <a:pt x="284962" y="549858"/>
                </a:lnTo>
                <a:lnTo>
                  <a:pt x="284962" y="509046"/>
                </a:lnTo>
                <a:cubicBezTo>
                  <a:pt x="287799" y="509709"/>
                  <a:pt x="290746" y="510041"/>
                  <a:pt x="293656" y="510078"/>
                </a:cubicBezTo>
                <a:cubicBezTo>
                  <a:pt x="314099" y="510004"/>
                  <a:pt x="330637" y="493392"/>
                  <a:pt x="330637" y="472949"/>
                </a:cubicBezTo>
                <a:lnTo>
                  <a:pt x="330637" y="384546"/>
                </a:lnTo>
                <a:cubicBezTo>
                  <a:pt x="330674" y="370512"/>
                  <a:pt x="325149" y="357031"/>
                  <a:pt x="315241" y="347085"/>
                </a:cubicBezTo>
                <a:cubicBezTo>
                  <a:pt x="305369" y="337140"/>
                  <a:pt x="291924" y="331542"/>
                  <a:pt x="277891" y="331505"/>
                </a:cubicBezTo>
                <a:lnTo>
                  <a:pt x="271261" y="331505"/>
                </a:lnTo>
                <a:cubicBezTo>
                  <a:pt x="270119" y="331358"/>
                  <a:pt x="269014" y="331358"/>
                  <a:pt x="267872" y="331505"/>
                </a:cubicBezTo>
                <a:lnTo>
                  <a:pt x="152945" y="331505"/>
                </a:lnTo>
                <a:cubicBezTo>
                  <a:pt x="135448" y="331468"/>
                  <a:pt x="118689" y="338393"/>
                  <a:pt x="106349" y="350770"/>
                </a:cubicBezTo>
                <a:cubicBezTo>
                  <a:pt x="93973" y="363109"/>
                  <a:pt x="87048" y="379868"/>
                  <a:pt x="87085" y="397365"/>
                </a:cubicBezTo>
                <a:lnTo>
                  <a:pt x="87085" y="474127"/>
                </a:lnTo>
                <a:cubicBezTo>
                  <a:pt x="87158" y="496376"/>
                  <a:pt x="105207" y="514350"/>
                  <a:pt x="127454" y="514350"/>
                </a:cubicBezTo>
                <a:cubicBezTo>
                  <a:pt x="131101" y="514313"/>
                  <a:pt x="134711" y="513834"/>
                  <a:pt x="138210" y="512876"/>
                </a:cubicBezTo>
                <a:lnTo>
                  <a:pt x="138210" y="548827"/>
                </a:lnTo>
                <a:close/>
                <a:moveTo>
                  <a:pt x="98870" y="640912"/>
                </a:moveTo>
                <a:cubicBezTo>
                  <a:pt x="116624" y="640949"/>
                  <a:pt x="132683" y="651410"/>
                  <a:pt x="139977" y="667580"/>
                </a:cubicBezTo>
                <a:cubicBezTo>
                  <a:pt x="142592" y="673326"/>
                  <a:pt x="143955" y="679551"/>
                  <a:pt x="143955" y="685850"/>
                </a:cubicBezTo>
                <a:cubicBezTo>
                  <a:pt x="143918" y="699147"/>
                  <a:pt x="138025" y="711744"/>
                  <a:pt x="127896" y="720326"/>
                </a:cubicBezTo>
                <a:cubicBezTo>
                  <a:pt x="115483" y="730345"/>
                  <a:pt x="98797" y="733292"/>
                  <a:pt x="83695" y="728135"/>
                </a:cubicBezTo>
                <a:cubicBezTo>
                  <a:pt x="78648" y="726404"/>
                  <a:pt x="74008" y="723678"/>
                  <a:pt x="69992" y="720179"/>
                </a:cubicBezTo>
                <a:cubicBezTo>
                  <a:pt x="59753" y="711743"/>
                  <a:pt x="53859" y="699110"/>
                  <a:pt x="53933" y="685850"/>
                </a:cubicBezTo>
                <a:cubicBezTo>
                  <a:pt x="54191" y="661134"/>
                  <a:pt x="74155" y="641170"/>
                  <a:pt x="98871" y="640912"/>
                </a:cubicBezTo>
                <a:close/>
                <a:moveTo>
                  <a:pt x="227197" y="659035"/>
                </a:moveTo>
                <a:lnTo>
                  <a:pt x="227197" y="554725"/>
                </a:lnTo>
                <a:cubicBezTo>
                  <a:pt x="227197" y="546584"/>
                  <a:pt x="220604" y="539991"/>
                  <a:pt x="212463" y="539991"/>
                </a:cubicBezTo>
                <a:cubicBezTo>
                  <a:pt x="204323" y="539991"/>
                  <a:pt x="197729" y="546584"/>
                  <a:pt x="197729" y="554725"/>
                </a:cubicBezTo>
                <a:lnTo>
                  <a:pt x="197729" y="658601"/>
                </a:lnTo>
                <a:lnTo>
                  <a:pt x="168262" y="658601"/>
                </a:lnTo>
                <a:lnTo>
                  <a:pt x="168262" y="406209"/>
                </a:lnTo>
                <a:cubicBezTo>
                  <a:pt x="168262" y="398068"/>
                  <a:pt x="161669" y="391475"/>
                  <a:pt x="153528" y="391475"/>
                </a:cubicBezTo>
                <a:cubicBezTo>
                  <a:pt x="145388" y="391475"/>
                  <a:pt x="138794" y="398068"/>
                  <a:pt x="138794" y="406209"/>
                </a:cubicBezTo>
                <a:lnTo>
                  <a:pt x="138794" y="475016"/>
                </a:lnTo>
                <a:cubicBezTo>
                  <a:pt x="138794" y="477852"/>
                  <a:pt x="137653" y="480615"/>
                  <a:pt x="135627" y="482604"/>
                </a:cubicBezTo>
                <a:cubicBezTo>
                  <a:pt x="133637" y="484629"/>
                  <a:pt x="130876" y="485771"/>
                  <a:pt x="128039" y="485771"/>
                </a:cubicBezTo>
                <a:cubicBezTo>
                  <a:pt x="122109" y="485697"/>
                  <a:pt x="117284" y="480946"/>
                  <a:pt x="117137" y="475016"/>
                </a:cubicBezTo>
                <a:lnTo>
                  <a:pt x="117137" y="398400"/>
                </a:lnTo>
                <a:cubicBezTo>
                  <a:pt x="117100" y="388750"/>
                  <a:pt x="120930" y="379468"/>
                  <a:pt x="127745" y="372616"/>
                </a:cubicBezTo>
                <a:cubicBezTo>
                  <a:pt x="134595" y="365802"/>
                  <a:pt x="143878" y="361971"/>
                  <a:pt x="153529" y="362008"/>
                </a:cubicBezTo>
                <a:lnTo>
                  <a:pt x="271399" y="362008"/>
                </a:lnTo>
                <a:cubicBezTo>
                  <a:pt x="272578" y="362156"/>
                  <a:pt x="273756" y="362156"/>
                  <a:pt x="274935" y="362008"/>
                </a:cubicBezTo>
                <a:lnTo>
                  <a:pt x="277882" y="362008"/>
                </a:lnTo>
                <a:cubicBezTo>
                  <a:pt x="284069" y="361934"/>
                  <a:pt x="290037" y="364365"/>
                  <a:pt x="294420" y="368749"/>
                </a:cubicBezTo>
                <a:cubicBezTo>
                  <a:pt x="298803" y="373132"/>
                  <a:pt x="301234" y="379100"/>
                  <a:pt x="301161" y="385288"/>
                </a:cubicBezTo>
                <a:lnTo>
                  <a:pt x="301161" y="473690"/>
                </a:lnTo>
                <a:cubicBezTo>
                  <a:pt x="301823" y="476010"/>
                  <a:pt x="301344" y="478478"/>
                  <a:pt x="299908" y="480393"/>
                </a:cubicBezTo>
                <a:cubicBezTo>
                  <a:pt x="298472" y="482309"/>
                  <a:pt x="296188" y="483450"/>
                  <a:pt x="293794" y="483450"/>
                </a:cubicBezTo>
                <a:cubicBezTo>
                  <a:pt x="291399" y="483450"/>
                  <a:pt x="289116" y="482309"/>
                  <a:pt x="287679" y="480393"/>
                </a:cubicBezTo>
                <a:cubicBezTo>
                  <a:pt x="286243" y="478478"/>
                  <a:pt x="285764" y="476010"/>
                  <a:pt x="286427" y="473690"/>
                </a:cubicBezTo>
                <a:lnTo>
                  <a:pt x="286427" y="406210"/>
                </a:lnTo>
                <a:cubicBezTo>
                  <a:pt x="286427" y="402305"/>
                  <a:pt x="284880" y="398548"/>
                  <a:pt x="282117" y="395786"/>
                </a:cubicBezTo>
                <a:cubicBezTo>
                  <a:pt x="279355" y="393023"/>
                  <a:pt x="275598" y="391475"/>
                  <a:pt x="271693" y="391475"/>
                </a:cubicBezTo>
                <a:cubicBezTo>
                  <a:pt x="263553" y="391475"/>
                  <a:pt x="256959" y="398069"/>
                  <a:pt x="256959" y="406209"/>
                </a:cubicBezTo>
                <a:lnTo>
                  <a:pt x="255191" y="564739"/>
                </a:lnTo>
                <a:lnTo>
                  <a:pt x="254160" y="656825"/>
                </a:lnTo>
                <a:lnTo>
                  <a:pt x="253128" y="658888"/>
                </a:lnTo>
                <a:close/>
              </a:path>
            </a:pathLst>
          </a:custGeom>
          <a:solidFill>
            <a:schemeClr val="accent2"/>
          </a:solidFill>
          <a:ln w="933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D985B7AF-01B2-38DF-9443-BEB47C974D6B}"/>
              </a:ext>
            </a:extLst>
          </p:cNvPr>
          <p:cNvSpPr/>
          <p:nvPr/>
        </p:nvSpPr>
        <p:spPr>
          <a:xfrm>
            <a:off x="10483093" y="2171482"/>
            <a:ext cx="154815" cy="188180"/>
          </a:xfrm>
          <a:custGeom>
            <a:avLst/>
            <a:gdLst>
              <a:gd name="connsiteX0" fmla="*/ 161187 w 197578"/>
              <a:gd name="connsiteY0" fmla="*/ 115659 h 240159"/>
              <a:gd name="connsiteX1" fmla="*/ 168886 w 197578"/>
              <a:gd name="connsiteY1" fmla="*/ 49099 h 240159"/>
              <a:gd name="connsiteX2" fmla="*/ 120154 w 197578"/>
              <a:gd name="connsiteY2" fmla="*/ 3130 h 240159"/>
              <a:gd name="connsiteX3" fmla="*/ 54183 w 197578"/>
              <a:gd name="connsiteY3" fmla="*/ 14733 h 240159"/>
              <a:gd name="connsiteX4" fmla="*/ 24016 w 197578"/>
              <a:gd name="connsiteY4" fmla="*/ 74552 h 240159"/>
              <a:gd name="connsiteX5" fmla="*/ 36540 w 197578"/>
              <a:gd name="connsiteY5" fmla="*/ 115659 h 240159"/>
              <a:gd name="connsiteX6" fmla="*/ 0 w 197578"/>
              <a:gd name="connsiteY6" fmla="*/ 183435 h 240159"/>
              <a:gd name="connsiteX7" fmla="*/ 0 w 197578"/>
              <a:gd name="connsiteY7" fmla="*/ 240159 h 240159"/>
              <a:gd name="connsiteX8" fmla="*/ 29467 w 197578"/>
              <a:gd name="connsiteY8" fmla="*/ 240159 h 240159"/>
              <a:gd name="connsiteX9" fmla="*/ 29467 w 197578"/>
              <a:gd name="connsiteY9" fmla="*/ 183435 h 240159"/>
              <a:gd name="connsiteX10" fmla="*/ 57903 w 197578"/>
              <a:gd name="connsiteY10" fmla="*/ 137023 h 240159"/>
              <a:gd name="connsiteX11" fmla="*/ 59818 w 197578"/>
              <a:gd name="connsiteY11" fmla="*/ 138055 h 240159"/>
              <a:gd name="connsiteX12" fmla="*/ 64091 w 197578"/>
              <a:gd name="connsiteY12" fmla="*/ 140412 h 240159"/>
              <a:gd name="connsiteX13" fmla="*/ 69837 w 197578"/>
              <a:gd name="connsiteY13" fmla="*/ 143064 h 240159"/>
              <a:gd name="connsiteX14" fmla="*/ 76467 w 197578"/>
              <a:gd name="connsiteY14" fmla="*/ 145569 h 240159"/>
              <a:gd name="connsiteX15" fmla="*/ 79267 w 197578"/>
              <a:gd name="connsiteY15" fmla="*/ 145569 h 240159"/>
              <a:gd name="connsiteX16" fmla="*/ 118606 w 197578"/>
              <a:gd name="connsiteY16" fmla="*/ 145569 h 240159"/>
              <a:gd name="connsiteX17" fmla="*/ 121259 w 197578"/>
              <a:gd name="connsiteY17" fmla="*/ 145569 h 240159"/>
              <a:gd name="connsiteX18" fmla="*/ 127889 w 197578"/>
              <a:gd name="connsiteY18" fmla="*/ 143064 h 240159"/>
              <a:gd name="connsiteX19" fmla="*/ 133635 w 197578"/>
              <a:gd name="connsiteY19" fmla="*/ 140412 h 240159"/>
              <a:gd name="connsiteX20" fmla="*/ 138055 w 197578"/>
              <a:gd name="connsiteY20" fmla="*/ 138055 h 240159"/>
              <a:gd name="connsiteX21" fmla="*/ 139823 w 197578"/>
              <a:gd name="connsiteY21" fmla="*/ 137023 h 240159"/>
              <a:gd name="connsiteX22" fmla="*/ 168111 w 197578"/>
              <a:gd name="connsiteY22" fmla="*/ 183435 h 240159"/>
              <a:gd name="connsiteX23" fmla="*/ 168111 w 197578"/>
              <a:gd name="connsiteY23" fmla="*/ 240159 h 240159"/>
              <a:gd name="connsiteX24" fmla="*/ 197579 w 197578"/>
              <a:gd name="connsiteY24" fmla="*/ 240159 h 240159"/>
              <a:gd name="connsiteX25" fmla="*/ 197579 w 197578"/>
              <a:gd name="connsiteY25" fmla="*/ 183435 h 240159"/>
              <a:gd name="connsiteX26" fmla="*/ 161186 w 197578"/>
              <a:gd name="connsiteY26" fmla="*/ 115659 h 240159"/>
              <a:gd name="connsiteX27" fmla="*/ 98863 w 197578"/>
              <a:gd name="connsiteY27" fmla="*/ 29466 h 240159"/>
              <a:gd name="connsiteX28" fmla="*/ 141665 w 197578"/>
              <a:gd name="connsiteY28" fmla="*/ 59044 h 240159"/>
              <a:gd name="connsiteX29" fmla="*/ 128331 w 197578"/>
              <a:gd name="connsiteY29" fmla="*/ 109323 h 240159"/>
              <a:gd name="connsiteX30" fmla="*/ 84130 w 197578"/>
              <a:gd name="connsiteY30" fmla="*/ 117131 h 240159"/>
              <a:gd name="connsiteX31" fmla="*/ 76910 w 197578"/>
              <a:gd name="connsiteY31" fmla="*/ 113890 h 240159"/>
              <a:gd name="connsiteX32" fmla="*/ 70281 w 197578"/>
              <a:gd name="connsiteY32" fmla="*/ 109323 h 240159"/>
              <a:gd name="connsiteX33" fmla="*/ 53485 w 197578"/>
              <a:gd name="connsiteY33" fmla="*/ 74551 h 240159"/>
              <a:gd name="connsiteX34" fmla="*/ 98864 w 197578"/>
              <a:gd name="connsiteY34" fmla="*/ 29466 h 2401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97578" h="240159">
                <a:moveTo>
                  <a:pt x="161187" y="115659"/>
                </a:moveTo>
                <a:cubicBezTo>
                  <a:pt x="174116" y="95953"/>
                  <a:pt x="176989" y="71273"/>
                  <a:pt x="168886" y="49099"/>
                </a:cubicBezTo>
                <a:cubicBezTo>
                  <a:pt x="160819" y="26961"/>
                  <a:pt x="142734" y="9908"/>
                  <a:pt x="120154" y="3130"/>
                </a:cubicBezTo>
                <a:cubicBezTo>
                  <a:pt x="97574" y="-3611"/>
                  <a:pt x="73116" y="662"/>
                  <a:pt x="54183" y="14733"/>
                </a:cubicBezTo>
                <a:cubicBezTo>
                  <a:pt x="35251" y="28804"/>
                  <a:pt x="24053" y="50978"/>
                  <a:pt x="24016" y="74552"/>
                </a:cubicBezTo>
                <a:cubicBezTo>
                  <a:pt x="24016" y="89212"/>
                  <a:pt x="28362" y="103504"/>
                  <a:pt x="36540" y="115659"/>
                </a:cubicBezTo>
                <a:cubicBezTo>
                  <a:pt x="13776" y="130725"/>
                  <a:pt x="74" y="156141"/>
                  <a:pt x="0" y="183435"/>
                </a:cubicBezTo>
                <a:lnTo>
                  <a:pt x="0" y="240159"/>
                </a:lnTo>
                <a:lnTo>
                  <a:pt x="29467" y="240159"/>
                </a:lnTo>
                <a:lnTo>
                  <a:pt x="29467" y="183435"/>
                </a:lnTo>
                <a:cubicBezTo>
                  <a:pt x="29541" y="163876"/>
                  <a:pt x="40518" y="145974"/>
                  <a:pt x="57903" y="137023"/>
                </a:cubicBezTo>
                <a:lnTo>
                  <a:pt x="59818" y="138055"/>
                </a:lnTo>
                <a:cubicBezTo>
                  <a:pt x="61182" y="138938"/>
                  <a:pt x="62618" y="139712"/>
                  <a:pt x="64091" y="140412"/>
                </a:cubicBezTo>
                <a:lnTo>
                  <a:pt x="69837" y="143064"/>
                </a:lnTo>
                <a:cubicBezTo>
                  <a:pt x="72011" y="144022"/>
                  <a:pt x="74221" y="144869"/>
                  <a:pt x="76467" y="145569"/>
                </a:cubicBezTo>
                <a:lnTo>
                  <a:pt x="79267" y="145569"/>
                </a:lnTo>
                <a:cubicBezTo>
                  <a:pt x="92085" y="149510"/>
                  <a:pt x="105788" y="149510"/>
                  <a:pt x="118606" y="145569"/>
                </a:cubicBezTo>
                <a:lnTo>
                  <a:pt x="121259" y="145569"/>
                </a:lnTo>
                <a:cubicBezTo>
                  <a:pt x="123506" y="144869"/>
                  <a:pt x="125715" y="144022"/>
                  <a:pt x="127889" y="143064"/>
                </a:cubicBezTo>
                <a:cubicBezTo>
                  <a:pt x="129877" y="142327"/>
                  <a:pt x="131793" y="141444"/>
                  <a:pt x="133635" y="140412"/>
                </a:cubicBezTo>
                <a:lnTo>
                  <a:pt x="138055" y="138055"/>
                </a:lnTo>
                <a:lnTo>
                  <a:pt x="139823" y="137023"/>
                </a:lnTo>
                <a:cubicBezTo>
                  <a:pt x="157209" y="145974"/>
                  <a:pt x="168111" y="163876"/>
                  <a:pt x="168111" y="183435"/>
                </a:cubicBezTo>
                <a:lnTo>
                  <a:pt x="168111" y="240159"/>
                </a:lnTo>
                <a:lnTo>
                  <a:pt x="197579" y="240159"/>
                </a:lnTo>
                <a:lnTo>
                  <a:pt x="197579" y="183435"/>
                </a:lnTo>
                <a:cubicBezTo>
                  <a:pt x="197505" y="156177"/>
                  <a:pt x="183877" y="130762"/>
                  <a:pt x="161186" y="115659"/>
                </a:cubicBezTo>
                <a:close/>
                <a:moveTo>
                  <a:pt x="98863" y="29466"/>
                </a:moveTo>
                <a:cubicBezTo>
                  <a:pt x="117943" y="29319"/>
                  <a:pt x="135071" y="41143"/>
                  <a:pt x="141665" y="59044"/>
                </a:cubicBezTo>
                <a:cubicBezTo>
                  <a:pt x="148258" y="76945"/>
                  <a:pt x="142918" y="97057"/>
                  <a:pt x="128331" y="109323"/>
                </a:cubicBezTo>
                <a:cubicBezTo>
                  <a:pt x="115918" y="119342"/>
                  <a:pt x="99232" y="122288"/>
                  <a:pt x="84130" y="117131"/>
                </a:cubicBezTo>
                <a:cubicBezTo>
                  <a:pt x="81662" y="116248"/>
                  <a:pt x="79231" y="115143"/>
                  <a:pt x="76910" y="113890"/>
                </a:cubicBezTo>
                <a:cubicBezTo>
                  <a:pt x="74590" y="112527"/>
                  <a:pt x="72380" y="111017"/>
                  <a:pt x="70281" y="109323"/>
                </a:cubicBezTo>
                <a:cubicBezTo>
                  <a:pt x="59635" y="100925"/>
                  <a:pt x="53447" y="88106"/>
                  <a:pt x="53485" y="74551"/>
                </a:cubicBezTo>
                <a:cubicBezTo>
                  <a:pt x="53632" y="49615"/>
                  <a:pt x="73928" y="29466"/>
                  <a:pt x="98864" y="29466"/>
                </a:cubicBezTo>
                <a:close/>
              </a:path>
            </a:pathLst>
          </a:custGeom>
          <a:solidFill>
            <a:schemeClr val="accent2"/>
          </a:solidFill>
          <a:ln w="933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E49A5353-599A-8B04-0DA7-91C0D1CB2CB9}"/>
              </a:ext>
            </a:extLst>
          </p:cNvPr>
          <p:cNvSpPr/>
          <p:nvPr/>
        </p:nvSpPr>
        <p:spPr>
          <a:xfrm>
            <a:off x="10657998" y="2170975"/>
            <a:ext cx="154815" cy="188686"/>
          </a:xfrm>
          <a:custGeom>
            <a:avLst/>
            <a:gdLst>
              <a:gd name="connsiteX0" fmla="*/ 161186 w 197578"/>
              <a:gd name="connsiteY0" fmla="*/ 116306 h 240805"/>
              <a:gd name="connsiteX1" fmla="*/ 173710 w 197578"/>
              <a:gd name="connsiteY1" fmla="*/ 75199 h 240805"/>
              <a:gd name="connsiteX2" fmla="*/ 143690 w 197578"/>
              <a:gd name="connsiteY2" fmla="*/ 14901 h 240805"/>
              <a:gd name="connsiteX3" fmla="*/ 77389 w 197578"/>
              <a:gd name="connsiteY3" fmla="*/ 3151 h 240805"/>
              <a:gd name="connsiteX4" fmla="*/ 28473 w 197578"/>
              <a:gd name="connsiteY4" fmla="*/ 49452 h 240805"/>
              <a:gd name="connsiteX5" fmla="*/ 36540 w 197578"/>
              <a:gd name="connsiteY5" fmla="*/ 116306 h 240805"/>
              <a:gd name="connsiteX6" fmla="*/ 0 w 197578"/>
              <a:gd name="connsiteY6" fmla="*/ 184081 h 240805"/>
              <a:gd name="connsiteX7" fmla="*/ 0 w 197578"/>
              <a:gd name="connsiteY7" fmla="*/ 240806 h 240805"/>
              <a:gd name="connsiteX8" fmla="*/ 29467 w 197578"/>
              <a:gd name="connsiteY8" fmla="*/ 240806 h 240805"/>
              <a:gd name="connsiteX9" fmla="*/ 29467 w 197578"/>
              <a:gd name="connsiteY9" fmla="*/ 184081 h 240805"/>
              <a:gd name="connsiteX10" fmla="*/ 57903 w 197578"/>
              <a:gd name="connsiteY10" fmla="*/ 137670 h 240805"/>
              <a:gd name="connsiteX11" fmla="*/ 59671 w 197578"/>
              <a:gd name="connsiteY11" fmla="*/ 138701 h 240805"/>
              <a:gd name="connsiteX12" fmla="*/ 64091 w 197578"/>
              <a:gd name="connsiteY12" fmla="*/ 141059 h 240805"/>
              <a:gd name="connsiteX13" fmla="*/ 69690 w 197578"/>
              <a:gd name="connsiteY13" fmla="*/ 143710 h 240805"/>
              <a:gd name="connsiteX14" fmla="*/ 76467 w 197578"/>
              <a:gd name="connsiteY14" fmla="*/ 146216 h 240805"/>
              <a:gd name="connsiteX15" fmla="*/ 78972 w 197578"/>
              <a:gd name="connsiteY15" fmla="*/ 146216 h 240805"/>
              <a:gd name="connsiteX16" fmla="*/ 98863 w 197578"/>
              <a:gd name="connsiteY16" fmla="*/ 149162 h 240805"/>
              <a:gd name="connsiteX17" fmla="*/ 118606 w 197578"/>
              <a:gd name="connsiteY17" fmla="*/ 146216 h 240805"/>
              <a:gd name="connsiteX18" fmla="*/ 121112 w 197578"/>
              <a:gd name="connsiteY18" fmla="*/ 146216 h 240805"/>
              <a:gd name="connsiteX19" fmla="*/ 127889 w 197578"/>
              <a:gd name="connsiteY19" fmla="*/ 143710 h 240805"/>
              <a:gd name="connsiteX20" fmla="*/ 133488 w 197578"/>
              <a:gd name="connsiteY20" fmla="*/ 141059 h 240805"/>
              <a:gd name="connsiteX21" fmla="*/ 137908 w 197578"/>
              <a:gd name="connsiteY21" fmla="*/ 138701 h 240805"/>
              <a:gd name="connsiteX22" fmla="*/ 139676 w 197578"/>
              <a:gd name="connsiteY22" fmla="*/ 137670 h 240805"/>
              <a:gd name="connsiteX23" fmla="*/ 168112 w 197578"/>
              <a:gd name="connsiteY23" fmla="*/ 184081 h 240805"/>
              <a:gd name="connsiteX24" fmla="*/ 168112 w 197578"/>
              <a:gd name="connsiteY24" fmla="*/ 240806 h 240805"/>
              <a:gd name="connsiteX25" fmla="*/ 197579 w 197578"/>
              <a:gd name="connsiteY25" fmla="*/ 240806 h 240805"/>
              <a:gd name="connsiteX26" fmla="*/ 197579 w 197578"/>
              <a:gd name="connsiteY26" fmla="*/ 184081 h 240805"/>
              <a:gd name="connsiteX27" fmla="*/ 161186 w 197578"/>
              <a:gd name="connsiteY27" fmla="*/ 116306 h 240805"/>
              <a:gd name="connsiteX28" fmla="*/ 99010 w 197578"/>
              <a:gd name="connsiteY28" fmla="*/ 30114 h 240805"/>
              <a:gd name="connsiteX29" fmla="*/ 141553 w 197578"/>
              <a:gd name="connsiteY29" fmla="*/ 59765 h 240805"/>
              <a:gd name="connsiteX30" fmla="*/ 128477 w 197578"/>
              <a:gd name="connsiteY30" fmla="*/ 109970 h 240805"/>
              <a:gd name="connsiteX31" fmla="*/ 84276 w 197578"/>
              <a:gd name="connsiteY31" fmla="*/ 117779 h 240805"/>
              <a:gd name="connsiteX32" fmla="*/ 70574 w 197578"/>
              <a:gd name="connsiteY32" fmla="*/ 109823 h 240805"/>
              <a:gd name="connsiteX33" fmla="*/ 54514 w 197578"/>
              <a:gd name="connsiteY33" fmla="*/ 75494 h 240805"/>
              <a:gd name="connsiteX34" fmla="*/ 99011 w 197578"/>
              <a:gd name="connsiteY34" fmla="*/ 30114 h 2408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97578" h="240805">
                <a:moveTo>
                  <a:pt x="161186" y="116306"/>
                </a:moveTo>
                <a:cubicBezTo>
                  <a:pt x="169364" y="104150"/>
                  <a:pt x="173710" y="89859"/>
                  <a:pt x="173710" y="75199"/>
                </a:cubicBezTo>
                <a:cubicBezTo>
                  <a:pt x="173820" y="51478"/>
                  <a:pt x="162696" y="29119"/>
                  <a:pt x="143690" y="14901"/>
                </a:cubicBezTo>
                <a:cubicBezTo>
                  <a:pt x="124684" y="720"/>
                  <a:pt x="100078" y="-3664"/>
                  <a:pt x="77389" y="3151"/>
                </a:cubicBezTo>
                <a:cubicBezTo>
                  <a:pt x="54661" y="9966"/>
                  <a:pt x="36503" y="27130"/>
                  <a:pt x="28473" y="49452"/>
                </a:cubicBezTo>
                <a:cubicBezTo>
                  <a:pt x="20406" y="71774"/>
                  <a:pt x="23389" y="96563"/>
                  <a:pt x="36540" y="116306"/>
                </a:cubicBezTo>
                <a:cubicBezTo>
                  <a:pt x="13812" y="131408"/>
                  <a:pt x="110" y="156824"/>
                  <a:pt x="0" y="184081"/>
                </a:cubicBezTo>
                <a:lnTo>
                  <a:pt x="0" y="240806"/>
                </a:lnTo>
                <a:lnTo>
                  <a:pt x="29467" y="240806"/>
                </a:lnTo>
                <a:lnTo>
                  <a:pt x="29467" y="184081"/>
                </a:lnTo>
                <a:cubicBezTo>
                  <a:pt x="29504" y="164522"/>
                  <a:pt x="40481" y="146583"/>
                  <a:pt x="57903" y="137670"/>
                </a:cubicBezTo>
                <a:lnTo>
                  <a:pt x="59671" y="138701"/>
                </a:lnTo>
                <a:lnTo>
                  <a:pt x="64091" y="141059"/>
                </a:lnTo>
                <a:cubicBezTo>
                  <a:pt x="65896" y="142090"/>
                  <a:pt x="67737" y="142974"/>
                  <a:pt x="69690" y="143710"/>
                </a:cubicBezTo>
                <a:cubicBezTo>
                  <a:pt x="71900" y="144668"/>
                  <a:pt x="74147" y="145515"/>
                  <a:pt x="76467" y="146216"/>
                </a:cubicBezTo>
                <a:lnTo>
                  <a:pt x="78972" y="146216"/>
                </a:lnTo>
                <a:cubicBezTo>
                  <a:pt x="85455" y="148094"/>
                  <a:pt x="92121" y="149088"/>
                  <a:pt x="98863" y="149162"/>
                </a:cubicBezTo>
                <a:cubicBezTo>
                  <a:pt x="105530" y="149088"/>
                  <a:pt x="112197" y="148094"/>
                  <a:pt x="118606" y="146216"/>
                </a:cubicBezTo>
                <a:lnTo>
                  <a:pt x="121112" y="146216"/>
                </a:lnTo>
                <a:cubicBezTo>
                  <a:pt x="123432" y="145552"/>
                  <a:pt x="125678" y="144705"/>
                  <a:pt x="127889" y="143710"/>
                </a:cubicBezTo>
                <a:cubicBezTo>
                  <a:pt x="129841" y="142974"/>
                  <a:pt x="131683" y="142090"/>
                  <a:pt x="133488" y="141059"/>
                </a:cubicBezTo>
                <a:cubicBezTo>
                  <a:pt x="134998" y="140359"/>
                  <a:pt x="136472" y="139585"/>
                  <a:pt x="137908" y="138701"/>
                </a:cubicBezTo>
                <a:cubicBezTo>
                  <a:pt x="137908" y="138701"/>
                  <a:pt x="139233" y="138701"/>
                  <a:pt x="139676" y="137670"/>
                </a:cubicBezTo>
                <a:cubicBezTo>
                  <a:pt x="157099" y="146583"/>
                  <a:pt x="168075" y="164522"/>
                  <a:pt x="168112" y="184081"/>
                </a:cubicBezTo>
                <a:lnTo>
                  <a:pt x="168112" y="240806"/>
                </a:lnTo>
                <a:lnTo>
                  <a:pt x="197579" y="240806"/>
                </a:lnTo>
                <a:lnTo>
                  <a:pt x="197579" y="184081"/>
                </a:lnTo>
                <a:cubicBezTo>
                  <a:pt x="197542" y="156824"/>
                  <a:pt x="183877" y="131372"/>
                  <a:pt x="161186" y="116306"/>
                </a:cubicBezTo>
                <a:close/>
                <a:moveTo>
                  <a:pt x="99010" y="30114"/>
                </a:moveTo>
                <a:cubicBezTo>
                  <a:pt x="118016" y="30114"/>
                  <a:pt x="134960" y="41974"/>
                  <a:pt x="141553" y="59765"/>
                </a:cubicBezTo>
                <a:cubicBezTo>
                  <a:pt x="148109" y="77593"/>
                  <a:pt x="142916" y="97631"/>
                  <a:pt x="128477" y="109970"/>
                </a:cubicBezTo>
                <a:cubicBezTo>
                  <a:pt x="116027" y="119952"/>
                  <a:pt x="99378" y="122899"/>
                  <a:pt x="84276" y="117779"/>
                </a:cubicBezTo>
                <a:cubicBezTo>
                  <a:pt x="79229" y="116048"/>
                  <a:pt x="74589" y="113322"/>
                  <a:pt x="70574" y="109823"/>
                </a:cubicBezTo>
                <a:cubicBezTo>
                  <a:pt x="60334" y="101387"/>
                  <a:pt x="54441" y="88754"/>
                  <a:pt x="54514" y="75494"/>
                </a:cubicBezTo>
                <a:cubicBezTo>
                  <a:pt x="54514" y="50778"/>
                  <a:pt x="74295" y="30593"/>
                  <a:pt x="99011" y="30114"/>
                </a:cubicBezTo>
                <a:close/>
              </a:path>
            </a:pathLst>
          </a:custGeom>
          <a:solidFill>
            <a:schemeClr val="accent2"/>
          </a:solidFill>
          <a:ln w="933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1E50D310-02D1-2F47-5646-F431A41B6479}"/>
              </a:ext>
            </a:extLst>
          </p:cNvPr>
          <p:cNvSpPr/>
          <p:nvPr/>
        </p:nvSpPr>
        <p:spPr>
          <a:xfrm>
            <a:off x="10350774" y="1731711"/>
            <a:ext cx="171148" cy="180585"/>
          </a:xfrm>
          <a:custGeom>
            <a:avLst/>
            <a:gdLst>
              <a:gd name="connsiteX0" fmla="*/ 16088 w 218423"/>
              <a:gd name="connsiteY0" fmla="*/ 226783 h 230466"/>
              <a:gd name="connsiteX1" fmla="*/ 25811 w 218423"/>
              <a:gd name="connsiteY1" fmla="*/ 230466 h 230466"/>
              <a:gd name="connsiteX2" fmla="*/ 26843 w 218423"/>
              <a:gd name="connsiteY2" fmla="*/ 230466 h 230466"/>
              <a:gd name="connsiteX3" fmla="*/ 204534 w 218423"/>
              <a:gd name="connsiteY3" fmla="*/ 218826 h 230466"/>
              <a:gd name="connsiteX4" fmla="*/ 214773 w 218423"/>
              <a:gd name="connsiteY4" fmla="*/ 213854 h 230466"/>
              <a:gd name="connsiteX5" fmla="*/ 218383 w 218423"/>
              <a:gd name="connsiteY5" fmla="*/ 203062 h 230466"/>
              <a:gd name="connsiteX6" fmla="*/ 207628 w 218423"/>
              <a:gd name="connsiteY6" fmla="*/ 39958 h 230466"/>
              <a:gd name="connsiteX7" fmla="*/ 192011 w 218423"/>
              <a:gd name="connsiteY7" fmla="*/ 26256 h 230466"/>
              <a:gd name="connsiteX8" fmla="*/ 158271 w 218423"/>
              <a:gd name="connsiteY8" fmla="*/ 28467 h 230466"/>
              <a:gd name="connsiteX9" fmla="*/ 157239 w 218423"/>
              <a:gd name="connsiteY9" fmla="*/ 13733 h 230466"/>
              <a:gd name="connsiteX10" fmla="*/ 141622 w 218423"/>
              <a:gd name="connsiteY10" fmla="*/ 30 h 230466"/>
              <a:gd name="connsiteX11" fmla="*/ 60292 w 218423"/>
              <a:gd name="connsiteY11" fmla="*/ 5187 h 230466"/>
              <a:gd name="connsiteX12" fmla="*/ 46589 w 218423"/>
              <a:gd name="connsiteY12" fmla="*/ 20804 h 230466"/>
              <a:gd name="connsiteX13" fmla="*/ 47621 w 218423"/>
              <a:gd name="connsiteY13" fmla="*/ 35538 h 230466"/>
              <a:gd name="connsiteX14" fmla="*/ 13881 w 218423"/>
              <a:gd name="connsiteY14" fmla="*/ 37748 h 230466"/>
              <a:gd name="connsiteX15" fmla="*/ 3715 w 218423"/>
              <a:gd name="connsiteY15" fmla="*/ 42685 h 230466"/>
              <a:gd name="connsiteX16" fmla="*/ 32 w 218423"/>
              <a:gd name="connsiteY16" fmla="*/ 53366 h 230466"/>
              <a:gd name="connsiteX17" fmla="*/ 10934 w 218423"/>
              <a:gd name="connsiteY17" fmla="*/ 216319 h 230466"/>
              <a:gd name="connsiteX18" fmla="*/ 16091 w 218423"/>
              <a:gd name="connsiteY18" fmla="*/ 226780 h 230466"/>
              <a:gd name="connsiteX19" fmla="*/ 128356 w 218423"/>
              <a:gd name="connsiteY19" fmla="*/ 30827 h 230466"/>
              <a:gd name="connsiteX20" fmla="*/ 130419 w 218423"/>
              <a:gd name="connsiteY20" fmla="*/ 60294 h 230466"/>
              <a:gd name="connsiteX21" fmla="*/ 78998 w 218423"/>
              <a:gd name="connsiteY21" fmla="*/ 63683 h 230466"/>
              <a:gd name="connsiteX22" fmla="*/ 76936 w 218423"/>
              <a:gd name="connsiteY22" fmla="*/ 34216 h 230466"/>
              <a:gd name="connsiteX23" fmla="*/ 49530 w 218423"/>
              <a:gd name="connsiteY23" fmla="*/ 65745 h 230466"/>
              <a:gd name="connsiteX24" fmla="*/ 50562 w 218423"/>
              <a:gd name="connsiteY24" fmla="*/ 80479 h 230466"/>
              <a:gd name="connsiteX25" fmla="*/ 55571 w 218423"/>
              <a:gd name="connsiteY25" fmla="*/ 90498 h 230466"/>
              <a:gd name="connsiteX26" fmla="*/ 60286 w 218423"/>
              <a:gd name="connsiteY26" fmla="*/ 93298 h 230466"/>
              <a:gd name="connsiteX27" fmla="*/ 61907 w 218423"/>
              <a:gd name="connsiteY27" fmla="*/ 93298 h 230466"/>
              <a:gd name="connsiteX28" fmla="*/ 65149 w 218423"/>
              <a:gd name="connsiteY28" fmla="*/ 93298 h 230466"/>
              <a:gd name="connsiteX29" fmla="*/ 66179 w 218423"/>
              <a:gd name="connsiteY29" fmla="*/ 93298 h 230466"/>
              <a:gd name="connsiteX30" fmla="*/ 147067 w 218423"/>
              <a:gd name="connsiteY30" fmla="*/ 87994 h 230466"/>
              <a:gd name="connsiteX31" fmla="*/ 152519 w 218423"/>
              <a:gd name="connsiteY31" fmla="*/ 86373 h 230466"/>
              <a:gd name="connsiteX32" fmla="*/ 160033 w 218423"/>
              <a:gd name="connsiteY32" fmla="*/ 77975 h 230466"/>
              <a:gd name="connsiteX33" fmla="*/ 160033 w 218423"/>
              <a:gd name="connsiteY33" fmla="*/ 72228 h 230466"/>
              <a:gd name="connsiteX34" fmla="*/ 159002 w 218423"/>
              <a:gd name="connsiteY34" fmla="*/ 57495 h 230466"/>
              <a:gd name="connsiteX35" fmla="*/ 178156 w 218423"/>
              <a:gd name="connsiteY35" fmla="*/ 56611 h 230466"/>
              <a:gd name="connsiteX36" fmla="*/ 186996 w 218423"/>
              <a:gd name="connsiteY36" fmla="*/ 190246 h 230466"/>
              <a:gd name="connsiteX37" fmla="*/ 38772 w 218423"/>
              <a:gd name="connsiteY37" fmla="*/ 199970 h 230466"/>
              <a:gd name="connsiteX38" fmla="*/ 30816 w 218423"/>
              <a:gd name="connsiteY38" fmla="*/ 66485 h 2304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</a:cxnLst>
            <a:rect l="l" t="t" r="r" b="b"/>
            <a:pathLst>
              <a:path w="218423" h="230466">
                <a:moveTo>
                  <a:pt x="16088" y="226783"/>
                </a:moveTo>
                <a:cubicBezTo>
                  <a:pt x="18777" y="229140"/>
                  <a:pt x="22238" y="230466"/>
                  <a:pt x="25811" y="230466"/>
                </a:cubicBezTo>
                <a:lnTo>
                  <a:pt x="26843" y="230466"/>
                </a:lnTo>
                <a:lnTo>
                  <a:pt x="204534" y="218826"/>
                </a:lnTo>
                <a:cubicBezTo>
                  <a:pt x="208475" y="218606"/>
                  <a:pt x="212159" y="216801"/>
                  <a:pt x="214773" y="213854"/>
                </a:cubicBezTo>
                <a:cubicBezTo>
                  <a:pt x="217352" y="210871"/>
                  <a:pt x="218677" y="207002"/>
                  <a:pt x="218383" y="203062"/>
                </a:cubicBezTo>
                <a:lnTo>
                  <a:pt x="207628" y="39958"/>
                </a:lnTo>
                <a:cubicBezTo>
                  <a:pt x="207075" y="31855"/>
                  <a:pt x="200113" y="25740"/>
                  <a:pt x="192011" y="26256"/>
                </a:cubicBezTo>
                <a:lnTo>
                  <a:pt x="158271" y="28467"/>
                </a:lnTo>
                <a:lnTo>
                  <a:pt x="157239" y="13733"/>
                </a:lnTo>
                <a:cubicBezTo>
                  <a:pt x="156686" y="5629"/>
                  <a:pt x="149724" y="-485"/>
                  <a:pt x="141622" y="30"/>
                </a:cubicBezTo>
                <a:lnTo>
                  <a:pt x="60292" y="5187"/>
                </a:lnTo>
                <a:cubicBezTo>
                  <a:pt x="52188" y="5740"/>
                  <a:pt x="46074" y="12701"/>
                  <a:pt x="46589" y="20804"/>
                </a:cubicBezTo>
                <a:lnTo>
                  <a:pt x="47621" y="35538"/>
                </a:lnTo>
                <a:lnTo>
                  <a:pt x="13881" y="37748"/>
                </a:lnTo>
                <a:cubicBezTo>
                  <a:pt x="9976" y="37970"/>
                  <a:pt x="6330" y="39738"/>
                  <a:pt x="3715" y="42685"/>
                </a:cubicBezTo>
                <a:cubicBezTo>
                  <a:pt x="1099" y="45594"/>
                  <a:pt x="-227" y="49462"/>
                  <a:pt x="32" y="53366"/>
                </a:cubicBezTo>
                <a:lnTo>
                  <a:pt x="10934" y="216319"/>
                </a:lnTo>
                <a:cubicBezTo>
                  <a:pt x="11155" y="220370"/>
                  <a:pt x="12996" y="224164"/>
                  <a:pt x="16091" y="226780"/>
                </a:cubicBezTo>
                <a:close/>
                <a:moveTo>
                  <a:pt x="128356" y="30827"/>
                </a:moveTo>
                <a:lnTo>
                  <a:pt x="130419" y="60294"/>
                </a:lnTo>
                <a:lnTo>
                  <a:pt x="78998" y="63683"/>
                </a:lnTo>
                <a:lnTo>
                  <a:pt x="76936" y="34216"/>
                </a:lnTo>
                <a:close/>
                <a:moveTo>
                  <a:pt x="49530" y="65745"/>
                </a:moveTo>
                <a:lnTo>
                  <a:pt x="50562" y="80479"/>
                </a:lnTo>
                <a:cubicBezTo>
                  <a:pt x="50856" y="84347"/>
                  <a:pt x="52661" y="87957"/>
                  <a:pt x="55571" y="90498"/>
                </a:cubicBezTo>
                <a:cubicBezTo>
                  <a:pt x="56898" y="91787"/>
                  <a:pt x="58518" y="92745"/>
                  <a:pt x="60286" y="93298"/>
                </a:cubicBezTo>
                <a:lnTo>
                  <a:pt x="61907" y="93298"/>
                </a:lnTo>
                <a:cubicBezTo>
                  <a:pt x="62975" y="93408"/>
                  <a:pt x="64080" y="93408"/>
                  <a:pt x="65149" y="93298"/>
                </a:cubicBezTo>
                <a:lnTo>
                  <a:pt x="66179" y="93298"/>
                </a:lnTo>
                <a:lnTo>
                  <a:pt x="147067" y="87994"/>
                </a:lnTo>
                <a:cubicBezTo>
                  <a:pt x="148983" y="87847"/>
                  <a:pt x="150825" y="87294"/>
                  <a:pt x="152519" y="86373"/>
                </a:cubicBezTo>
                <a:cubicBezTo>
                  <a:pt x="156056" y="84678"/>
                  <a:pt x="158744" y="81658"/>
                  <a:pt x="160033" y="77975"/>
                </a:cubicBezTo>
                <a:cubicBezTo>
                  <a:pt x="160402" y="76096"/>
                  <a:pt x="160402" y="74107"/>
                  <a:pt x="160033" y="72228"/>
                </a:cubicBezTo>
                <a:lnTo>
                  <a:pt x="159002" y="57495"/>
                </a:lnTo>
                <a:lnTo>
                  <a:pt x="178156" y="56611"/>
                </a:lnTo>
                <a:lnTo>
                  <a:pt x="186996" y="190246"/>
                </a:lnTo>
                <a:lnTo>
                  <a:pt x="38772" y="199970"/>
                </a:lnTo>
                <a:lnTo>
                  <a:pt x="30816" y="66485"/>
                </a:lnTo>
                <a:close/>
              </a:path>
            </a:pathLst>
          </a:custGeom>
          <a:solidFill>
            <a:schemeClr val="accent1"/>
          </a:solidFill>
          <a:ln w="933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65105728-4D36-8BC4-425B-FD9F4EA43931}"/>
              </a:ext>
            </a:extLst>
          </p:cNvPr>
          <p:cNvSpPr/>
          <p:nvPr/>
        </p:nvSpPr>
        <p:spPr>
          <a:xfrm>
            <a:off x="10533388" y="1758906"/>
            <a:ext cx="188176" cy="193305"/>
          </a:xfrm>
          <a:custGeom>
            <a:avLst/>
            <a:gdLst>
              <a:gd name="connsiteX0" fmla="*/ 11397 w 240154"/>
              <a:gd name="connsiteY0" fmla="*/ 205778 h 246700"/>
              <a:gd name="connsiteX1" fmla="*/ 184816 w 240154"/>
              <a:gd name="connsiteY1" fmla="*/ 246590 h 246700"/>
              <a:gd name="connsiteX2" fmla="*/ 188205 w 240154"/>
              <a:gd name="connsiteY2" fmla="*/ 246590 h 246700"/>
              <a:gd name="connsiteX3" fmla="*/ 202939 w 240154"/>
              <a:gd name="connsiteY3" fmla="*/ 235245 h 246700"/>
              <a:gd name="connsiteX4" fmla="*/ 239773 w 240154"/>
              <a:gd name="connsiteY4" fmla="*/ 76564 h 246700"/>
              <a:gd name="connsiteX5" fmla="*/ 237894 w 240154"/>
              <a:gd name="connsiteY5" fmla="*/ 65440 h 246700"/>
              <a:gd name="connsiteX6" fmla="*/ 228722 w 240154"/>
              <a:gd name="connsiteY6" fmla="*/ 58884 h 246700"/>
              <a:gd name="connsiteX7" fmla="*/ 195572 w 240154"/>
              <a:gd name="connsiteY7" fmla="*/ 51222 h 246700"/>
              <a:gd name="connsiteX8" fmla="*/ 198961 w 240154"/>
              <a:gd name="connsiteY8" fmla="*/ 36489 h 246700"/>
              <a:gd name="connsiteX9" fmla="*/ 197082 w 240154"/>
              <a:gd name="connsiteY9" fmla="*/ 25365 h 246700"/>
              <a:gd name="connsiteX10" fmla="*/ 187910 w 240154"/>
              <a:gd name="connsiteY10" fmla="*/ 18808 h 246700"/>
              <a:gd name="connsiteX11" fmla="*/ 109527 w 240154"/>
              <a:gd name="connsiteY11" fmla="*/ 391 h 246700"/>
              <a:gd name="connsiteX12" fmla="*/ 98476 w 240154"/>
              <a:gd name="connsiteY12" fmla="*/ 2159 h 246700"/>
              <a:gd name="connsiteX13" fmla="*/ 92436 w 240154"/>
              <a:gd name="connsiteY13" fmla="*/ 10852 h 246700"/>
              <a:gd name="connsiteX14" fmla="*/ 89047 w 240154"/>
              <a:gd name="connsiteY14" fmla="*/ 25586 h 246700"/>
              <a:gd name="connsiteX15" fmla="*/ 55454 w 240154"/>
              <a:gd name="connsiteY15" fmla="*/ 18219 h 246700"/>
              <a:gd name="connsiteX16" fmla="*/ 37773 w 240154"/>
              <a:gd name="connsiteY16" fmla="*/ 29121 h 246700"/>
              <a:gd name="connsiteX17" fmla="*/ 497 w 240154"/>
              <a:gd name="connsiteY17" fmla="*/ 187651 h 246700"/>
              <a:gd name="connsiteX18" fmla="*/ 2118 w 240154"/>
              <a:gd name="connsiteY18" fmla="*/ 199033 h 246700"/>
              <a:gd name="connsiteX19" fmla="*/ 11401 w 240154"/>
              <a:gd name="connsiteY19" fmla="*/ 205774 h 246700"/>
              <a:gd name="connsiteX20" fmla="*/ 167277 w 240154"/>
              <a:gd name="connsiteY20" fmla="*/ 43702 h 246700"/>
              <a:gd name="connsiteX21" fmla="*/ 160499 w 240154"/>
              <a:gd name="connsiteY21" fmla="*/ 73170 h 246700"/>
              <a:gd name="connsiteX22" fmla="*/ 110405 w 240154"/>
              <a:gd name="connsiteY22" fmla="*/ 61383 h 246700"/>
              <a:gd name="connsiteX23" fmla="*/ 117183 w 240154"/>
              <a:gd name="connsiteY23" fmla="*/ 31915 h 246700"/>
              <a:gd name="connsiteX24" fmla="*/ 62967 w 240154"/>
              <a:gd name="connsiteY24" fmla="*/ 50185 h 246700"/>
              <a:gd name="connsiteX25" fmla="*/ 81532 w 240154"/>
              <a:gd name="connsiteY25" fmla="*/ 54605 h 246700"/>
              <a:gd name="connsiteX26" fmla="*/ 77702 w 240154"/>
              <a:gd name="connsiteY26" fmla="*/ 69781 h 246700"/>
              <a:gd name="connsiteX27" fmla="*/ 83447 w 240154"/>
              <a:gd name="connsiteY27" fmla="*/ 84514 h 246700"/>
              <a:gd name="connsiteX28" fmla="*/ 88751 w 240154"/>
              <a:gd name="connsiteY28" fmla="*/ 86872 h 246700"/>
              <a:gd name="connsiteX29" fmla="*/ 167577 w 240154"/>
              <a:gd name="connsiteY29" fmla="*/ 105438 h 246700"/>
              <a:gd name="connsiteX30" fmla="*/ 173913 w 240154"/>
              <a:gd name="connsiteY30" fmla="*/ 105438 h 246700"/>
              <a:gd name="connsiteX31" fmla="*/ 178628 w 240154"/>
              <a:gd name="connsiteY31" fmla="*/ 103670 h 246700"/>
              <a:gd name="connsiteX32" fmla="*/ 180691 w 240154"/>
              <a:gd name="connsiteY32" fmla="*/ 101902 h 246700"/>
              <a:gd name="connsiteX33" fmla="*/ 182753 w 240154"/>
              <a:gd name="connsiteY33" fmla="*/ 99838 h 246700"/>
              <a:gd name="connsiteX34" fmla="*/ 185258 w 240154"/>
              <a:gd name="connsiteY34" fmla="*/ 94534 h 246700"/>
              <a:gd name="connsiteX35" fmla="*/ 188647 w 240154"/>
              <a:gd name="connsiteY35" fmla="*/ 79801 h 246700"/>
              <a:gd name="connsiteX36" fmla="*/ 207212 w 240154"/>
              <a:gd name="connsiteY36" fmla="*/ 84221 h 246700"/>
              <a:gd name="connsiteX37" fmla="*/ 176713 w 240154"/>
              <a:gd name="connsiteY37" fmla="*/ 214462 h 246700"/>
              <a:gd name="connsiteX38" fmla="*/ 31884 w 240154"/>
              <a:gd name="connsiteY38" fmla="*/ 180574 h 24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</a:cxnLst>
            <a:rect l="l" t="t" r="r" b="b"/>
            <a:pathLst>
              <a:path w="240154" h="246700">
                <a:moveTo>
                  <a:pt x="11397" y="205778"/>
                </a:moveTo>
                <a:lnTo>
                  <a:pt x="184816" y="246590"/>
                </a:lnTo>
                <a:cubicBezTo>
                  <a:pt x="185958" y="246737"/>
                  <a:pt x="187063" y="246737"/>
                  <a:pt x="188205" y="246590"/>
                </a:cubicBezTo>
                <a:cubicBezTo>
                  <a:pt x="195167" y="246774"/>
                  <a:pt x="201318" y="242022"/>
                  <a:pt x="202939" y="235245"/>
                </a:cubicBezTo>
                <a:lnTo>
                  <a:pt x="239773" y="76564"/>
                </a:lnTo>
                <a:cubicBezTo>
                  <a:pt x="240656" y="72771"/>
                  <a:pt x="239993" y="68756"/>
                  <a:pt x="237894" y="65440"/>
                </a:cubicBezTo>
                <a:cubicBezTo>
                  <a:pt x="235831" y="62125"/>
                  <a:pt x="232517" y="59767"/>
                  <a:pt x="228722" y="58884"/>
                </a:cubicBezTo>
                <a:lnTo>
                  <a:pt x="195572" y="51222"/>
                </a:lnTo>
                <a:lnTo>
                  <a:pt x="198961" y="36489"/>
                </a:lnTo>
                <a:cubicBezTo>
                  <a:pt x="199844" y="32695"/>
                  <a:pt x="199181" y="28680"/>
                  <a:pt x="197082" y="25365"/>
                </a:cubicBezTo>
                <a:cubicBezTo>
                  <a:pt x="195019" y="22049"/>
                  <a:pt x="191705" y="19692"/>
                  <a:pt x="187910" y="18808"/>
                </a:cubicBezTo>
                <a:lnTo>
                  <a:pt x="109527" y="391"/>
                </a:lnTo>
                <a:cubicBezTo>
                  <a:pt x="105770" y="-493"/>
                  <a:pt x="101792" y="133"/>
                  <a:pt x="98476" y="2159"/>
                </a:cubicBezTo>
                <a:cubicBezTo>
                  <a:pt x="95456" y="4222"/>
                  <a:pt x="93319" y="7316"/>
                  <a:pt x="92436" y="10852"/>
                </a:cubicBezTo>
                <a:lnTo>
                  <a:pt x="89047" y="25586"/>
                </a:lnTo>
                <a:lnTo>
                  <a:pt x="55454" y="18219"/>
                </a:lnTo>
                <a:cubicBezTo>
                  <a:pt x="47572" y="16377"/>
                  <a:pt x="39652" y="21239"/>
                  <a:pt x="37773" y="29121"/>
                </a:cubicBezTo>
                <a:lnTo>
                  <a:pt x="497" y="187651"/>
                </a:lnTo>
                <a:cubicBezTo>
                  <a:pt x="-534" y="191519"/>
                  <a:pt x="55" y="195608"/>
                  <a:pt x="2118" y="199033"/>
                </a:cubicBezTo>
                <a:cubicBezTo>
                  <a:pt x="4180" y="202422"/>
                  <a:pt x="7533" y="204853"/>
                  <a:pt x="11401" y="205774"/>
                </a:cubicBezTo>
                <a:close/>
                <a:moveTo>
                  <a:pt x="167277" y="43702"/>
                </a:moveTo>
                <a:lnTo>
                  <a:pt x="160499" y="73170"/>
                </a:lnTo>
                <a:lnTo>
                  <a:pt x="110405" y="61383"/>
                </a:lnTo>
                <a:lnTo>
                  <a:pt x="117183" y="31915"/>
                </a:lnTo>
                <a:close/>
                <a:moveTo>
                  <a:pt x="62967" y="50185"/>
                </a:moveTo>
                <a:lnTo>
                  <a:pt x="81532" y="54605"/>
                </a:lnTo>
                <a:lnTo>
                  <a:pt x="77702" y="69781"/>
                </a:lnTo>
                <a:cubicBezTo>
                  <a:pt x="76597" y="75380"/>
                  <a:pt x="78843" y="81125"/>
                  <a:pt x="83447" y="84514"/>
                </a:cubicBezTo>
                <a:cubicBezTo>
                  <a:pt x="85068" y="85583"/>
                  <a:pt x="86873" y="86394"/>
                  <a:pt x="88751" y="86872"/>
                </a:cubicBezTo>
                <a:lnTo>
                  <a:pt x="167577" y="105438"/>
                </a:lnTo>
                <a:lnTo>
                  <a:pt x="173913" y="105438"/>
                </a:lnTo>
                <a:cubicBezTo>
                  <a:pt x="175571" y="105106"/>
                  <a:pt x="177155" y="104516"/>
                  <a:pt x="178628" y="103670"/>
                </a:cubicBezTo>
                <a:cubicBezTo>
                  <a:pt x="179364" y="103117"/>
                  <a:pt x="180027" y="102528"/>
                  <a:pt x="180691" y="101902"/>
                </a:cubicBezTo>
                <a:cubicBezTo>
                  <a:pt x="181464" y="101275"/>
                  <a:pt x="182127" y="100612"/>
                  <a:pt x="182753" y="99838"/>
                </a:cubicBezTo>
                <a:cubicBezTo>
                  <a:pt x="183932" y="98254"/>
                  <a:pt x="184780" y="96449"/>
                  <a:pt x="185258" y="94534"/>
                </a:cubicBezTo>
                <a:lnTo>
                  <a:pt x="188647" y="79801"/>
                </a:lnTo>
                <a:lnTo>
                  <a:pt x="207212" y="84221"/>
                </a:lnTo>
                <a:lnTo>
                  <a:pt x="176713" y="214462"/>
                </a:lnTo>
                <a:lnTo>
                  <a:pt x="31884" y="180574"/>
                </a:lnTo>
                <a:close/>
              </a:path>
            </a:pathLst>
          </a:custGeom>
          <a:solidFill>
            <a:schemeClr val="accent1"/>
          </a:solidFill>
          <a:ln w="933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8612F36F-C779-D1B4-BD47-20D86BBC417D}"/>
              </a:ext>
            </a:extLst>
          </p:cNvPr>
          <p:cNvSpPr/>
          <p:nvPr/>
        </p:nvSpPr>
        <p:spPr>
          <a:xfrm>
            <a:off x="10410713" y="1932152"/>
            <a:ext cx="165102" cy="176404"/>
          </a:xfrm>
          <a:custGeom>
            <a:avLst/>
            <a:gdLst>
              <a:gd name="connsiteX0" fmla="*/ 66449 w 210707"/>
              <a:gd name="connsiteY0" fmla="*/ 0 h 225130"/>
              <a:gd name="connsiteX1" fmla="*/ 51716 w 210707"/>
              <a:gd name="connsiteY1" fmla="*/ 14734 h 225130"/>
              <a:gd name="connsiteX2" fmla="*/ 51716 w 210707"/>
              <a:gd name="connsiteY2" fmla="*/ 29467 h 225130"/>
              <a:gd name="connsiteX3" fmla="*/ 17828 w 210707"/>
              <a:gd name="connsiteY3" fmla="*/ 28731 h 225130"/>
              <a:gd name="connsiteX4" fmla="*/ 3094 w 210707"/>
              <a:gd name="connsiteY4" fmla="*/ 43465 h 225130"/>
              <a:gd name="connsiteX5" fmla="*/ 0 w 210707"/>
              <a:gd name="connsiteY5" fmla="*/ 206860 h 225130"/>
              <a:gd name="connsiteX6" fmla="*/ 4309 w 210707"/>
              <a:gd name="connsiteY6" fmla="*/ 217285 h 225130"/>
              <a:gd name="connsiteX7" fmla="*/ 14734 w 210707"/>
              <a:gd name="connsiteY7" fmla="*/ 221594 h 225130"/>
              <a:gd name="connsiteX8" fmla="*/ 192717 w 210707"/>
              <a:gd name="connsiteY8" fmla="*/ 225130 h 225130"/>
              <a:gd name="connsiteX9" fmla="*/ 203141 w 210707"/>
              <a:gd name="connsiteY9" fmla="*/ 220821 h 225130"/>
              <a:gd name="connsiteX10" fmla="*/ 207451 w 210707"/>
              <a:gd name="connsiteY10" fmla="*/ 210397 h 225130"/>
              <a:gd name="connsiteX11" fmla="*/ 210693 w 210707"/>
              <a:gd name="connsiteY11" fmla="*/ 47152 h 225130"/>
              <a:gd name="connsiteX12" fmla="*/ 206567 w 210707"/>
              <a:gd name="connsiteY12" fmla="*/ 36690 h 225130"/>
              <a:gd name="connsiteX13" fmla="*/ 196253 w 210707"/>
              <a:gd name="connsiteY13" fmla="*/ 32123 h 225130"/>
              <a:gd name="connsiteX14" fmla="*/ 162365 w 210707"/>
              <a:gd name="connsiteY14" fmla="*/ 31386 h 225130"/>
              <a:gd name="connsiteX15" fmla="*/ 162365 w 210707"/>
              <a:gd name="connsiteY15" fmla="*/ 16653 h 225130"/>
              <a:gd name="connsiteX16" fmla="*/ 158240 w 210707"/>
              <a:gd name="connsiteY16" fmla="*/ 6191 h 225130"/>
              <a:gd name="connsiteX17" fmla="*/ 147926 w 210707"/>
              <a:gd name="connsiteY17" fmla="*/ 1624 h 225130"/>
              <a:gd name="connsiteX18" fmla="*/ 67038 w 210707"/>
              <a:gd name="connsiteY18" fmla="*/ 3 h 225130"/>
              <a:gd name="connsiteX19" fmla="*/ 180340 w 210707"/>
              <a:gd name="connsiteY19" fmla="*/ 61439 h 225130"/>
              <a:gd name="connsiteX20" fmla="*/ 177688 w 210707"/>
              <a:gd name="connsiteY20" fmla="*/ 195226 h 225130"/>
              <a:gd name="connsiteX21" fmla="*/ 29172 w 210707"/>
              <a:gd name="connsiteY21" fmla="*/ 192279 h 225130"/>
              <a:gd name="connsiteX22" fmla="*/ 31677 w 210707"/>
              <a:gd name="connsiteY22" fmla="*/ 58493 h 225130"/>
              <a:gd name="connsiteX23" fmla="*/ 50830 w 210707"/>
              <a:gd name="connsiteY23" fmla="*/ 58493 h 225130"/>
              <a:gd name="connsiteX24" fmla="*/ 50830 w 210707"/>
              <a:gd name="connsiteY24" fmla="*/ 73226 h 225130"/>
              <a:gd name="connsiteX25" fmla="*/ 54956 w 210707"/>
              <a:gd name="connsiteY25" fmla="*/ 83835 h 225130"/>
              <a:gd name="connsiteX26" fmla="*/ 65270 w 210707"/>
              <a:gd name="connsiteY26" fmla="*/ 88254 h 225130"/>
              <a:gd name="connsiteX27" fmla="*/ 146158 w 210707"/>
              <a:gd name="connsiteY27" fmla="*/ 89875 h 225130"/>
              <a:gd name="connsiteX28" fmla="*/ 148662 w 210707"/>
              <a:gd name="connsiteY28" fmla="*/ 89875 h 225130"/>
              <a:gd name="connsiteX29" fmla="*/ 151756 w 210707"/>
              <a:gd name="connsiteY29" fmla="*/ 89875 h 225130"/>
              <a:gd name="connsiteX30" fmla="*/ 154998 w 210707"/>
              <a:gd name="connsiteY30" fmla="*/ 87813 h 225130"/>
              <a:gd name="connsiteX31" fmla="*/ 156471 w 210707"/>
              <a:gd name="connsiteY31" fmla="*/ 86781 h 225130"/>
              <a:gd name="connsiteX32" fmla="*/ 159713 w 210707"/>
              <a:gd name="connsiteY32" fmla="*/ 82067 h 225130"/>
              <a:gd name="connsiteX33" fmla="*/ 160891 w 210707"/>
              <a:gd name="connsiteY33" fmla="*/ 76467 h 225130"/>
              <a:gd name="connsiteX34" fmla="*/ 160891 w 210707"/>
              <a:gd name="connsiteY34" fmla="*/ 61734 h 225130"/>
              <a:gd name="connsiteX35" fmla="*/ 132307 w 210707"/>
              <a:gd name="connsiteY35" fmla="*/ 30793 h 225130"/>
              <a:gd name="connsiteX36" fmla="*/ 132307 w 210707"/>
              <a:gd name="connsiteY36" fmla="*/ 60261 h 225130"/>
              <a:gd name="connsiteX37" fmla="*/ 80887 w 210707"/>
              <a:gd name="connsiteY37" fmla="*/ 59229 h 225130"/>
              <a:gd name="connsiteX38" fmla="*/ 80887 w 210707"/>
              <a:gd name="connsiteY38" fmla="*/ 29762 h 2251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</a:cxnLst>
            <a:rect l="l" t="t" r="r" b="b"/>
            <a:pathLst>
              <a:path w="210707" h="225130">
                <a:moveTo>
                  <a:pt x="66449" y="0"/>
                </a:moveTo>
                <a:cubicBezTo>
                  <a:pt x="58309" y="0"/>
                  <a:pt x="51716" y="6593"/>
                  <a:pt x="51716" y="14734"/>
                </a:cubicBezTo>
                <a:lnTo>
                  <a:pt x="51716" y="29467"/>
                </a:lnTo>
                <a:lnTo>
                  <a:pt x="17828" y="28731"/>
                </a:lnTo>
                <a:cubicBezTo>
                  <a:pt x="9687" y="28731"/>
                  <a:pt x="3094" y="35324"/>
                  <a:pt x="3094" y="43465"/>
                </a:cubicBezTo>
                <a:lnTo>
                  <a:pt x="0" y="206860"/>
                </a:lnTo>
                <a:cubicBezTo>
                  <a:pt x="0" y="210764"/>
                  <a:pt x="1546" y="214522"/>
                  <a:pt x="4309" y="217285"/>
                </a:cubicBezTo>
                <a:cubicBezTo>
                  <a:pt x="7072" y="220047"/>
                  <a:pt x="10829" y="221594"/>
                  <a:pt x="14734" y="221594"/>
                </a:cubicBezTo>
                <a:lnTo>
                  <a:pt x="192717" y="225130"/>
                </a:lnTo>
                <a:cubicBezTo>
                  <a:pt x="196622" y="225130"/>
                  <a:pt x="200379" y="223583"/>
                  <a:pt x="203141" y="220821"/>
                </a:cubicBezTo>
                <a:cubicBezTo>
                  <a:pt x="205904" y="218058"/>
                  <a:pt x="207451" y="214301"/>
                  <a:pt x="207451" y="210397"/>
                </a:cubicBezTo>
                <a:lnTo>
                  <a:pt x="210693" y="47152"/>
                </a:lnTo>
                <a:cubicBezTo>
                  <a:pt x="210877" y="43247"/>
                  <a:pt x="209367" y="39453"/>
                  <a:pt x="206567" y="36690"/>
                </a:cubicBezTo>
                <a:cubicBezTo>
                  <a:pt x="203951" y="33744"/>
                  <a:pt x="200195" y="32086"/>
                  <a:pt x="196253" y="32123"/>
                </a:cubicBezTo>
                <a:lnTo>
                  <a:pt x="162365" y="31386"/>
                </a:lnTo>
                <a:lnTo>
                  <a:pt x="162365" y="16653"/>
                </a:lnTo>
                <a:cubicBezTo>
                  <a:pt x="162549" y="12748"/>
                  <a:pt x="161039" y="8954"/>
                  <a:pt x="158240" y="6191"/>
                </a:cubicBezTo>
                <a:cubicBezTo>
                  <a:pt x="155550" y="3355"/>
                  <a:pt x="151830" y="1734"/>
                  <a:pt x="147926" y="1624"/>
                </a:cubicBezTo>
                <a:lnTo>
                  <a:pt x="67038" y="3"/>
                </a:lnTo>
                <a:close/>
                <a:moveTo>
                  <a:pt x="180340" y="61439"/>
                </a:moveTo>
                <a:lnTo>
                  <a:pt x="177688" y="195226"/>
                </a:lnTo>
                <a:lnTo>
                  <a:pt x="29172" y="192279"/>
                </a:lnTo>
                <a:lnTo>
                  <a:pt x="31677" y="58493"/>
                </a:lnTo>
                <a:lnTo>
                  <a:pt x="50830" y="58493"/>
                </a:lnTo>
                <a:lnTo>
                  <a:pt x="50830" y="73226"/>
                </a:lnTo>
                <a:cubicBezTo>
                  <a:pt x="50720" y="77168"/>
                  <a:pt x="52229" y="80998"/>
                  <a:pt x="54956" y="83835"/>
                </a:cubicBezTo>
                <a:cubicBezTo>
                  <a:pt x="57681" y="86597"/>
                  <a:pt x="61365" y="88181"/>
                  <a:pt x="65270" y="88254"/>
                </a:cubicBezTo>
                <a:lnTo>
                  <a:pt x="146158" y="89875"/>
                </a:lnTo>
                <a:cubicBezTo>
                  <a:pt x="147004" y="89949"/>
                  <a:pt x="147814" y="89949"/>
                  <a:pt x="148662" y="89875"/>
                </a:cubicBezTo>
                <a:lnTo>
                  <a:pt x="151756" y="89875"/>
                </a:lnTo>
                <a:cubicBezTo>
                  <a:pt x="152898" y="89286"/>
                  <a:pt x="153966" y="88586"/>
                  <a:pt x="154998" y="87813"/>
                </a:cubicBezTo>
                <a:lnTo>
                  <a:pt x="156471" y="86781"/>
                </a:lnTo>
                <a:cubicBezTo>
                  <a:pt x="157833" y="85419"/>
                  <a:pt x="158938" y="83835"/>
                  <a:pt x="159713" y="82067"/>
                </a:cubicBezTo>
                <a:cubicBezTo>
                  <a:pt x="160449" y="80299"/>
                  <a:pt x="160854" y="78383"/>
                  <a:pt x="160891" y="76467"/>
                </a:cubicBezTo>
                <a:lnTo>
                  <a:pt x="160891" y="61734"/>
                </a:lnTo>
                <a:close/>
                <a:moveTo>
                  <a:pt x="132307" y="30793"/>
                </a:moveTo>
                <a:lnTo>
                  <a:pt x="132307" y="60261"/>
                </a:lnTo>
                <a:lnTo>
                  <a:pt x="80887" y="59229"/>
                </a:lnTo>
                <a:lnTo>
                  <a:pt x="80887" y="29762"/>
                </a:lnTo>
                <a:close/>
              </a:path>
            </a:pathLst>
          </a:custGeom>
          <a:solidFill>
            <a:schemeClr val="accent1"/>
          </a:solidFill>
          <a:ln w="933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C90EBCD1-EC04-0E75-A60F-0F5D98CC119E}"/>
              </a:ext>
            </a:extLst>
          </p:cNvPr>
          <p:cNvSpPr/>
          <p:nvPr/>
        </p:nvSpPr>
        <p:spPr>
          <a:xfrm>
            <a:off x="10603164" y="1987456"/>
            <a:ext cx="116371" cy="23089"/>
          </a:xfrm>
          <a:custGeom>
            <a:avLst/>
            <a:gdLst>
              <a:gd name="connsiteX0" fmla="*/ 0 w 148515"/>
              <a:gd name="connsiteY0" fmla="*/ 0 h 29467"/>
              <a:gd name="connsiteX1" fmla="*/ 148516 w 148515"/>
              <a:gd name="connsiteY1" fmla="*/ 0 h 29467"/>
              <a:gd name="connsiteX2" fmla="*/ 148516 w 148515"/>
              <a:gd name="connsiteY2" fmla="*/ 29467 h 29467"/>
              <a:gd name="connsiteX3" fmla="*/ 0 w 148515"/>
              <a:gd name="connsiteY3" fmla="*/ 29467 h 294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8515" h="29467">
                <a:moveTo>
                  <a:pt x="0" y="0"/>
                </a:moveTo>
                <a:lnTo>
                  <a:pt x="148516" y="0"/>
                </a:lnTo>
                <a:lnTo>
                  <a:pt x="148516" y="29467"/>
                </a:lnTo>
                <a:lnTo>
                  <a:pt x="0" y="29467"/>
                </a:lnTo>
                <a:close/>
              </a:path>
            </a:pathLst>
          </a:custGeom>
          <a:solidFill>
            <a:schemeClr val="accent2"/>
          </a:solidFill>
          <a:ln w="933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AF0FE096-4201-3E07-3159-2F23E3DEFEBD}"/>
              </a:ext>
            </a:extLst>
          </p:cNvPr>
          <p:cNvSpPr/>
          <p:nvPr/>
        </p:nvSpPr>
        <p:spPr>
          <a:xfrm>
            <a:off x="10603164" y="2022435"/>
            <a:ext cx="81393" cy="23089"/>
          </a:xfrm>
          <a:custGeom>
            <a:avLst/>
            <a:gdLst>
              <a:gd name="connsiteX0" fmla="*/ 0 w 103876"/>
              <a:gd name="connsiteY0" fmla="*/ 0 h 29467"/>
              <a:gd name="connsiteX1" fmla="*/ 103876 w 103876"/>
              <a:gd name="connsiteY1" fmla="*/ 0 h 29467"/>
              <a:gd name="connsiteX2" fmla="*/ 103876 w 103876"/>
              <a:gd name="connsiteY2" fmla="*/ 29467 h 29467"/>
              <a:gd name="connsiteX3" fmla="*/ 0 w 103876"/>
              <a:gd name="connsiteY3" fmla="*/ 29467 h 294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3876" h="29467">
                <a:moveTo>
                  <a:pt x="0" y="0"/>
                </a:moveTo>
                <a:lnTo>
                  <a:pt x="103876" y="0"/>
                </a:lnTo>
                <a:lnTo>
                  <a:pt x="103876" y="29467"/>
                </a:lnTo>
                <a:lnTo>
                  <a:pt x="0" y="29467"/>
                </a:lnTo>
                <a:close/>
              </a:path>
            </a:pathLst>
          </a:custGeom>
          <a:solidFill>
            <a:schemeClr val="accent2"/>
          </a:solidFill>
          <a:ln w="933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07D3E703-0EBB-F03A-B652-CCD395F24207}"/>
              </a:ext>
            </a:extLst>
          </p:cNvPr>
          <p:cNvSpPr/>
          <p:nvPr/>
        </p:nvSpPr>
        <p:spPr>
          <a:xfrm>
            <a:off x="10603164" y="2057302"/>
            <a:ext cx="116371" cy="23089"/>
          </a:xfrm>
          <a:custGeom>
            <a:avLst/>
            <a:gdLst>
              <a:gd name="connsiteX0" fmla="*/ 0 w 148515"/>
              <a:gd name="connsiteY0" fmla="*/ 0 h 29467"/>
              <a:gd name="connsiteX1" fmla="*/ 148516 w 148515"/>
              <a:gd name="connsiteY1" fmla="*/ 0 h 29467"/>
              <a:gd name="connsiteX2" fmla="*/ 148516 w 148515"/>
              <a:gd name="connsiteY2" fmla="*/ 29467 h 29467"/>
              <a:gd name="connsiteX3" fmla="*/ 0 w 148515"/>
              <a:gd name="connsiteY3" fmla="*/ 29467 h 294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8515" h="29467">
                <a:moveTo>
                  <a:pt x="0" y="0"/>
                </a:moveTo>
                <a:lnTo>
                  <a:pt x="148516" y="0"/>
                </a:lnTo>
                <a:lnTo>
                  <a:pt x="148516" y="29467"/>
                </a:lnTo>
                <a:lnTo>
                  <a:pt x="0" y="29467"/>
                </a:lnTo>
                <a:close/>
              </a:path>
            </a:pathLst>
          </a:custGeom>
          <a:solidFill>
            <a:schemeClr val="accent2"/>
          </a:solidFill>
          <a:ln w="933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947751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troomdiagram: Alternatief proces 3">
            <a:extLst>
              <a:ext uri="{FF2B5EF4-FFF2-40B4-BE49-F238E27FC236}">
                <a16:creationId xmlns:a16="http://schemas.microsoft.com/office/drawing/2014/main" id="{82649029-76BC-A897-A341-5112582523C1}"/>
              </a:ext>
            </a:extLst>
          </p:cNvPr>
          <p:cNvSpPr/>
          <p:nvPr/>
        </p:nvSpPr>
        <p:spPr>
          <a:xfrm>
            <a:off x="579422" y="4504493"/>
            <a:ext cx="5368705" cy="1860091"/>
          </a:xfrm>
          <a:prstGeom prst="flowChartAlternateProcess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82775"/>
            <a:r>
              <a:rPr lang="nl-NL" sz="2800" b="1" dirty="0">
                <a:solidFill>
                  <a:schemeClr val="accent3"/>
                </a:solidFill>
              </a:rPr>
              <a:t>Anouk Piening</a:t>
            </a:r>
          </a:p>
          <a:p>
            <a:pPr marL="1882775"/>
            <a:r>
              <a:rPr lang="nl-NL" sz="2800" dirty="0">
                <a:solidFill>
                  <a:schemeClr val="tx1"/>
                </a:solidFill>
                <a:hlinkClick r:id="rId2"/>
              </a:rPr>
              <a:t>anouk@studiocix.com</a:t>
            </a:r>
            <a:endParaRPr lang="nl-NL" sz="2800" dirty="0">
              <a:solidFill>
                <a:schemeClr val="tx1"/>
              </a:solidFill>
            </a:endParaRPr>
          </a:p>
          <a:p>
            <a:pPr marL="1882775"/>
            <a:r>
              <a:rPr lang="nl-NL" sz="2800" dirty="0">
                <a:solidFill>
                  <a:schemeClr val="tx1"/>
                </a:solidFill>
              </a:rPr>
              <a:t>06-11953340</a:t>
            </a:r>
          </a:p>
        </p:txBody>
      </p:sp>
      <p:pic>
        <p:nvPicPr>
          <p:cNvPr id="3" name="Afbeelding 2">
            <a:extLst>
              <a:ext uri="{FF2B5EF4-FFF2-40B4-BE49-F238E27FC236}">
                <a16:creationId xmlns:a16="http://schemas.microsoft.com/office/drawing/2014/main" id="{9A844FD0-C3FC-5E56-9DA5-05E101DAB182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39501" y="4624538"/>
            <a:ext cx="1620000" cy="1620000"/>
          </a:xfrm>
          <a:prstGeom prst="ellipse">
            <a:avLst/>
          </a:prstGeom>
          <a:ln w="190500" cap="rnd">
            <a:noFill/>
            <a:prstDash val="solid"/>
          </a:ln>
          <a:effectLst>
            <a:outerShdw blurRad="127000" algn="bl" rotWithShape="0">
              <a:srgbClr val="000000"/>
            </a:outerShdw>
          </a:effectLst>
        </p:spPr>
      </p:pic>
      <p:sp>
        <p:nvSpPr>
          <p:cNvPr id="5" name="Tekstvak 4">
            <a:extLst>
              <a:ext uri="{FF2B5EF4-FFF2-40B4-BE49-F238E27FC236}">
                <a16:creationId xmlns:a16="http://schemas.microsoft.com/office/drawing/2014/main" id="{09F7BFE0-7E2D-F3AE-C149-3FC7DA80DD6D}"/>
              </a:ext>
            </a:extLst>
          </p:cNvPr>
          <p:cNvSpPr txBox="1"/>
          <p:nvPr/>
        </p:nvSpPr>
        <p:spPr>
          <a:xfrm>
            <a:off x="493413" y="678377"/>
            <a:ext cx="5540721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2800" dirty="0">
                <a:solidFill>
                  <a:schemeClr val="bg1"/>
                </a:solidFill>
              </a:rPr>
              <a:t>Vragen of een keer kennismaken om ervaringen uit te wisselen?</a:t>
            </a:r>
          </a:p>
          <a:p>
            <a:pPr algn="ctr"/>
            <a:r>
              <a:rPr lang="nl-NL" sz="2800" dirty="0">
                <a:solidFill>
                  <a:schemeClr val="bg1"/>
                </a:solidFill>
              </a:rPr>
              <a:t>Ik help je graag!</a:t>
            </a:r>
          </a:p>
          <a:p>
            <a:pPr algn="ctr"/>
            <a:endParaRPr lang="nl-NL" sz="2800" dirty="0">
              <a:solidFill>
                <a:schemeClr val="bg1"/>
              </a:solidFill>
            </a:endParaRPr>
          </a:p>
          <a:p>
            <a:pPr algn="ctr"/>
            <a:r>
              <a:rPr lang="nl-NL" sz="2800" dirty="0">
                <a:solidFill>
                  <a:schemeClr val="bg1"/>
                </a:solidFill>
              </a:rPr>
              <a:t>Plan een gesprek via:</a:t>
            </a:r>
          </a:p>
          <a:p>
            <a:pPr algn="ctr"/>
            <a:r>
              <a:rPr lang="nl-NL" sz="2800" dirty="0">
                <a:solidFill>
                  <a:schemeClr val="bg1"/>
                </a:solidFill>
                <a:hlinkClick r:id="rId4"/>
              </a:rPr>
              <a:t>https://calendly.com/anoukpiening</a:t>
            </a:r>
            <a:r>
              <a:rPr lang="nl-NL" sz="2800" dirty="0">
                <a:solidFill>
                  <a:schemeClr val="bg1"/>
                </a:solidFill>
              </a:rPr>
              <a:t>  </a:t>
            </a:r>
          </a:p>
          <a:p>
            <a:pPr algn="ctr"/>
            <a:endParaRPr lang="nl-NL" sz="2800" dirty="0">
              <a:solidFill>
                <a:schemeClr val="bg1"/>
              </a:solidFill>
            </a:endParaRPr>
          </a:p>
          <a:p>
            <a:pPr algn="ctr"/>
            <a:r>
              <a:rPr lang="nl-NL" sz="2800" dirty="0">
                <a:solidFill>
                  <a:schemeClr val="bg1"/>
                </a:solidFill>
              </a:rPr>
              <a:t>Of neem contact op met: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E2D1562D-18B7-022D-1AC9-E46209C9DD5E}"/>
              </a:ext>
            </a:extLst>
          </p:cNvPr>
          <p:cNvSpPr txBox="1"/>
          <p:nvPr/>
        </p:nvSpPr>
        <p:spPr>
          <a:xfrm>
            <a:off x="6778027" y="4972873"/>
            <a:ext cx="483455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2400" dirty="0">
                <a:solidFill>
                  <a:schemeClr val="accent2"/>
                </a:solidFill>
                <a:hlinkClick r:id="rId5"/>
              </a:rPr>
              <a:t>www.studiocix.com</a:t>
            </a:r>
            <a:r>
              <a:rPr lang="nl-NL" sz="2400" dirty="0">
                <a:solidFill>
                  <a:schemeClr val="accent2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676400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PRESENTER" val="4036e0a74f67ba7fba8b432fe1cbcb1e279f331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Vakmedianet Template-set">
  <a:themeElements>
    <a:clrScheme name="Studio CIX">
      <a:dk1>
        <a:srgbClr val="7C7C7C"/>
      </a:dk1>
      <a:lt1>
        <a:sysClr val="window" lastClr="FFFFFF"/>
      </a:lt1>
      <a:dk2>
        <a:srgbClr val="60B3BB"/>
      </a:dk2>
      <a:lt2>
        <a:srgbClr val="CEDBE6"/>
      </a:lt2>
      <a:accent1>
        <a:srgbClr val="60B3BB"/>
      </a:accent1>
      <a:accent2>
        <a:srgbClr val="98733A"/>
      </a:accent2>
      <a:accent3>
        <a:srgbClr val="4697A1"/>
      </a:accent3>
      <a:accent4>
        <a:srgbClr val="BFBFBF"/>
      </a:accent4>
      <a:accent5>
        <a:srgbClr val="A5A5A5"/>
      </a:accent5>
      <a:accent6>
        <a:srgbClr val="EEE3D3"/>
      </a:accent6>
      <a:hlink>
        <a:srgbClr val="98733A"/>
      </a:hlink>
      <a:folHlink>
        <a:srgbClr val="FFFFFF"/>
      </a:folHlink>
    </a:clrScheme>
    <a:fontScheme name="Studio CIX">
      <a:majorFont>
        <a:latin typeface="Roboto Condensed"/>
        <a:ea typeface=""/>
        <a:cs typeface=""/>
      </a:majorFont>
      <a:minorFont>
        <a:latin typeface="Roboto Condensed"/>
        <a:ea typeface=""/>
        <a:cs typeface=""/>
      </a:minorFont>
    </a:fontScheme>
    <a:fmtScheme name="Kantoorth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2" Type="http://schemas.microsoft.com/office/2011/relationships/webextension" Target="webextension2.xml"/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0">
    <wetp:webextensionref xmlns:r="http://schemas.openxmlformats.org/officeDocument/2006/relationships" r:id="rId1"/>
  </wetp:taskpane>
  <wetp:taskpane dockstate="right" visibility="0" width="438" row="0">
    <wetp:webextensionref xmlns:r="http://schemas.openxmlformats.org/officeDocument/2006/relationships" r:id="rId2"/>
  </wetp:taskpane>
</wetp:taskpanes>
</file>

<file path=ppt/webextensions/webextension1.xml><?xml version="1.0" encoding="utf-8"?>
<we:webextension xmlns:we="http://schemas.microsoft.com/office/webextensions/webextension/2010/11" id="{899EEA32-0782-4669-A0A6-A33526161770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ppt/webextensions/webextension2.xml><?xml version="1.0" encoding="utf-8"?>
<we:webextension xmlns:we="http://schemas.microsoft.com/office/webextensions/webextension/2010/11" id="{1BF4F2BD-8DD8-4E8E-8004-6167A8F27240}">
  <we:reference id="wa200005234" version="1.0.0.0" store="en-US" storeType="OMEX"/>
  <we:alternateReferences>
    <we:reference id="WA200005234" version="1.0.0.0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333</Words>
  <Application>Microsoft Office PowerPoint</Application>
  <PresentationFormat>Breedbeeld</PresentationFormat>
  <Paragraphs>281</Paragraphs>
  <Slides>6</Slides>
  <Notes>2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6</vt:i4>
      </vt:variant>
      <vt:variant>
        <vt:lpstr>Thema</vt:lpstr>
      </vt:variant>
      <vt:variant>
        <vt:i4>1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6</vt:i4>
      </vt:variant>
    </vt:vector>
  </HeadingPairs>
  <TitlesOfParts>
    <vt:vector size="14" baseType="lpstr">
      <vt:lpstr>Arial</vt:lpstr>
      <vt:lpstr>Calibri</vt:lpstr>
      <vt:lpstr>Calibri Light</vt:lpstr>
      <vt:lpstr>Courier New</vt:lpstr>
      <vt:lpstr>Roboto Condensed</vt:lpstr>
      <vt:lpstr>Wingdings</vt:lpstr>
      <vt:lpstr>Vakmedianet Template-set</vt:lpstr>
      <vt:lpstr>think-cell Slide</vt:lpstr>
      <vt:lpstr>PowerPoint-presentatie</vt:lpstr>
      <vt:lpstr>Vijf stappen om jullie HR processen in kaart te brengen</vt:lpstr>
      <vt:lpstr>PowerPoint-presentatie</vt:lpstr>
      <vt:lpstr>PowerPoint-presentatie</vt:lpstr>
      <vt:lpstr>PowerPoint-presentatie</vt:lpstr>
      <vt:lpstr>PowerPoint-presentati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akmedianet</dc:title>
  <dc:creator>Kelsey Luhrman</dc:creator>
  <cp:lastModifiedBy>Anouk Piening</cp:lastModifiedBy>
  <cp:revision>365</cp:revision>
  <cp:lastPrinted>2018-09-30T11:11:09Z</cp:lastPrinted>
  <dcterms:created xsi:type="dcterms:W3CDTF">2017-08-30T16:21:34Z</dcterms:created>
  <dcterms:modified xsi:type="dcterms:W3CDTF">2024-09-05T13:14:30Z</dcterms:modified>
</cp:coreProperties>
</file>